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8.xml" ContentType="application/vnd.openxmlformats-officedocument.drawingml.chart+xml"/>
  <Override PartName="/ppt/theme/themeOverride6.xml" ContentType="application/vnd.openxmlformats-officedocument.themeOverr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8" r:id="rId1"/>
    <p:sldMasterId id="2147483808" r:id="rId2"/>
    <p:sldMasterId id="2147483840" r:id="rId3"/>
    <p:sldMasterId id="2147483872" r:id="rId4"/>
  </p:sldMasterIdLst>
  <p:notesMasterIdLst>
    <p:notesMasterId r:id="rId81"/>
  </p:notesMasterIdLst>
  <p:handoutMasterIdLst>
    <p:handoutMasterId r:id="rId82"/>
  </p:handoutMasterIdLst>
  <p:sldIdLst>
    <p:sldId id="355" r:id="rId5"/>
    <p:sldId id="356" r:id="rId6"/>
    <p:sldId id="438" r:id="rId7"/>
    <p:sldId id="439" r:id="rId8"/>
    <p:sldId id="556" r:id="rId9"/>
    <p:sldId id="628" r:id="rId10"/>
    <p:sldId id="580" r:id="rId11"/>
    <p:sldId id="536" r:id="rId12"/>
    <p:sldId id="537" r:id="rId13"/>
    <p:sldId id="539" r:id="rId14"/>
    <p:sldId id="540" r:id="rId15"/>
    <p:sldId id="601" r:id="rId16"/>
    <p:sldId id="446" r:id="rId17"/>
    <p:sldId id="669" r:id="rId18"/>
    <p:sldId id="587" r:id="rId19"/>
    <p:sldId id="589" r:id="rId20"/>
    <p:sldId id="672" r:id="rId21"/>
    <p:sldId id="585" r:id="rId22"/>
    <p:sldId id="382" r:id="rId23"/>
    <p:sldId id="401" r:id="rId24"/>
    <p:sldId id="383" r:id="rId25"/>
    <p:sldId id="402" r:id="rId26"/>
    <p:sldId id="666" r:id="rId27"/>
    <p:sldId id="664" r:id="rId28"/>
    <p:sldId id="667" r:id="rId29"/>
    <p:sldId id="586" r:id="rId30"/>
    <p:sldId id="491" r:id="rId31"/>
    <p:sldId id="631" r:id="rId32"/>
    <p:sldId id="351" r:id="rId33"/>
    <p:sldId id="671" r:id="rId34"/>
    <p:sldId id="581" r:id="rId35"/>
    <p:sldId id="528" r:id="rId36"/>
    <p:sldId id="354" r:id="rId37"/>
    <p:sldId id="665" r:id="rId38"/>
    <p:sldId id="530" r:id="rId39"/>
    <p:sldId id="505" r:id="rId40"/>
    <p:sldId id="358" r:id="rId41"/>
    <p:sldId id="359" r:id="rId42"/>
    <p:sldId id="564" r:id="rId43"/>
    <p:sldId id="632" r:id="rId44"/>
    <p:sldId id="386" r:id="rId45"/>
    <p:sldId id="387" r:id="rId46"/>
    <p:sldId id="362" r:id="rId47"/>
    <p:sldId id="510" r:id="rId48"/>
    <p:sldId id="546" r:id="rId49"/>
    <p:sldId id="512" r:id="rId50"/>
    <p:sldId id="641" r:id="rId51"/>
    <p:sldId id="636" r:id="rId52"/>
    <p:sldId id="637" r:id="rId53"/>
    <p:sldId id="638" r:id="rId54"/>
    <p:sldId id="639" r:id="rId55"/>
    <p:sldId id="640" r:id="rId56"/>
    <p:sldId id="616" r:id="rId57"/>
    <p:sldId id="617" r:id="rId58"/>
    <p:sldId id="619" r:id="rId59"/>
    <p:sldId id="620" r:id="rId60"/>
    <p:sldId id="621" r:id="rId61"/>
    <p:sldId id="622" r:id="rId62"/>
    <p:sldId id="623" r:id="rId63"/>
    <p:sldId id="624" r:id="rId64"/>
    <p:sldId id="625" r:id="rId65"/>
    <p:sldId id="626" r:id="rId66"/>
    <p:sldId id="627" r:id="rId67"/>
    <p:sldId id="645" r:id="rId68"/>
    <p:sldId id="646" r:id="rId69"/>
    <p:sldId id="647" r:id="rId70"/>
    <p:sldId id="648" r:id="rId71"/>
    <p:sldId id="651" r:id="rId72"/>
    <p:sldId id="656" r:id="rId73"/>
    <p:sldId id="657" r:id="rId74"/>
    <p:sldId id="658" r:id="rId75"/>
    <p:sldId id="659" r:id="rId76"/>
    <p:sldId id="660" r:id="rId77"/>
    <p:sldId id="661" r:id="rId78"/>
    <p:sldId id="663" r:id="rId79"/>
    <p:sldId id="635" r:id="rId80"/>
  </p:sldIdLst>
  <p:sldSz cx="9144000" cy="5143500" type="screen16x9"/>
  <p:notesSz cx="10234613" cy="71040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436" userDrawn="1">
          <p15:clr>
            <a:srgbClr val="A4A3A4"/>
          </p15:clr>
        </p15:guide>
        <p15:guide id="4" pos="4740" userDrawn="1">
          <p15:clr>
            <a:srgbClr val="A4A3A4"/>
          </p15:clr>
        </p15:guide>
        <p15:guide id="9" pos="5375" userDrawn="1">
          <p15:clr>
            <a:srgbClr val="A4A3A4"/>
          </p15:clr>
        </p15:guide>
        <p15:guide id="10" pos="90" userDrawn="1">
          <p15:clr>
            <a:srgbClr val="A4A3A4"/>
          </p15:clr>
        </p15:guide>
        <p15:guide id="11" orient="horz" pos="509" userDrawn="1">
          <p15:clr>
            <a:srgbClr val="A4A3A4"/>
          </p15:clr>
        </p15:guide>
        <p15:guide id="12" orient="horz" pos="2935" userDrawn="1">
          <p15:clr>
            <a:srgbClr val="A4A3A4"/>
          </p15:clr>
        </p15:guide>
        <p15:guide id="13" pos="1814" userDrawn="1">
          <p15:clr>
            <a:srgbClr val="A4A3A4"/>
          </p15:clr>
        </p15:guide>
        <p15:guide id="14" orient="horz" userDrawn="1">
          <p15:clr>
            <a:srgbClr val="A4A3A4"/>
          </p15:clr>
        </p15:guide>
        <p15:guide id="15" orient="horz" pos="1779" userDrawn="1">
          <p15:clr>
            <a:srgbClr val="A4A3A4"/>
          </p15:clr>
        </p15:guide>
        <p15:guide id="16" pos="2925" userDrawn="1">
          <p15:clr>
            <a:srgbClr val="A4A3A4"/>
          </p15:clr>
        </p15:guide>
        <p15:guide id="17" orient="horz" pos="1597" userDrawn="1">
          <p15:clr>
            <a:srgbClr val="A4A3A4"/>
          </p15:clr>
        </p15:guide>
        <p15:guide id="18" pos="589" userDrawn="1">
          <p15:clr>
            <a:srgbClr val="A4A3A4"/>
          </p15:clr>
        </p15:guide>
        <p15:guide id="19" pos="317" userDrawn="1">
          <p15:clr>
            <a:srgbClr val="A4A3A4"/>
          </p15:clr>
        </p15:guide>
        <p15:guide id="21" pos="1111" userDrawn="1">
          <p15:clr>
            <a:srgbClr val="A4A3A4"/>
          </p15:clr>
        </p15:guide>
        <p15:guide id="22" orient="horz" pos="268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F09A149-2803-263A-FBEE-761E4BE0F473}" name="LAL Sameet (CA-CF)" initials="LS(C" userId="S::slal-prestataire@ca-cf.fr::809a57f0-a8b9-4fed-a9ee-6289fb3c6c7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rélie LEPOAN" initials="AL" lastIdx="3" clrIdx="0">
    <p:extLst>
      <p:ext uri="{19B8F6BF-5375-455C-9EA6-DF929625EA0E}">
        <p15:presenceInfo xmlns:p15="http://schemas.microsoft.com/office/powerpoint/2012/main" userId="1c15fe8109f3761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00B050"/>
    <a:srgbClr val="006448"/>
    <a:srgbClr val="1AAEB7"/>
    <a:srgbClr val="E7EBE9"/>
    <a:srgbClr val="828382"/>
    <a:srgbClr val="F2F2F2"/>
    <a:srgbClr val="F9F9F9"/>
    <a:srgbClr val="848584"/>
    <a:srgbClr val="DAF6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78" autoAdjust="0"/>
    <p:restoredTop sz="96494" autoAdjust="0"/>
  </p:normalViewPr>
  <p:slideViewPr>
    <p:cSldViewPr snapToGrid="0" showGuides="1">
      <p:cViewPr varScale="1">
        <p:scale>
          <a:sx n="144" d="100"/>
          <a:sy n="144" d="100"/>
        </p:scale>
        <p:origin x="648" y="108"/>
      </p:cViewPr>
      <p:guideLst>
        <p:guide orient="horz" pos="2436"/>
        <p:guide pos="4740"/>
        <p:guide pos="5375"/>
        <p:guide pos="90"/>
        <p:guide orient="horz" pos="509"/>
        <p:guide orient="horz" pos="2935"/>
        <p:guide pos="1814"/>
        <p:guide orient="horz"/>
        <p:guide orient="horz" pos="1779"/>
        <p:guide pos="2925"/>
        <p:guide orient="horz" pos="1597"/>
        <p:guide pos="589"/>
        <p:guide pos="317"/>
        <p:guide pos="1111"/>
        <p:guide orient="horz" pos="2686"/>
      </p:guideLst>
    </p:cSldViewPr>
  </p:slideViewPr>
  <p:outlineViewPr>
    <p:cViewPr>
      <p:scale>
        <a:sx n="33" d="100"/>
        <a:sy n="33" d="100"/>
      </p:scale>
      <p:origin x="0" y="-1800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117" d="100"/>
          <a:sy n="117" d="100"/>
        </p:scale>
        <p:origin x="4272" y="8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commentAuthors" Target="commentAuthors.xml"/><Relationship Id="rId88"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notesMaster" Target="notesMasters/notesMaster1.xml"/><Relationship Id="rId86"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5.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oleObject" Target="file:///\\nsprod02\DIRECTION_GENERALE_CORPORATE\6GI-FLC\6JP\506\02-Refinancement\022_Titrisations\0221_France\Titrisations%202024\FCT%20Gingko%20Debt%20conso%202024\03-%20Pr&#233;sentation\Due%20Diligence\Treasury_%20Graphes%20Q42023%20DEF%20-%20vSL.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NULL"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NULL" TargetMode="Externa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6.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349574405976794E-2"/>
          <c:y val="0.24138221619426545"/>
          <c:w val="0.81419071868472659"/>
          <c:h val="0.65840994771061701"/>
        </c:manualLayout>
      </c:layout>
      <c:barChart>
        <c:barDir val="col"/>
        <c:grouping val="stacked"/>
        <c:varyColors val="0"/>
        <c:ser>
          <c:idx val="0"/>
          <c:order val="0"/>
          <c:tx>
            <c:strRef>
              <c:f>'CACF Key Figures'!$B$3</c:f>
              <c:strCache>
                <c:ptCount val="1"/>
                <c:pt idx="0">
                  <c:v>CACF French Activities</c:v>
                </c:pt>
              </c:strCache>
            </c:strRef>
          </c:tx>
          <c:spPr>
            <a:solidFill>
              <a:srgbClr val="006047"/>
            </a:solidFill>
            <a:ln>
              <a:solidFill>
                <a:sysClr val="windowText" lastClr="0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lt1"/>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2:$M$2</c:f>
              <c:strCache>
                <c:ptCount val="5"/>
                <c:pt idx="0">
                  <c:v>2019</c:v>
                </c:pt>
                <c:pt idx="1">
                  <c:v>2020</c:v>
                </c:pt>
                <c:pt idx="2">
                  <c:v>2021</c:v>
                </c:pt>
                <c:pt idx="3">
                  <c:v>2022</c:v>
                </c:pt>
                <c:pt idx="4">
                  <c:v>2023</c:v>
                </c:pt>
              </c:strCache>
            </c:strRef>
          </c:cat>
          <c:val>
            <c:numRef>
              <c:f>'CACF Key Figures'!$I$3:$M$3</c:f>
              <c:numCache>
                <c:formatCode>_-* #,##0\ _€_-;\-* #,##0\ _€_-;_-* "-"??\ _€_-;_-@_-</c:formatCode>
                <c:ptCount val="5"/>
                <c:pt idx="0">
                  <c:v>32612.266991449567</c:v>
                </c:pt>
                <c:pt idx="1">
                  <c:v>32575.379525538461</c:v>
                </c:pt>
                <c:pt idx="2">
                  <c:v>33476.815997360674</c:v>
                </c:pt>
                <c:pt idx="3">
                  <c:v>34926.676610581482</c:v>
                </c:pt>
                <c:pt idx="4">
                  <c:v>36183.583328025925</c:v>
                </c:pt>
              </c:numCache>
            </c:numRef>
          </c:val>
          <c:extLst>
            <c:ext xmlns:c16="http://schemas.microsoft.com/office/drawing/2014/chart" uri="{C3380CC4-5D6E-409C-BE32-E72D297353CC}">
              <c16:uniqueId val="{00000000-7DB8-458D-A828-FE84EBBA1FB4}"/>
            </c:ext>
          </c:extLst>
        </c:ser>
        <c:ser>
          <c:idx val="1"/>
          <c:order val="1"/>
          <c:tx>
            <c:strRef>
              <c:f>'CACF Key Figures'!$B$4</c:f>
              <c:strCache>
                <c:ptCount val="1"/>
                <c:pt idx="0">
                  <c:v>International Auto Partners</c:v>
                </c:pt>
              </c:strCache>
            </c:strRef>
          </c:tx>
          <c:spPr>
            <a:solidFill>
              <a:srgbClr val="96CA12">
                <a:lumMod val="75000"/>
              </a:srgbClr>
            </a:solidFill>
            <a:ln>
              <a:solidFill>
                <a:sysClr val="windowText" lastClr="0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lt1"/>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2:$M$2</c:f>
              <c:strCache>
                <c:ptCount val="5"/>
                <c:pt idx="0">
                  <c:v>2019</c:v>
                </c:pt>
                <c:pt idx="1">
                  <c:v>2020</c:v>
                </c:pt>
                <c:pt idx="2">
                  <c:v>2021</c:v>
                </c:pt>
                <c:pt idx="3">
                  <c:v>2022</c:v>
                </c:pt>
                <c:pt idx="4">
                  <c:v>2023</c:v>
                </c:pt>
              </c:strCache>
            </c:strRef>
          </c:cat>
          <c:val>
            <c:numRef>
              <c:f>'CACF Key Figures'!$I$4:$M$4</c:f>
              <c:numCache>
                <c:formatCode>_-* #,##0\ _€_-;\-* #,##0\ _€_-;_-* "-"??\ _€_-;_-@_-</c:formatCode>
                <c:ptCount val="5"/>
                <c:pt idx="0">
                  <c:v>33252.752006891271</c:v>
                </c:pt>
                <c:pt idx="1">
                  <c:v>32226.123611033239</c:v>
                </c:pt>
                <c:pt idx="2">
                  <c:v>31911.632619010124</c:v>
                </c:pt>
                <c:pt idx="3">
                  <c:v>38511.773061465181</c:v>
                </c:pt>
                <c:pt idx="4">
                  <c:v>44704.121952630703</c:v>
                </c:pt>
              </c:numCache>
            </c:numRef>
          </c:val>
          <c:extLst>
            <c:ext xmlns:c16="http://schemas.microsoft.com/office/drawing/2014/chart" uri="{C3380CC4-5D6E-409C-BE32-E72D297353CC}">
              <c16:uniqueId val="{00000001-7DB8-458D-A828-FE84EBBA1FB4}"/>
            </c:ext>
          </c:extLst>
        </c:ser>
        <c:ser>
          <c:idx val="2"/>
          <c:order val="2"/>
          <c:tx>
            <c:strRef>
              <c:f>'CACF Key Figures'!$B$5</c:f>
              <c:strCache>
                <c:ptCount val="1"/>
                <c:pt idx="0">
                  <c:v>Agos Ducato Group</c:v>
                </c:pt>
              </c:strCache>
            </c:strRef>
          </c:tx>
          <c:spPr>
            <a:solidFill>
              <a:schemeClr val="accent3"/>
            </a:solidFill>
            <a:ln>
              <a:solidFill>
                <a:sysClr val="windowText" lastClr="000000"/>
              </a:solidFill>
            </a:ln>
            <a:effectLst/>
          </c:spPr>
          <c:invertIfNegative val="0"/>
          <c:dPt>
            <c:idx val="0"/>
            <c:invertIfNegative val="0"/>
            <c:bubble3D val="0"/>
            <c:spPr>
              <a:solidFill>
                <a:srgbClr val="96CA12"/>
              </a:solidFill>
              <a:ln>
                <a:solidFill>
                  <a:sysClr val="windowText" lastClr="000000"/>
                </a:solidFill>
              </a:ln>
              <a:effectLst/>
            </c:spPr>
            <c:extLst>
              <c:ext xmlns:c16="http://schemas.microsoft.com/office/drawing/2014/chart" uri="{C3380CC4-5D6E-409C-BE32-E72D297353CC}">
                <c16:uniqueId val="{00000003-7DB8-458D-A828-FE84EBBA1FB4}"/>
              </c:ext>
            </c:extLst>
          </c:dPt>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lt1"/>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2:$M$2</c:f>
              <c:strCache>
                <c:ptCount val="5"/>
                <c:pt idx="0">
                  <c:v>2019</c:v>
                </c:pt>
                <c:pt idx="1">
                  <c:v>2020</c:v>
                </c:pt>
                <c:pt idx="2">
                  <c:v>2021</c:v>
                </c:pt>
                <c:pt idx="3">
                  <c:v>2022</c:v>
                </c:pt>
                <c:pt idx="4">
                  <c:v>2023</c:v>
                </c:pt>
              </c:strCache>
            </c:strRef>
          </c:cat>
          <c:val>
            <c:numRef>
              <c:f>'CACF Key Figures'!$I$5:$M$5</c:f>
              <c:numCache>
                <c:formatCode>_-* #,##0\ _€_-;\-* #,##0\ _€_-;_-* "-"??\ _€_-;_-@_-</c:formatCode>
                <c:ptCount val="5"/>
                <c:pt idx="0">
                  <c:v>14643.81836478</c:v>
                </c:pt>
                <c:pt idx="1">
                  <c:v>13798.86452435</c:v>
                </c:pt>
                <c:pt idx="2">
                  <c:v>14118.397796419997</c:v>
                </c:pt>
                <c:pt idx="3">
                  <c:v>15552.009000599999</c:v>
                </c:pt>
                <c:pt idx="4">
                  <c:v>16845.58791772</c:v>
                </c:pt>
              </c:numCache>
            </c:numRef>
          </c:val>
          <c:extLst>
            <c:ext xmlns:c16="http://schemas.microsoft.com/office/drawing/2014/chart" uri="{C3380CC4-5D6E-409C-BE32-E72D297353CC}">
              <c16:uniqueId val="{00000004-7DB8-458D-A828-FE84EBBA1FB4}"/>
            </c:ext>
          </c:extLst>
        </c:ser>
        <c:ser>
          <c:idx val="3"/>
          <c:order val="3"/>
          <c:tx>
            <c:strRef>
              <c:f>'CACF Key Figures'!$B$6</c:f>
              <c:strCache>
                <c:ptCount val="1"/>
                <c:pt idx="0">
                  <c:v>Other International Units</c:v>
                </c:pt>
              </c:strCache>
            </c:strRef>
          </c:tx>
          <c:spPr>
            <a:solidFill>
              <a:srgbClr val="DAF694"/>
            </a:solidFill>
            <a:ln>
              <a:solidFill>
                <a:sysClr val="windowText" lastClr="0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2:$M$2</c:f>
              <c:strCache>
                <c:ptCount val="5"/>
                <c:pt idx="0">
                  <c:v>2019</c:v>
                </c:pt>
                <c:pt idx="1">
                  <c:v>2020</c:v>
                </c:pt>
                <c:pt idx="2">
                  <c:v>2021</c:v>
                </c:pt>
                <c:pt idx="3">
                  <c:v>2022</c:v>
                </c:pt>
                <c:pt idx="4">
                  <c:v>2023</c:v>
                </c:pt>
              </c:strCache>
            </c:strRef>
          </c:cat>
          <c:val>
            <c:numRef>
              <c:f>'CACF Key Figures'!$I$6:$M$6</c:f>
              <c:numCache>
                <c:formatCode>_-* #,##0\ _€_-;\-* #,##0\ _€_-;_-* "-"??\ _€_-;_-@_-</c:formatCode>
                <c:ptCount val="5"/>
                <c:pt idx="0">
                  <c:v>11518.577884964707</c:v>
                </c:pt>
                <c:pt idx="1">
                  <c:v>12256.981370890646</c:v>
                </c:pt>
                <c:pt idx="2">
                  <c:v>13007.821498048967</c:v>
                </c:pt>
                <c:pt idx="3">
                  <c:v>14032.672281415838</c:v>
                </c:pt>
                <c:pt idx="4">
                  <c:v>15298.761420587012</c:v>
                </c:pt>
              </c:numCache>
            </c:numRef>
          </c:val>
          <c:extLst>
            <c:ext xmlns:c16="http://schemas.microsoft.com/office/drawing/2014/chart" uri="{C3380CC4-5D6E-409C-BE32-E72D297353CC}">
              <c16:uniqueId val="{00000005-7DB8-458D-A828-FE84EBBA1FB4}"/>
            </c:ext>
          </c:extLst>
        </c:ser>
        <c:dLbls>
          <c:dLblPos val="ctr"/>
          <c:showLegendKey val="0"/>
          <c:showVal val="1"/>
          <c:showCatName val="0"/>
          <c:showSerName val="0"/>
          <c:showPercent val="0"/>
          <c:showBubbleSize val="0"/>
        </c:dLbls>
        <c:gapWidth val="79"/>
        <c:overlap val="100"/>
        <c:axId val="467374424"/>
        <c:axId val="467377376"/>
      </c:barChart>
      <c:catAx>
        <c:axId val="467374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ysClr val="windowText" lastClr="000000"/>
                </a:solidFill>
                <a:latin typeface="Arial" panose="020B0604020202020204" pitchFamily="34" charset="0"/>
                <a:ea typeface="+mn-ea"/>
                <a:cs typeface="Arial" panose="020B0604020202020204" pitchFamily="34" charset="0"/>
              </a:defRPr>
            </a:pPr>
            <a:endParaRPr lang="fr-FR"/>
          </a:p>
        </c:txPr>
        <c:crossAx val="467377376"/>
        <c:crosses val="autoZero"/>
        <c:auto val="1"/>
        <c:lblAlgn val="ctr"/>
        <c:lblOffset val="100"/>
        <c:noMultiLvlLbl val="0"/>
      </c:catAx>
      <c:valAx>
        <c:axId val="467377376"/>
        <c:scaling>
          <c:orientation val="minMax"/>
        </c:scaling>
        <c:delete val="1"/>
        <c:axPos val="l"/>
        <c:numFmt formatCode="_-* #,##0\ _€_-;\-* #,##0\ _€_-;_-* &quot;-&quot;??\ _€_-;_-@_-" sourceLinked="1"/>
        <c:majorTickMark val="none"/>
        <c:minorTickMark val="none"/>
        <c:tickLblPos val="nextTo"/>
        <c:crossAx val="467374424"/>
        <c:crosses val="autoZero"/>
        <c:crossBetween val="between"/>
      </c:valAx>
      <c:spPr>
        <a:noFill/>
        <a:ln>
          <a:noFill/>
        </a:ln>
        <a:effectLst/>
      </c:spPr>
    </c:plotArea>
    <c:legend>
      <c:legendPos val="r"/>
      <c:layout>
        <c:manualLayout>
          <c:xMode val="edge"/>
          <c:yMode val="edge"/>
          <c:x val="3.5790834987678198E-3"/>
          <c:y val="3.5353018673526609E-2"/>
          <c:w val="0.9964209165012321"/>
          <c:h val="0.140939055021828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w="9525" cap="flat" cmpd="sng" algn="ctr">
      <a:noFill/>
      <a:round/>
    </a:ln>
    <a:effectLst/>
  </c:spPr>
  <c:txPr>
    <a:bodyPr/>
    <a:lstStyle/>
    <a:p>
      <a:pPr>
        <a:defRPr/>
      </a:pPr>
      <a:endParaRPr lang="fr-FR"/>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1" i="0" u="none" strike="noStrike" kern="1200" spc="0" baseline="0">
                <a:solidFill>
                  <a:schemeClr val="tx1">
                    <a:lumMod val="65000"/>
                    <a:lumOff val="35000"/>
                  </a:schemeClr>
                </a:solidFill>
                <a:latin typeface="+mn-lt"/>
                <a:ea typeface="+mn-ea"/>
                <a:cs typeface="+mn-cs"/>
              </a:defRPr>
            </a:pPr>
            <a:r>
              <a:rPr lang="fr-FR" sz="1000" b="1"/>
              <a:t>Debt consolidation outstanding (in k€) </a:t>
            </a:r>
          </a:p>
        </c:rich>
      </c:tx>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Feuil4!$B$22</c:f>
              <c:strCache>
                <c:ptCount val="1"/>
                <c:pt idx="0">
                  <c:v>Credilift Unsecured</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4!$C$21:$E$21</c:f>
              <c:numCache>
                <c:formatCode>General</c:formatCode>
                <c:ptCount val="3"/>
                <c:pt idx="0">
                  <c:v>2021</c:v>
                </c:pt>
                <c:pt idx="1">
                  <c:v>2022</c:v>
                </c:pt>
                <c:pt idx="2">
                  <c:v>2023</c:v>
                </c:pt>
              </c:numCache>
            </c:numRef>
          </c:cat>
          <c:val>
            <c:numRef>
              <c:f>Feuil4!$C$22:$E$22</c:f>
              <c:numCache>
                <c:formatCode>_-* #,##0_-;\-* #,##0_-;_-* "-"??_-;_-@_-</c:formatCode>
                <c:ptCount val="3"/>
                <c:pt idx="0">
                  <c:v>1843396</c:v>
                </c:pt>
                <c:pt idx="1">
                  <c:v>2000515</c:v>
                </c:pt>
                <c:pt idx="2">
                  <c:v>2047102</c:v>
                </c:pt>
              </c:numCache>
            </c:numRef>
          </c:val>
          <c:extLst>
            <c:ext xmlns:c16="http://schemas.microsoft.com/office/drawing/2014/chart" uri="{C3380CC4-5D6E-409C-BE32-E72D297353CC}">
              <c16:uniqueId val="{00000000-483D-4ED8-9ACA-550D66B5143F}"/>
            </c:ext>
          </c:extLst>
        </c:ser>
        <c:ser>
          <c:idx val="1"/>
          <c:order val="1"/>
          <c:tx>
            <c:strRef>
              <c:f>Feuil4!$B$23</c:f>
              <c:strCache>
                <c:ptCount val="1"/>
                <c:pt idx="0">
                  <c:v>Creditlift Secured</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4!$C$21:$E$21</c:f>
              <c:numCache>
                <c:formatCode>General</c:formatCode>
                <c:ptCount val="3"/>
                <c:pt idx="0">
                  <c:v>2021</c:v>
                </c:pt>
                <c:pt idx="1">
                  <c:v>2022</c:v>
                </c:pt>
                <c:pt idx="2">
                  <c:v>2023</c:v>
                </c:pt>
              </c:numCache>
            </c:numRef>
          </c:cat>
          <c:val>
            <c:numRef>
              <c:f>Feuil4!$C$23:$E$23</c:f>
              <c:numCache>
                <c:formatCode>_-* #,##0_-;\-* #,##0_-;_-* "-"??_-;_-@_-</c:formatCode>
                <c:ptCount val="3"/>
                <c:pt idx="0">
                  <c:v>520218</c:v>
                </c:pt>
                <c:pt idx="1">
                  <c:v>497386</c:v>
                </c:pt>
                <c:pt idx="2">
                  <c:v>445038</c:v>
                </c:pt>
              </c:numCache>
            </c:numRef>
          </c:val>
          <c:extLst>
            <c:ext xmlns:c16="http://schemas.microsoft.com/office/drawing/2014/chart" uri="{C3380CC4-5D6E-409C-BE32-E72D297353CC}">
              <c16:uniqueId val="{00000001-483D-4ED8-9ACA-550D66B5143F}"/>
            </c:ext>
          </c:extLst>
        </c:ser>
        <c:ser>
          <c:idx val="2"/>
          <c:order val="2"/>
          <c:tx>
            <c:strRef>
              <c:f>Feuil4!$B$24</c:f>
              <c:strCache>
                <c:ptCount val="1"/>
                <c:pt idx="0">
                  <c:v>Sofinco</c:v>
                </c:pt>
              </c:strCache>
            </c:strRef>
          </c:tx>
          <c:spPr>
            <a:solidFill>
              <a:schemeClr val="accent6">
                <a:tint val="65000"/>
              </a:schemeClr>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4!$C$21:$E$21</c:f>
              <c:numCache>
                <c:formatCode>General</c:formatCode>
                <c:ptCount val="3"/>
                <c:pt idx="0">
                  <c:v>2021</c:v>
                </c:pt>
                <c:pt idx="1">
                  <c:v>2022</c:v>
                </c:pt>
                <c:pt idx="2">
                  <c:v>2023</c:v>
                </c:pt>
              </c:numCache>
            </c:numRef>
          </c:cat>
          <c:val>
            <c:numRef>
              <c:f>Feuil4!$C$24:$E$24</c:f>
              <c:numCache>
                <c:formatCode>_-* #,##0_-;\-* #,##0_-;_-* "-"??_-;_-@_-</c:formatCode>
                <c:ptCount val="3"/>
                <c:pt idx="0">
                  <c:v>506913</c:v>
                </c:pt>
                <c:pt idx="1">
                  <c:v>446681</c:v>
                </c:pt>
                <c:pt idx="2">
                  <c:v>341587</c:v>
                </c:pt>
              </c:numCache>
            </c:numRef>
          </c:val>
          <c:extLst>
            <c:ext xmlns:c16="http://schemas.microsoft.com/office/drawing/2014/chart" uri="{C3380CC4-5D6E-409C-BE32-E72D297353CC}">
              <c16:uniqueId val="{00000002-483D-4ED8-9ACA-550D66B5143F}"/>
            </c:ext>
          </c:extLst>
        </c:ser>
        <c:dLbls>
          <c:dLblPos val="outEnd"/>
          <c:showLegendKey val="0"/>
          <c:showVal val="1"/>
          <c:showCatName val="0"/>
          <c:showSerName val="0"/>
          <c:showPercent val="0"/>
          <c:showBubbleSize val="0"/>
        </c:dLbls>
        <c:gapWidth val="219"/>
        <c:overlap val="-27"/>
        <c:axId val="705326400"/>
        <c:axId val="705318496"/>
      </c:barChart>
      <c:catAx>
        <c:axId val="70532640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705318496"/>
        <c:crosses val="autoZero"/>
        <c:auto val="1"/>
        <c:lblAlgn val="ctr"/>
        <c:lblOffset val="100"/>
        <c:noMultiLvlLbl val="0"/>
      </c:catAx>
      <c:valAx>
        <c:axId val="705318496"/>
        <c:scaling>
          <c:orientation val="minMax"/>
        </c:scaling>
        <c:delete val="1"/>
        <c:axPos val="l"/>
        <c:numFmt formatCode="_-* #,##0_-;\-* #,##0_-;_-* &quot;-&quot;??_-;_-@_-" sourceLinked="1"/>
        <c:majorTickMark val="none"/>
        <c:minorTickMark val="none"/>
        <c:tickLblPos val="nextTo"/>
        <c:crossAx val="7053264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Colonne2</c:v>
                </c:pt>
              </c:strCache>
            </c:strRef>
          </c:tx>
          <c:spPr>
            <a:ln>
              <a:noFill/>
            </a:ln>
          </c:spPr>
          <c:dPt>
            <c:idx val="0"/>
            <c:bubble3D val="0"/>
            <c:spPr>
              <a:solidFill>
                <a:srgbClr val="00664B"/>
              </a:solidFill>
              <a:ln w="19050">
                <a:noFill/>
              </a:ln>
              <a:effectLst/>
            </c:spPr>
            <c:extLst>
              <c:ext xmlns:c16="http://schemas.microsoft.com/office/drawing/2014/chart" uri="{C3380CC4-5D6E-409C-BE32-E72D297353CC}">
                <c16:uniqueId val="{00000001-212C-2441-9DDE-D211A9241DB6}"/>
              </c:ext>
            </c:extLst>
          </c:dPt>
          <c:dPt>
            <c:idx val="1"/>
            <c:bubble3D val="0"/>
            <c:spPr>
              <a:solidFill>
                <a:srgbClr val="00B0F0"/>
              </a:solidFill>
              <a:ln w="19050">
                <a:noFill/>
              </a:ln>
              <a:effectLst/>
            </c:spPr>
            <c:extLst>
              <c:ext xmlns:c16="http://schemas.microsoft.com/office/drawing/2014/chart" uri="{C3380CC4-5D6E-409C-BE32-E72D297353CC}">
                <c16:uniqueId val="{00000003-212C-2441-9DDE-D211A9241DB6}"/>
              </c:ext>
            </c:extLst>
          </c:dPt>
          <c:dPt>
            <c:idx val="2"/>
            <c:bubble3D val="0"/>
            <c:spPr>
              <a:solidFill>
                <a:srgbClr val="7030A0"/>
              </a:solidFill>
              <a:ln w="19050">
                <a:noFill/>
              </a:ln>
              <a:effectLst/>
            </c:spPr>
            <c:extLst>
              <c:ext xmlns:c16="http://schemas.microsoft.com/office/drawing/2014/chart" uri="{C3380CC4-5D6E-409C-BE32-E72D297353CC}">
                <c16:uniqueId val="{00000005-212C-2441-9DDE-D211A9241DB6}"/>
              </c:ext>
            </c:extLst>
          </c:dPt>
          <c:dPt>
            <c:idx val="3"/>
            <c:bubble3D val="0"/>
            <c:spPr>
              <a:solidFill>
                <a:srgbClr val="008B92"/>
              </a:solidFill>
              <a:ln w="19050">
                <a:noFill/>
              </a:ln>
              <a:effectLst/>
            </c:spPr>
            <c:extLst>
              <c:ext xmlns:c16="http://schemas.microsoft.com/office/drawing/2014/chart" uri="{C3380CC4-5D6E-409C-BE32-E72D297353CC}">
                <c16:uniqueId val="{00000007-212C-2441-9DDE-D211A9241DB6}"/>
              </c:ext>
            </c:extLst>
          </c:dPt>
          <c:cat>
            <c:strRef>
              <c:f>Feuil1!$A$2:$A$5</c:f>
              <c:strCache>
                <c:ptCount val="4"/>
                <c:pt idx="0">
                  <c:v>Achat biens et services</c:v>
                </c:pt>
                <c:pt idx="1">
                  <c:v>Transport</c:v>
                </c:pt>
                <c:pt idx="2">
                  <c:v>Immobilisations</c:v>
                </c:pt>
                <c:pt idx="3">
                  <c:v>Energie</c:v>
                </c:pt>
              </c:strCache>
            </c:strRef>
          </c:cat>
          <c:val>
            <c:numRef>
              <c:f>Feuil1!$B$2:$B$5</c:f>
              <c:numCache>
                <c:formatCode>General</c:formatCode>
                <c:ptCount val="4"/>
                <c:pt idx="0">
                  <c:v>0.66</c:v>
                </c:pt>
                <c:pt idx="1">
                  <c:v>0.18</c:v>
                </c:pt>
                <c:pt idx="2">
                  <c:v>0.14000000000000001</c:v>
                </c:pt>
                <c:pt idx="3">
                  <c:v>0.02</c:v>
                </c:pt>
              </c:numCache>
            </c:numRef>
          </c:val>
          <c:extLst>
            <c:ext xmlns:c16="http://schemas.microsoft.com/office/drawing/2014/chart" uri="{C3380CC4-5D6E-409C-BE32-E72D297353CC}">
              <c16:uniqueId val="{00000000-68F5-064C-AF84-E001EFD06366}"/>
            </c:ext>
          </c:extLst>
        </c:ser>
        <c:dLbls>
          <c:showLegendKey val="0"/>
          <c:showVal val="0"/>
          <c:showCatName val="0"/>
          <c:showSerName val="0"/>
          <c:showPercent val="0"/>
          <c:showBubbleSize val="0"/>
          <c:showLeaderLines val="1"/>
        </c:dLbls>
        <c:firstSliceAng val="0"/>
        <c:holeSize val="70"/>
      </c:doughnutChart>
      <c:spPr>
        <a:noFill/>
        <a:ln>
          <a:noFill/>
        </a:ln>
        <a:effectLst/>
      </c:spPr>
    </c:plotArea>
    <c:legend>
      <c:legendPos val="r"/>
      <c:layout>
        <c:manualLayout>
          <c:xMode val="edge"/>
          <c:yMode val="edge"/>
          <c:x val="0.61127782065490799"/>
          <c:y val="0.30468604607883276"/>
          <c:w val="0.33723744187827803"/>
          <c:h val="0.40593811313932654"/>
        </c:manualLayout>
      </c:layout>
      <c:overlay val="0"/>
      <c:spPr>
        <a:solidFill>
          <a:schemeClr val="lt1">
            <a:alpha val="50000"/>
          </a:schemeClr>
        </a:solidFill>
        <a:ln>
          <a:noFill/>
        </a:ln>
        <a:effectLst>
          <a:outerShdw blurRad="50800" dist="38100" dir="2700000" algn="tl" rotWithShape="0">
            <a:schemeClr val="bg1">
              <a:alpha val="40000"/>
            </a:schemeClr>
          </a:outerShdw>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spPr>
            <a:ln>
              <a:noFill/>
            </a:ln>
          </c:spPr>
          <c:dPt>
            <c:idx val="0"/>
            <c:bubble3D val="0"/>
            <c:spPr>
              <a:solidFill>
                <a:srgbClr val="005908"/>
              </a:solidFill>
              <a:ln w="19050">
                <a:noFill/>
              </a:ln>
              <a:effectLst/>
            </c:spPr>
            <c:extLst>
              <c:ext xmlns:c16="http://schemas.microsoft.com/office/drawing/2014/chart" uri="{C3380CC4-5D6E-409C-BE32-E72D297353CC}">
                <c16:uniqueId val="{00000001-5300-4E4C-8AEA-AEF44D14E9AA}"/>
              </c:ext>
            </c:extLst>
          </c:dPt>
          <c:dPt>
            <c:idx val="1"/>
            <c:bubble3D val="0"/>
            <c:spPr>
              <a:solidFill>
                <a:srgbClr val="00B0F0"/>
              </a:solidFill>
              <a:ln w="19050">
                <a:noFill/>
              </a:ln>
              <a:effectLst/>
            </c:spPr>
            <c:extLst>
              <c:ext xmlns:c16="http://schemas.microsoft.com/office/drawing/2014/chart" uri="{C3380CC4-5D6E-409C-BE32-E72D297353CC}">
                <c16:uniqueId val="{00000003-8A6D-D749-9E80-3627AF0B41CC}"/>
              </c:ext>
            </c:extLst>
          </c:dPt>
          <c:dPt>
            <c:idx val="2"/>
            <c:bubble3D val="0"/>
            <c:spPr>
              <a:solidFill>
                <a:srgbClr val="7030A0"/>
              </a:solidFill>
              <a:ln w="19050">
                <a:noFill/>
              </a:ln>
              <a:effectLst/>
            </c:spPr>
            <c:extLst>
              <c:ext xmlns:c16="http://schemas.microsoft.com/office/drawing/2014/chart" uri="{C3380CC4-5D6E-409C-BE32-E72D297353CC}">
                <c16:uniqueId val="{00000005-8A6D-D749-9E80-3627AF0B41CC}"/>
              </c:ext>
            </c:extLst>
          </c:dPt>
          <c:dPt>
            <c:idx val="3"/>
            <c:bubble3D val="0"/>
            <c:spPr>
              <a:solidFill>
                <a:srgbClr val="008B92"/>
              </a:solidFill>
              <a:ln w="19050">
                <a:noFill/>
              </a:ln>
              <a:effectLst/>
            </c:spPr>
            <c:extLst>
              <c:ext xmlns:c16="http://schemas.microsoft.com/office/drawing/2014/chart" uri="{C3380CC4-5D6E-409C-BE32-E72D297353CC}">
                <c16:uniqueId val="{00000007-8A6D-D749-9E80-3627AF0B41CC}"/>
              </c:ext>
            </c:extLst>
          </c:dPt>
          <c:cat>
            <c:strRef>
              <c:f>Feuil1!$A$2:$A$5</c:f>
              <c:strCache>
                <c:ptCount val="4"/>
                <c:pt idx="0">
                  <c:v>Financement Auto</c:v>
                </c:pt>
                <c:pt idx="1">
                  <c:v>Circuit court</c:v>
                </c:pt>
                <c:pt idx="2">
                  <c:v>Equipement de la maison et grands partenaires</c:v>
                </c:pt>
                <c:pt idx="3">
                  <c:v>Autres</c:v>
                </c:pt>
              </c:strCache>
            </c:strRef>
          </c:cat>
          <c:val>
            <c:numRef>
              <c:f>Feuil1!$B$2:$B$5</c:f>
              <c:numCache>
                <c:formatCode>General</c:formatCode>
                <c:ptCount val="4"/>
                <c:pt idx="0">
                  <c:v>80</c:v>
                </c:pt>
                <c:pt idx="1">
                  <c:v>15</c:v>
                </c:pt>
                <c:pt idx="2">
                  <c:v>4</c:v>
                </c:pt>
                <c:pt idx="3">
                  <c:v>1</c:v>
                </c:pt>
              </c:numCache>
            </c:numRef>
          </c:val>
          <c:extLst>
            <c:ext xmlns:c16="http://schemas.microsoft.com/office/drawing/2014/chart" uri="{C3380CC4-5D6E-409C-BE32-E72D297353CC}">
              <c16:uniqueId val="{00000000-5300-4E4C-8AEA-AEF44D14E9AA}"/>
            </c:ext>
          </c:extLst>
        </c:ser>
        <c:dLbls>
          <c:showLegendKey val="0"/>
          <c:showVal val="0"/>
          <c:showCatName val="0"/>
          <c:showSerName val="0"/>
          <c:showPercent val="0"/>
          <c:showBubbleSize val="0"/>
          <c:showLeaderLines val="1"/>
        </c:dLbls>
        <c:firstSliceAng val="0"/>
        <c:holeSize val="70"/>
      </c:doughnutChart>
      <c:spPr>
        <a:noFill/>
        <a:ln w="22225">
          <a:noFill/>
        </a:ln>
        <a:effectLst/>
      </c:spPr>
    </c:plotArea>
    <c:legend>
      <c:legendPos val="r"/>
      <c:legendEntry>
        <c:idx val="2"/>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fr-FR"/>
          </a:p>
        </c:txPr>
      </c:legendEntry>
      <c:layout>
        <c:manualLayout>
          <c:xMode val="edge"/>
          <c:yMode val="edge"/>
          <c:x val="0.51886428778808269"/>
          <c:y val="0.15583825548904315"/>
          <c:w val="0.23050377491578808"/>
          <c:h val="0.70444233389712785"/>
        </c:manualLayout>
      </c:layout>
      <c:overlay val="0"/>
      <c:spPr>
        <a:solidFill>
          <a:schemeClr val="bg1">
            <a:alpha val="70699"/>
          </a:schemeClr>
        </a:solidFill>
        <a:ln>
          <a:noFill/>
        </a:ln>
        <a:effectLst/>
      </c:spPr>
      <c:txPr>
        <a:bodyPr rot="0" spcFirstLastPara="1" vertOverflow="ellipsis" vert="horz" wrap="square" anchor="t" anchorCtr="0"/>
        <a:lstStyle/>
        <a:p>
          <a:pPr>
            <a:defRPr sz="1197" b="0" i="0" u="none" strike="noStrike" kern="1200" baseline="0">
              <a:solidFill>
                <a:schemeClr val="dk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579466723720481"/>
          <c:y val="6.405889251346894E-2"/>
          <c:w val="0.75793820304713078"/>
          <c:h val="0.6986820224017265"/>
        </c:manualLayout>
      </c:layout>
      <c:barChart>
        <c:barDir val="col"/>
        <c:grouping val="stacked"/>
        <c:varyColors val="0"/>
        <c:ser>
          <c:idx val="0"/>
          <c:order val="0"/>
          <c:tx>
            <c:strRef>
              <c:f>'CACF Key Figures'!$B$31</c:f>
              <c:strCache>
                <c:ptCount val="1"/>
                <c:pt idx="0">
                  <c:v>CACF French Activities</c:v>
                </c:pt>
              </c:strCache>
            </c:strRef>
          </c:tx>
          <c:spPr>
            <a:solidFill>
              <a:srgbClr val="006047"/>
            </a:solidFill>
            <a:ln>
              <a:solidFill>
                <a:sysClr val="windowText" lastClr="0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lt1"/>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30:$M$30</c:f>
              <c:strCache>
                <c:ptCount val="5"/>
                <c:pt idx="0">
                  <c:v>2019</c:v>
                </c:pt>
                <c:pt idx="1">
                  <c:v>2020</c:v>
                </c:pt>
                <c:pt idx="2">
                  <c:v>2021</c:v>
                </c:pt>
                <c:pt idx="3">
                  <c:v>2022</c:v>
                </c:pt>
                <c:pt idx="4">
                  <c:v>2023</c:v>
                </c:pt>
              </c:strCache>
            </c:strRef>
          </c:cat>
          <c:val>
            <c:numRef>
              <c:f>'CACF Key Figures'!$I$31:$M$31</c:f>
              <c:numCache>
                <c:formatCode>_-* #,##0\ _€_-;\-* #,##0\ _€_-;_-* "-"??\ _€_-;_-@_-</c:formatCode>
                <c:ptCount val="5"/>
                <c:pt idx="0">
                  <c:v>12330.945778251831</c:v>
                </c:pt>
                <c:pt idx="1">
                  <c:v>12469.284202686411</c:v>
                </c:pt>
                <c:pt idx="2">
                  <c:v>12458.451780912643</c:v>
                </c:pt>
                <c:pt idx="3">
                  <c:v>13209.040462480531</c:v>
                </c:pt>
                <c:pt idx="4">
                  <c:v>13624.883551898838</c:v>
                </c:pt>
              </c:numCache>
            </c:numRef>
          </c:val>
          <c:extLst>
            <c:ext xmlns:c16="http://schemas.microsoft.com/office/drawing/2014/chart" uri="{C3380CC4-5D6E-409C-BE32-E72D297353CC}">
              <c16:uniqueId val="{00000000-FDC5-4283-AFF7-410C7CC4B0C7}"/>
            </c:ext>
          </c:extLst>
        </c:ser>
        <c:ser>
          <c:idx val="1"/>
          <c:order val="1"/>
          <c:tx>
            <c:strRef>
              <c:f>'CACF Key Figures'!$B$32</c:f>
              <c:strCache>
                <c:ptCount val="1"/>
                <c:pt idx="0">
                  <c:v>International Auto Partners</c:v>
                </c:pt>
              </c:strCache>
            </c:strRef>
          </c:tx>
          <c:spPr>
            <a:solidFill>
              <a:srgbClr val="9BBB59">
                <a:lumMod val="75000"/>
                <a:alpha val="99000"/>
              </a:srgbClr>
            </a:solidFill>
            <a:ln>
              <a:solidFill>
                <a:sysClr val="windowText" lastClr="0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30:$M$30</c:f>
              <c:strCache>
                <c:ptCount val="5"/>
                <c:pt idx="0">
                  <c:v>2019</c:v>
                </c:pt>
                <c:pt idx="1">
                  <c:v>2020</c:v>
                </c:pt>
                <c:pt idx="2">
                  <c:v>2021</c:v>
                </c:pt>
                <c:pt idx="3">
                  <c:v>2022</c:v>
                </c:pt>
                <c:pt idx="4">
                  <c:v>2023</c:v>
                </c:pt>
              </c:strCache>
            </c:strRef>
          </c:cat>
          <c:val>
            <c:numRef>
              <c:f>'CACF Key Figures'!$I$32:$M$32</c:f>
              <c:numCache>
                <c:formatCode>_-* #,##0\ _€_-;\-* #,##0\ _€_-;_-* "-"??\ _€_-;_-@_-</c:formatCode>
                <c:ptCount val="5"/>
                <c:pt idx="0">
                  <c:v>0</c:v>
                </c:pt>
                <c:pt idx="1">
                  <c:v>0</c:v>
                </c:pt>
                <c:pt idx="2">
                  <c:v>0</c:v>
                </c:pt>
                <c:pt idx="3">
                  <c:v>0</c:v>
                </c:pt>
                <c:pt idx="4">
                  <c:v>25213.780158638408</c:v>
                </c:pt>
              </c:numCache>
            </c:numRef>
          </c:val>
          <c:extLst>
            <c:ext xmlns:c16="http://schemas.microsoft.com/office/drawing/2014/chart" uri="{C3380CC4-5D6E-409C-BE32-E72D297353CC}">
              <c16:uniqueId val="{00000001-FDC5-4283-AFF7-410C7CC4B0C7}"/>
            </c:ext>
          </c:extLst>
        </c:ser>
        <c:ser>
          <c:idx val="2"/>
          <c:order val="2"/>
          <c:tx>
            <c:strRef>
              <c:f>'CACF Key Figures'!$B$33</c:f>
              <c:strCache>
                <c:ptCount val="1"/>
                <c:pt idx="0">
                  <c:v>Agos Ducato Group</c:v>
                </c:pt>
              </c:strCache>
            </c:strRef>
          </c:tx>
          <c:spPr>
            <a:solidFill>
              <a:schemeClr val="accent3"/>
            </a:solidFill>
            <a:ln>
              <a:solidFill>
                <a:sysClr val="windowText" lastClr="0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lt1"/>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30:$M$30</c:f>
              <c:strCache>
                <c:ptCount val="5"/>
                <c:pt idx="0">
                  <c:v>2019</c:v>
                </c:pt>
                <c:pt idx="1">
                  <c:v>2020</c:v>
                </c:pt>
                <c:pt idx="2">
                  <c:v>2021</c:v>
                </c:pt>
                <c:pt idx="3">
                  <c:v>2022</c:v>
                </c:pt>
                <c:pt idx="4">
                  <c:v>2023</c:v>
                </c:pt>
              </c:strCache>
            </c:strRef>
          </c:cat>
          <c:val>
            <c:numRef>
              <c:f>'CACF Key Figures'!$I$33:$M$33</c:f>
              <c:numCache>
                <c:formatCode>_-* #,##0\ _€_-;\-* #,##0\ _€_-;_-* "-"??\ _€_-;_-@_-</c:formatCode>
                <c:ptCount val="5"/>
                <c:pt idx="0">
                  <c:v>14591.564</c:v>
                </c:pt>
                <c:pt idx="1">
                  <c:v>13756.994937519999</c:v>
                </c:pt>
                <c:pt idx="2">
                  <c:v>14083.657510919997</c:v>
                </c:pt>
                <c:pt idx="3">
                  <c:v>15552.009000599999</c:v>
                </c:pt>
                <c:pt idx="4">
                  <c:v>16819.923999710001</c:v>
                </c:pt>
              </c:numCache>
            </c:numRef>
          </c:val>
          <c:extLst>
            <c:ext xmlns:c16="http://schemas.microsoft.com/office/drawing/2014/chart" uri="{C3380CC4-5D6E-409C-BE32-E72D297353CC}">
              <c16:uniqueId val="{00000002-FDC5-4283-AFF7-410C7CC4B0C7}"/>
            </c:ext>
          </c:extLst>
        </c:ser>
        <c:ser>
          <c:idx val="3"/>
          <c:order val="3"/>
          <c:tx>
            <c:strRef>
              <c:f>'CACF Key Figures'!$B$34</c:f>
              <c:strCache>
                <c:ptCount val="1"/>
                <c:pt idx="0">
                  <c:v>Other International Units</c:v>
                </c:pt>
              </c:strCache>
            </c:strRef>
          </c:tx>
          <c:spPr>
            <a:solidFill>
              <a:srgbClr val="DAF694"/>
            </a:solidFill>
            <a:ln>
              <a:solidFill>
                <a:sysClr val="windowText" lastClr="0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30:$M$30</c:f>
              <c:strCache>
                <c:ptCount val="5"/>
                <c:pt idx="0">
                  <c:v>2019</c:v>
                </c:pt>
                <c:pt idx="1">
                  <c:v>2020</c:v>
                </c:pt>
                <c:pt idx="2">
                  <c:v>2021</c:v>
                </c:pt>
                <c:pt idx="3">
                  <c:v>2022</c:v>
                </c:pt>
                <c:pt idx="4">
                  <c:v>2023</c:v>
                </c:pt>
              </c:strCache>
            </c:strRef>
          </c:cat>
          <c:val>
            <c:numRef>
              <c:f>'CACF Key Figures'!$I$34:$M$34</c:f>
              <c:numCache>
                <c:formatCode>_-* #,##0\ _€_-;\-* #,##0\ _€_-;_-* "-"??\ _€_-;_-@_-</c:formatCode>
                <c:ptCount val="5"/>
                <c:pt idx="0">
                  <c:v>7892.2891966799998</c:v>
                </c:pt>
                <c:pt idx="1">
                  <c:v>6937.7657469880987</c:v>
                </c:pt>
                <c:pt idx="2">
                  <c:v>9335.3034763156011</c:v>
                </c:pt>
                <c:pt idx="3">
                  <c:v>10309.230999788151</c:v>
                </c:pt>
                <c:pt idx="4">
                  <c:v>11183.365181104602</c:v>
                </c:pt>
              </c:numCache>
            </c:numRef>
          </c:val>
          <c:extLst>
            <c:ext xmlns:c16="http://schemas.microsoft.com/office/drawing/2014/chart" uri="{C3380CC4-5D6E-409C-BE32-E72D297353CC}">
              <c16:uniqueId val="{00000003-FDC5-4283-AFF7-410C7CC4B0C7}"/>
            </c:ext>
          </c:extLst>
        </c:ser>
        <c:dLbls>
          <c:dLblPos val="ctr"/>
          <c:showLegendKey val="0"/>
          <c:showVal val="1"/>
          <c:showCatName val="0"/>
          <c:showSerName val="0"/>
          <c:showPercent val="0"/>
          <c:showBubbleSize val="0"/>
        </c:dLbls>
        <c:gapWidth val="75"/>
        <c:overlap val="100"/>
        <c:axId val="467374424"/>
        <c:axId val="467377376"/>
      </c:barChart>
      <c:dateAx>
        <c:axId val="467374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ysClr val="windowText" lastClr="000000"/>
                </a:solidFill>
                <a:latin typeface="Arial" panose="020B0604020202020204" pitchFamily="34" charset="0"/>
                <a:ea typeface="+mn-ea"/>
                <a:cs typeface="Arial" panose="020B0604020202020204" pitchFamily="34" charset="0"/>
              </a:defRPr>
            </a:pPr>
            <a:endParaRPr lang="fr-FR"/>
          </a:p>
        </c:txPr>
        <c:crossAx val="467377376"/>
        <c:crosses val="autoZero"/>
        <c:auto val="0"/>
        <c:lblOffset val="100"/>
        <c:baseTimeUnit val="days"/>
      </c:dateAx>
      <c:valAx>
        <c:axId val="467377376"/>
        <c:scaling>
          <c:orientation val="minMax"/>
        </c:scaling>
        <c:delete val="1"/>
        <c:axPos val="l"/>
        <c:numFmt formatCode="_-* #,##0\ _€_-;\-* #,##0\ _€_-;_-* &quot;-&quot;??\ _€_-;_-@_-" sourceLinked="1"/>
        <c:majorTickMark val="none"/>
        <c:minorTickMark val="none"/>
        <c:tickLblPos val="nextTo"/>
        <c:crossAx val="467374424"/>
        <c:crosses val="autoZero"/>
        <c:crossBetween val="between"/>
      </c:valAx>
      <c:spPr>
        <a:noFill/>
        <a:ln>
          <a:noFill/>
        </a:ln>
        <a:effectLst/>
      </c:spPr>
    </c:plotArea>
    <c:legend>
      <c:legendPos val="b"/>
      <c:layout>
        <c:manualLayout>
          <c:xMode val="edge"/>
          <c:yMode val="edge"/>
          <c:x val="5.1057706583449436E-3"/>
          <c:y val="6.1404473681521471E-3"/>
          <c:w val="0.98424377634528537"/>
          <c:h val="9.975770012881385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w="9525" cap="flat" cmpd="sng" algn="ctr">
      <a:noFill/>
      <a:round/>
    </a:ln>
    <a:effectLst/>
  </c:spPr>
  <c:txPr>
    <a:bodyPr/>
    <a:lstStyle/>
    <a:p>
      <a:pPr>
        <a:defRPr/>
      </a:pPr>
      <a:endParaRPr lang="fr-F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26014441285625E-3"/>
          <c:y val="0.2789109551836777"/>
          <c:w val="0.97083916097140843"/>
          <c:h val="0.64223464019703402"/>
        </c:manualLayout>
      </c:layout>
      <c:barChart>
        <c:barDir val="col"/>
        <c:grouping val="stacked"/>
        <c:varyColors val="0"/>
        <c:ser>
          <c:idx val="0"/>
          <c:order val="0"/>
          <c:tx>
            <c:strRef>
              <c:f>'CACF Key Figures'!$B$49</c:f>
              <c:strCache>
                <c:ptCount val="1"/>
                <c:pt idx="0">
                  <c:v>Revolving</c:v>
                </c:pt>
              </c:strCache>
            </c:strRef>
          </c:tx>
          <c:spPr>
            <a:solidFill>
              <a:srgbClr val="006047"/>
            </a:solidFill>
            <a:ln>
              <a:noFill/>
            </a:ln>
          </c:spPr>
          <c:invertIfNegative val="0"/>
          <c:dLbls>
            <c:spPr>
              <a:noFill/>
              <a:ln>
                <a:noFill/>
              </a:ln>
              <a:effectLst/>
            </c:spPr>
            <c:txPr>
              <a:bodyPr wrap="square" lIns="38100" tIns="19050" rIns="38100" bIns="19050" anchor="ctr">
                <a:spAutoFit/>
              </a:bodyPr>
              <a:lstStyle/>
              <a:p>
                <a:pPr>
                  <a:defRPr sz="800">
                    <a:solidFill>
                      <a:srgbClr val="FFFFFF"/>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ACF Key Figures'!$I$48:$M$48</c:f>
              <c:strCache>
                <c:ptCount val="5"/>
                <c:pt idx="0">
                  <c:v>2019</c:v>
                </c:pt>
                <c:pt idx="1">
                  <c:v>2020</c:v>
                </c:pt>
                <c:pt idx="2">
                  <c:v>2021</c:v>
                </c:pt>
                <c:pt idx="3">
                  <c:v>2022</c:v>
                </c:pt>
                <c:pt idx="4">
                  <c:v>2023</c:v>
                </c:pt>
              </c:strCache>
            </c:strRef>
          </c:cat>
          <c:val>
            <c:numRef>
              <c:f>'CACF Key Figures'!$I$49:$M$49</c:f>
              <c:numCache>
                <c:formatCode>0%</c:formatCode>
                <c:ptCount val="5"/>
                <c:pt idx="0">
                  <c:v>8.2004823112264633E-2</c:v>
                </c:pt>
                <c:pt idx="1">
                  <c:v>7.8652353890963575E-2</c:v>
                </c:pt>
                <c:pt idx="2">
                  <c:v>7.5247355891568071E-2</c:v>
                </c:pt>
                <c:pt idx="3">
                  <c:v>7.18297798945636E-2</c:v>
                </c:pt>
                <c:pt idx="4">
                  <c:v>6.9896365895315615E-2</c:v>
                </c:pt>
              </c:numCache>
            </c:numRef>
          </c:val>
          <c:extLst>
            <c:ext xmlns:c16="http://schemas.microsoft.com/office/drawing/2014/chart" uri="{C3380CC4-5D6E-409C-BE32-E72D297353CC}">
              <c16:uniqueId val="{00000000-D4B9-488E-92C9-1C78B33F89EF}"/>
            </c:ext>
          </c:extLst>
        </c:ser>
        <c:ser>
          <c:idx val="4"/>
          <c:order val="1"/>
          <c:tx>
            <c:strRef>
              <c:f>'CACF Key Figures'!$B$50</c:f>
              <c:strCache>
                <c:ptCount val="1"/>
                <c:pt idx="0">
                  <c:v>Instalment Loans</c:v>
                </c:pt>
              </c:strCache>
            </c:strRef>
          </c:tx>
          <c:spPr>
            <a:solidFill>
              <a:srgbClr val="73B62B"/>
            </a:solidFill>
            <a:ln>
              <a:noFill/>
            </a:ln>
            <a:effectLst/>
          </c:spPr>
          <c:invertIfNegative val="0"/>
          <c:dLbls>
            <c:dLbl>
              <c:idx val="1"/>
              <c:layout>
                <c:manualLayout>
                  <c:x val="-1.0208561508084425E-16"/>
                  <c:y val="-1.18366946232203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EB3-434B-9F63-40A0233EA11E}"/>
                </c:ext>
              </c:extLst>
            </c:dLbl>
            <c:dLbl>
              <c:idx val="3"/>
              <c:tx>
                <c:rich>
                  <a:bodyPr/>
                  <a:lstStyle/>
                  <a:p>
                    <a:r>
                      <a:rPr lang="en-150" dirty="0"/>
                      <a:t>8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EB3-434B-9F63-40A0233EA11E}"/>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48:$M$48</c:f>
              <c:strCache>
                <c:ptCount val="5"/>
                <c:pt idx="0">
                  <c:v>2019</c:v>
                </c:pt>
                <c:pt idx="1">
                  <c:v>2020</c:v>
                </c:pt>
                <c:pt idx="2">
                  <c:v>2021</c:v>
                </c:pt>
                <c:pt idx="3">
                  <c:v>2022</c:v>
                </c:pt>
                <c:pt idx="4">
                  <c:v>2023</c:v>
                </c:pt>
              </c:strCache>
            </c:strRef>
          </c:cat>
          <c:val>
            <c:numRef>
              <c:f>'CACF Key Figures'!$I$50:$M$50</c:f>
              <c:numCache>
                <c:formatCode>0%</c:formatCode>
                <c:ptCount val="5"/>
                <c:pt idx="0">
                  <c:v>0.85694333176568038</c:v>
                </c:pt>
                <c:pt idx="1">
                  <c:v>0.85497443095098102</c:v>
                </c:pt>
                <c:pt idx="2">
                  <c:v>0.84455767155659933</c:v>
                </c:pt>
                <c:pt idx="3">
                  <c:v>0.84611929336852365</c:v>
                </c:pt>
                <c:pt idx="4">
                  <c:v>0.81697899312859668</c:v>
                </c:pt>
              </c:numCache>
            </c:numRef>
          </c:val>
          <c:extLst>
            <c:ext xmlns:c16="http://schemas.microsoft.com/office/drawing/2014/chart" uri="{C3380CC4-5D6E-409C-BE32-E72D297353CC}">
              <c16:uniqueId val="{00000002-D4B9-488E-92C9-1C78B33F89EF}"/>
            </c:ext>
          </c:extLst>
        </c:ser>
        <c:ser>
          <c:idx val="6"/>
          <c:order val="2"/>
          <c:tx>
            <c:strRef>
              <c:f>'CACF Key Figures'!$B$51</c:f>
              <c:strCache>
                <c:ptCount val="1"/>
                <c:pt idx="0">
                  <c:v>Leasing</c:v>
                </c:pt>
              </c:strCache>
            </c:strRef>
          </c:tx>
          <c:spPr>
            <a:solidFill>
              <a:srgbClr val="DAF69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48:$M$48</c:f>
              <c:strCache>
                <c:ptCount val="5"/>
                <c:pt idx="0">
                  <c:v>2019</c:v>
                </c:pt>
                <c:pt idx="1">
                  <c:v>2020</c:v>
                </c:pt>
                <c:pt idx="2">
                  <c:v>2021</c:v>
                </c:pt>
                <c:pt idx="3">
                  <c:v>2022</c:v>
                </c:pt>
                <c:pt idx="4">
                  <c:v>2023</c:v>
                </c:pt>
              </c:strCache>
            </c:strRef>
          </c:cat>
          <c:val>
            <c:numRef>
              <c:f>'CACF Key Figures'!$I$51:$M$51</c:f>
              <c:numCache>
                <c:formatCode>0%</c:formatCode>
                <c:ptCount val="5"/>
                <c:pt idx="0">
                  <c:v>6.1051845122055151E-2</c:v>
                </c:pt>
                <c:pt idx="1">
                  <c:v>6.6373215158055415E-2</c:v>
                </c:pt>
                <c:pt idx="2">
                  <c:v>8.0194972551832625E-2</c:v>
                </c:pt>
                <c:pt idx="3">
                  <c:v>8.2050926736912749E-2</c:v>
                </c:pt>
                <c:pt idx="4">
                  <c:v>0.11312464097608772</c:v>
                </c:pt>
              </c:numCache>
            </c:numRef>
          </c:val>
          <c:extLst>
            <c:ext xmlns:c16="http://schemas.microsoft.com/office/drawing/2014/chart" uri="{C3380CC4-5D6E-409C-BE32-E72D297353CC}">
              <c16:uniqueId val="{00000003-D4B9-488E-92C9-1C78B33F89EF}"/>
            </c:ext>
          </c:extLst>
        </c:ser>
        <c:dLbls>
          <c:dLblPos val="ctr"/>
          <c:showLegendKey val="0"/>
          <c:showVal val="1"/>
          <c:showCatName val="0"/>
          <c:showSerName val="0"/>
          <c:showPercent val="0"/>
          <c:showBubbleSize val="0"/>
        </c:dLbls>
        <c:gapWidth val="79"/>
        <c:overlap val="100"/>
        <c:axId val="467374424"/>
        <c:axId val="467377376"/>
      </c:barChart>
      <c:catAx>
        <c:axId val="467374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ysClr val="windowText" lastClr="000000"/>
                </a:solidFill>
                <a:latin typeface="+mn-lt"/>
                <a:ea typeface="+mn-ea"/>
                <a:cs typeface="+mn-cs"/>
              </a:defRPr>
            </a:pPr>
            <a:endParaRPr lang="fr-FR"/>
          </a:p>
        </c:txPr>
        <c:crossAx val="467377376"/>
        <c:crosses val="autoZero"/>
        <c:auto val="1"/>
        <c:lblAlgn val="ctr"/>
        <c:lblOffset val="100"/>
        <c:noMultiLvlLbl val="0"/>
      </c:catAx>
      <c:valAx>
        <c:axId val="467377376"/>
        <c:scaling>
          <c:orientation val="minMax"/>
        </c:scaling>
        <c:delete val="1"/>
        <c:axPos val="l"/>
        <c:numFmt formatCode="0%" sourceLinked="1"/>
        <c:majorTickMark val="none"/>
        <c:minorTickMark val="none"/>
        <c:tickLblPos val="nextTo"/>
        <c:crossAx val="467374424"/>
        <c:crosses val="autoZero"/>
        <c:crossBetween val="between"/>
      </c:valAx>
    </c:plotArea>
    <c:legend>
      <c:legendPos val="t"/>
      <c:layout>
        <c:manualLayout>
          <c:xMode val="edge"/>
          <c:yMode val="edge"/>
          <c:x val="0"/>
          <c:y val="0.13607851599413659"/>
          <c:w val="0.99705057674409292"/>
          <c:h val="7.5408391806120842E-2"/>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chart>
  <c:spPr>
    <a:noFill/>
    <a:ln w="9525" cap="flat" cmpd="sng" algn="ctr">
      <a:noFill/>
      <a:round/>
    </a:ln>
    <a:effectLst/>
  </c:spPr>
  <c:txPr>
    <a:bodyPr/>
    <a:lstStyle/>
    <a:p>
      <a:pPr>
        <a:defRPr/>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2911177871733305E-3"/>
          <c:y val="5.5678871976737265E-2"/>
          <c:w val="0.99395689030595014"/>
          <c:h val="0.66081907525719419"/>
        </c:manualLayout>
      </c:layout>
      <c:barChart>
        <c:barDir val="col"/>
        <c:grouping val="stacked"/>
        <c:varyColors val="0"/>
        <c:ser>
          <c:idx val="1"/>
          <c:order val="0"/>
          <c:tx>
            <c:strRef>
              <c:f>'CACF Key Figures'!$B$38</c:f>
              <c:strCache>
                <c:ptCount val="1"/>
                <c:pt idx="0">
                  <c:v>Direct to Consumers</c:v>
                </c:pt>
              </c:strCache>
            </c:strRef>
          </c:tx>
          <c:spPr>
            <a:solidFill>
              <a:srgbClr val="009B5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37:$M$37</c:f>
              <c:strCache>
                <c:ptCount val="5"/>
                <c:pt idx="0">
                  <c:v>2019</c:v>
                </c:pt>
                <c:pt idx="1">
                  <c:v>2020</c:v>
                </c:pt>
                <c:pt idx="2">
                  <c:v>2021</c:v>
                </c:pt>
                <c:pt idx="3">
                  <c:v>2022</c:v>
                </c:pt>
                <c:pt idx="4">
                  <c:v>2023</c:v>
                </c:pt>
              </c:strCache>
            </c:strRef>
          </c:cat>
          <c:val>
            <c:numRef>
              <c:f>'CACF Key Figures'!$I$38:$M$38</c:f>
              <c:numCache>
                <c:formatCode>_-* #,##0\ _€_-;\-* #,##0\ _€_-;_-* "-"??\ _€_-;_-@_-</c:formatCode>
                <c:ptCount val="5"/>
                <c:pt idx="0">
                  <c:v>6306.6725551680065</c:v>
                </c:pt>
                <c:pt idx="1">
                  <c:v>4626.6885209201428</c:v>
                </c:pt>
                <c:pt idx="2">
                  <c:v>5459.6686122972751</c:v>
                </c:pt>
                <c:pt idx="3">
                  <c:v>6195.895759799113</c:v>
                </c:pt>
                <c:pt idx="4">
                  <c:v>5351.9811480804055</c:v>
                </c:pt>
              </c:numCache>
            </c:numRef>
          </c:val>
          <c:extLst>
            <c:ext xmlns:c16="http://schemas.microsoft.com/office/drawing/2014/chart" uri="{C3380CC4-5D6E-409C-BE32-E72D297353CC}">
              <c16:uniqueId val="{00000000-EB31-4088-8170-636EE93C757A}"/>
            </c:ext>
          </c:extLst>
        </c:ser>
        <c:ser>
          <c:idx val="2"/>
          <c:order val="1"/>
          <c:tx>
            <c:strRef>
              <c:f>'CACF Key Figures'!$B$39</c:f>
              <c:strCache>
                <c:ptCount val="1"/>
                <c:pt idx="0">
                  <c:v>Non-Banking Partnership</c:v>
                </c:pt>
              </c:strCache>
            </c:strRef>
          </c:tx>
          <c:spPr>
            <a:solidFill>
              <a:srgbClr val="DAF694"/>
            </a:solidFill>
            <a:ln>
              <a:noFill/>
            </a:ln>
            <a:effectLst/>
          </c:spPr>
          <c:invertIfNegative val="0"/>
          <c:dLbls>
            <c:dLbl>
              <c:idx val="3"/>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0-F0A9-4541-8673-1ACCA584F17F}"/>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37:$M$37</c:f>
              <c:strCache>
                <c:ptCount val="5"/>
                <c:pt idx="0">
                  <c:v>2019</c:v>
                </c:pt>
                <c:pt idx="1">
                  <c:v>2020</c:v>
                </c:pt>
                <c:pt idx="2">
                  <c:v>2021</c:v>
                </c:pt>
                <c:pt idx="3">
                  <c:v>2022</c:v>
                </c:pt>
                <c:pt idx="4">
                  <c:v>2023</c:v>
                </c:pt>
              </c:strCache>
            </c:strRef>
          </c:cat>
          <c:val>
            <c:numRef>
              <c:f>'CACF Key Figures'!$I$39:$M$39</c:f>
              <c:numCache>
                <c:formatCode>_-* #,##0\ _€_-;\-* #,##0\ _€_-;_-* "-"??\ _€_-;_-@_-</c:formatCode>
                <c:ptCount val="5"/>
                <c:pt idx="0">
                  <c:v>3898.8518816278579</c:v>
                </c:pt>
                <c:pt idx="1">
                  <c:v>3205.2480560134636</c:v>
                </c:pt>
                <c:pt idx="2">
                  <c:v>3788.975268528598</c:v>
                </c:pt>
                <c:pt idx="3">
                  <c:v>4825.986099006207</c:v>
                </c:pt>
                <c:pt idx="4">
                  <c:v>4641.3696420311908</c:v>
                </c:pt>
              </c:numCache>
            </c:numRef>
          </c:val>
          <c:extLst>
            <c:ext xmlns:c16="http://schemas.microsoft.com/office/drawing/2014/chart" uri="{C3380CC4-5D6E-409C-BE32-E72D297353CC}">
              <c16:uniqueId val="{00000002-EB31-4088-8170-636EE93C757A}"/>
            </c:ext>
          </c:extLst>
        </c:ser>
        <c:ser>
          <c:idx val="3"/>
          <c:order val="2"/>
          <c:tx>
            <c:strRef>
              <c:f>'CACF Key Figures'!$B$40</c:f>
              <c:strCache>
                <c:ptCount val="1"/>
                <c:pt idx="0">
                  <c:v>Credit Brokers</c:v>
                </c:pt>
              </c:strCache>
            </c:strRef>
          </c:tx>
          <c:spPr>
            <a:solidFill>
              <a:schemeClr val="bg2">
                <a:lumMod val="75000"/>
              </a:schemeClr>
            </a:solidFill>
            <a:ln>
              <a:noFill/>
            </a:ln>
            <a:effectLst/>
          </c:spPr>
          <c:invertIfNegative val="0"/>
          <c:dLbls>
            <c:delete val="1"/>
          </c:dLbls>
          <c:cat>
            <c:strRef>
              <c:f>'CACF Key Figures'!$I$37:$M$37</c:f>
              <c:strCache>
                <c:ptCount val="5"/>
                <c:pt idx="0">
                  <c:v>2019</c:v>
                </c:pt>
                <c:pt idx="1">
                  <c:v>2020</c:v>
                </c:pt>
                <c:pt idx="2">
                  <c:v>2021</c:v>
                </c:pt>
                <c:pt idx="3">
                  <c:v>2022</c:v>
                </c:pt>
                <c:pt idx="4">
                  <c:v>2023</c:v>
                </c:pt>
              </c:strCache>
            </c:strRef>
          </c:cat>
          <c:val>
            <c:numRef>
              <c:f>'CACF Key Figures'!$I$40:$M$40</c:f>
              <c:numCache>
                <c:formatCode>_-* #,##0\ _€_-;\-* #,##0\ _€_-;_-* "-"??\ _€_-;_-@_-</c:formatCode>
                <c:ptCount val="5"/>
                <c:pt idx="0">
                  <c:v>875.39867280999999</c:v>
                </c:pt>
                <c:pt idx="1">
                  <c:v>1026.4936090199999</c:v>
                </c:pt>
                <c:pt idx="2">
                  <c:v>976.28569006999999</c:v>
                </c:pt>
                <c:pt idx="3">
                  <c:v>703.4026282100001</c:v>
                </c:pt>
                <c:pt idx="4">
                  <c:v>429.84540744999987</c:v>
                </c:pt>
              </c:numCache>
            </c:numRef>
          </c:val>
          <c:extLst>
            <c:ext xmlns:c16="http://schemas.microsoft.com/office/drawing/2014/chart" uri="{C3380CC4-5D6E-409C-BE32-E72D297353CC}">
              <c16:uniqueId val="{00000005-EB31-4088-8170-636EE93C757A}"/>
            </c:ext>
          </c:extLst>
        </c:ser>
        <c:ser>
          <c:idx val="4"/>
          <c:order val="3"/>
          <c:tx>
            <c:strRef>
              <c:f>'CACF Key Figures'!$B$41</c:f>
              <c:strCache>
                <c:ptCount val="1"/>
                <c:pt idx="0">
                  <c:v>Point of Sale – Home Equipment </c:v>
                </c:pt>
              </c:strCache>
            </c:strRef>
          </c:tx>
          <c:spPr>
            <a:solidFill>
              <a:srgbClr val="73B62B"/>
            </a:solidFill>
            <a:ln>
              <a:noFill/>
            </a:ln>
            <a:effectLst/>
          </c:spPr>
          <c:invertIfNegative val="0"/>
          <c:dLbls>
            <c:dLbl>
              <c:idx val="3"/>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1-F0A9-4541-8673-1ACCA584F17F}"/>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37:$M$37</c:f>
              <c:strCache>
                <c:ptCount val="5"/>
                <c:pt idx="0">
                  <c:v>2019</c:v>
                </c:pt>
                <c:pt idx="1">
                  <c:v>2020</c:v>
                </c:pt>
                <c:pt idx="2">
                  <c:v>2021</c:v>
                </c:pt>
                <c:pt idx="3">
                  <c:v>2022</c:v>
                </c:pt>
                <c:pt idx="4">
                  <c:v>2023</c:v>
                </c:pt>
              </c:strCache>
            </c:strRef>
          </c:cat>
          <c:val>
            <c:numRef>
              <c:f>'CACF Key Figures'!$I$41:$M$41</c:f>
              <c:numCache>
                <c:formatCode>_-* #,##0\ _€_-;\-* #,##0\ _€_-;_-* "-"??\ _€_-;_-@_-</c:formatCode>
                <c:ptCount val="5"/>
                <c:pt idx="0">
                  <c:v>2290.7941018594033</c:v>
                </c:pt>
                <c:pt idx="1">
                  <c:v>2241.8224214294314</c:v>
                </c:pt>
                <c:pt idx="2">
                  <c:v>2445.0452696688949</c:v>
                </c:pt>
                <c:pt idx="3">
                  <c:v>2924.0134698105003</c:v>
                </c:pt>
                <c:pt idx="4">
                  <c:v>3079.046751497734</c:v>
                </c:pt>
              </c:numCache>
            </c:numRef>
          </c:val>
          <c:extLst>
            <c:ext xmlns:c16="http://schemas.microsoft.com/office/drawing/2014/chart" uri="{C3380CC4-5D6E-409C-BE32-E72D297353CC}">
              <c16:uniqueId val="{00000007-EB31-4088-8170-636EE93C757A}"/>
            </c:ext>
          </c:extLst>
        </c:ser>
        <c:ser>
          <c:idx val="5"/>
          <c:order val="4"/>
          <c:tx>
            <c:strRef>
              <c:f>'CACF Key Figures'!$B$42</c:f>
              <c:strCache>
                <c:ptCount val="1"/>
                <c:pt idx="0">
                  <c:v>Point of Sale – Auto</c:v>
                </c:pt>
              </c:strCache>
            </c:strRef>
          </c:tx>
          <c:spPr>
            <a:solidFill>
              <a:srgbClr val="00644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37:$M$37</c:f>
              <c:strCache>
                <c:ptCount val="5"/>
                <c:pt idx="0">
                  <c:v>2019</c:v>
                </c:pt>
                <c:pt idx="1">
                  <c:v>2020</c:v>
                </c:pt>
                <c:pt idx="2">
                  <c:v>2021</c:v>
                </c:pt>
                <c:pt idx="3">
                  <c:v>2022</c:v>
                </c:pt>
                <c:pt idx="4">
                  <c:v>2023</c:v>
                </c:pt>
              </c:strCache>
            </c:strRef>
          </c:cat>
          <c:val>
            <c:numRef>
              <c:f>'CACF Key Figures'!$I$42:$M$42</c:f>
              <c:numCache>
                <c:formatCode>_-* #,##0\ _€_-;\-* #,##0\ _€_-;_-* "-"??\ _€_-;_-@_-</c:formatCode>
                <c:ptCount val="5"/>
                <c:pt idx="0">
                  <c:v>21568.894501590832</c:v>
                </c:pt>
                <c:pt idx="1">
                  <c:v>18962.432343754423</c:v>
                </c:pt>
                <c:pt idx="2">
                  <c:v>20875.053624949269</c:v>
                </c:pt>
                <c:pt idx="3">
                  <c:v>23831.729348064811</c:v>
                </c:pt>
                <c:pt idx="4">
                  <c:v>27982.083748133849</c:v>
                </c:pt>
              </c:numCache>
            </c:numRef>
          </c:val>
          <c:extLst>
            <c:ext xmlns:c16="http://schemas.microsoft.com/office/drawing/2014/chart" uri="{C3380CC4-5D6E-409C-BE32-E72D297353CC}">
              <c16:uniqueId val="{00000008-EB31-4088-8170-636EE93C757A}"/>
            </c:ext>
          </c:extLst>
        </c:ser>
        <c:ser>
          <c:idx val="6"/>
          <c:order val="5"/>
          <c:tx>
            <c:strRef>
              <c:f>'CACF Key Figures'!$B$43</c:f>
              <c:strCache>
                <c:ptCount val="1"/>
                <c:pt idx="0">
                  <c:v>Banking Partnerships </c:v>
                </c:pt>
              </c:strCache>
            </c:strRef>
          </c:tx>
          <c:spPr>
            <a:solidFill>
              <a:srgbClr val="008A9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ACF Key Figures'!$I$37:$M$37</c:f>
              <c:strCache>
                <c:ptCount val="5"/>
                <c:pt idx="0">
                  <c:v>2019</c:v>
                </c:pt>
                <c:pt idx="1">
                  <c:v>2020</c:v>
                </c:pt>
                <c:pt idx="2">
                  <c:v>2021</c:v>
                </c:pt>
                <c:pt idx="3">
                  <c:v>2022</c:v>
                </c:pt>
                <c:pt idx="4">
                  <c:v>2023</c:v>
                </c:pt>
              </c:strCache>
            </c:strRef>
          </c:cat>
          <c:val>
            <c:numRef>
              <c:f>'CACF Key Figures'!$I$43:$M$43</c:f>
              <c:numCache>
                <c:formatCode>_-* #,##0\ _€_-;\-* #,##0\ _€_-;_-* "-"??\ _€_-;_-@_-</c:formatCode>
                <c:ptCount val="5"/>
                <c:pt idx="0">
                  <c:v>10022.574606350001</c:v>
                </c:pt>
                <c:pt idx="1">
                  <c:v>8675.3657242299996</c:v>
                </c:pt>
                <c:pt idx="2">
                  <c:v>9696.7387137200021</c:v>
                </c:pt>
                <c:pt idx="3">
                  <c:v>9296.6862311999994</c:v>
                </c:pt>
                <c:pt idx="4">
                  <c:v>8901.3717426899984</c:v>
                </c:pt>
              </c:numCache>
            </c:numRef>
          </c:val>
          <c:extLst>
            <c:ext xmlns:c16="http://schemas.microsoft.com/office/drawing/2014/chart" uri="{C3380CC4-5D6E-409C-BE32-E72D297353CC}">
              <c16:uniqueId val="{00000009-EB31-4088-8170-636EE93C757A}"/>
            </c:ext>
          </c:extLst>
        </c:ser>
        <c:dLbls>
          <c:dLblPos val="ctr"/>
          <c:showLegendKey val="0"/>
          <c:showVal val="1"/>
          <c:showCatName val="0"/>
          <c:showSerName val="0"/>
          <c:showPercent val="0"/>
          <c:showBubbleSize val="0"/>
        </c:dLbls>
        <c:gapWidth val="78"/>
        <c:overlap val="100"/>
        <c:axId val="467374424"/>
        <c:axId val="467377376"/>
      </c:barChart>
      <c:catAx>
        <c:axId val="467374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all" spc="120" normalizeH="0" baseline="0">
                <a:solidFill>
                  <a:sysClr val="windowText" lastClr="000000"/>
                </a:solidFill>
                <a:latin typeface="+mn-lt"/>
                <a:ea typeface="+mn-ea"/>
                <a:cs typeface="+mn-cs"/>
              </a:defRPr>
            </a:pPr>
            <a:endParaRPr lang="fr-FR"/>
          </a:p>
        </c:txPr>
        <c:crossAx val="467377376"/>
        <c:crosses val="autoZero"/>
        <c:auto val="1"/>
        <c:lblAlgn val="ctr"/>
        <c:lblOffset val="100"/>
        <c:noMultiLvlLbl val="0"/>
      </c:catAx>
      <c:valAx>
        <c:axId val="467377376"/>
        <c:scaling>
          <c:orientation val="minMax"/>
        </c:scaling>
        <c:delete val="1"/>
        <c:axPos val="l"/>
        <c:numFmt formatCode="_-* #,##0\ _€_-;\-* #,##0\ _€_-;_-* &quot;-&quot;??\ _€_-;_-@_-" sourceLinked="1"/>
        <c:majorTickMark val="none"/>
        <c:minorTickMark val="none"/>
        <c:tickLblPos val="nextTo"/>
        <c:crossAx val="467374424"/>
        <c:crosses val="autoZero"/>
        <c:crossBetween val="between"/>
      </c:valAx>
      <c:spPr>
        <a:noFill/>
        <a:ln>
          <a:noFill/>
        </a:ln>
        <a:effectLst/>
      </c:spPr>
    </c:plotArea>
    <c:legend>
      <c:legendPos val="b"/>
      <c:legendEntry>
        <c:idx val="3"/>
        <c:txPr>
          <a:bodyPr rot="0" spcFirstLastPara="1" vertOverflow="ellipsis" vert="horz" wrap="square" anchor="ctr" anchorCtr="1"/>
          <a:lstStyle/>
          <a:p>
            <a:pPr>
              <a:defRPr lang="en-US" sz="800" b="0" i="0" u="none" strike="noStrike" kern="1200" baseline="0">
                <a:solidFill>
                  <a:schemeClr val="tx1"/>
                </a:solidFill>
                <a:latin typeface="Arial" panose="020B0604020202020204" pitchFamily="34" charset="0"/>
                <a:ea typeface="+mn-ea"/>
                <a:cs typeface="Arial" panose="020B0604020202020204" pitchFamily="34" charset="0"/>
              </a:defRPr>
            </a:pPr>
            <a:endParaRPr lang="fr-FR"/>
          </a:p>
        </c:txPr>
      </c:legendEntry>
      <c:layout>
        <c:manualLayout>
          <c:xMode val="edge"/>
          <c:yMode val="edge"/>
          <c:x val="4.9853055948641242E-2"/>
          <c:y val="0"/>
          <c:w val="0.94385977332026716"/>
          <c:h val="0.12197560477133816"/>
        </c:manualLayout>
      </c:layout>
      <c:overlay val="0"/>
      <c:spPr>
        <a:noFill/>
        <a:ln>
          <a:noFill/>
        </a:ln>
        <a:effectLst/>
      </c:spPr>
      <c:txPr>
        <a:bodyPr rot="0" spcFirstLastPara="1" vertOverflow="ellipsis" vert="horz" wrap="square" anchor="ctr" anchorCtr="1"/>
        <a:lstStyle/>
        <a:p>
          <a:pPr>
            <a:defRPr lang="en-US" sz="800" b="0" i="0" u="none" strike="noStrike" kern="1200" baseline="0">
              <a:solidFill>
                <a:schemeClr val="tx1"/>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chart>
  <c:spPr>
    <a:noFill/>
    <a:ln w="9525" cap="flat" cmpd="sng" algn="ctr">
      <a:noFill/>
      <a:round/>
    </a:ln>
    <a:effectLst/>
  </c:spPr>
  <c:txPr>
    <a:bodyPr/>
    <a:lstStyle/>
    <a:p>
      <a:pPr>
        <a:defRPr/>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solidFill>
              <a:srgbClr val="00B050"/>
            </a:solidFill>
            <a:ln w="9525">
              <a:solidFill>
                <a:sysClr val="windowText" lastClr="000000"/>
              </a:solidFill>
            </a:ln>
          </c:spPr>
          <c:dPt>
            <c:idx val="0"/>
            <c:bubble3D val="0"/>
            <c:spPr>
              <a:solidFill>
                <a:srgbClr val="006047"/>
              </a:solidFill>
              <a:ln w="9525">
                <a:solidFill>
                  <a:sysClr val="windowText" lastClr="000000"/>
                </a:solidFill>
              </a:ln>
              <a:effectLst/>
            </c:spPr>
            <c:extLst>
              <c:ext xmlns:c16="http://schemas.microsoft.com/office/drawing/2014/chart" uri="{C3380CC4-5D6E-409C-BE32-E72D297353CC}">
                <c16:uniqueId val="{00000001-02D2-4FFD-B0A0-335DF8D686B1}"/>
              </c:ext>
            </c:extLst>
          </c:dPt>
          <c:dPt>
            <c:idx val="1"/>
            <c:bubble3D val="0"/>
            <c:spPr>
              <a:solidFill>
                <a:srgbClr val="009B5F"/>
              </a:solidFill>
              <a:ln w="9525">
                <a:solidFill>
                  <a:sysClr val="windowText" lastClr="000000"/>
                </a:solidFill>
              </a:ln>
              <a:effectLst/>
            </c:spPr>
            <c:extLst>
              <c:ext xmlns:c16="http://schemas.microsoft.com/office/drawing/2014/chart" uri="{C3380CC4-5D6E-409C-BE32-E72D297353CC}">
                <c16:uniqueId val="{00000003-02D2-4FFD-B0A0-335DF8D686B1}"/>
              </c:ext>
            </c:extLst>
          </c:dPt>
          <c:dPt>
            <c:idx val="2"/>
            <c:bubble3D val="0"/>
            <c:spPr>
              <a:solidFill>
                <a:srgbClr val="73B62B"/>
              </a:solidFill>
              <a:ln w="9525">
                <a:solidFill>
                  <a:sysClr val="windowText" lastClr="000000"/>
                </a:solidFill>
              </a:ln>
              <a:effectLst/>
            </c:spPr>
            <c:extLst>
              <c:ext xmlns:c16="http://schemas.microsoft.com/office/drawing/2014/chart" uri="{C3380CC4-5D6E-409C-BE32-E72D297353CC}">
                <c16:uniqueId val="{00000005-02D2-4FFD-B0A0-335DF8D686B1}"/>
              </c:ext>
            </c:extLst>
          </c:dPt>
          <c:dPt>
            <c:idx val="3"/>
            <c:bubble3D val="0"/>
            <c:spPr>
              <a:solidFill>
                <a:srgbClr val="92D050"/>
              </a:solidFill>
              <a:ln w="9525">
                <a:solidFill>
                  <a:sysClr val="windowText" lastClr="000000"/>
                </a:solidFill>
              </a:ln>
              <a:effectLst/>
            </c:spPr>
            <c:extLst>
              <c:ext xmlns:c16="http://schemas.microsoft.com/office/drawing/2014/chart" uri="{C3380CC4-5D6E-409C-BE32-E72D297353CC}">
                <c16:uniqueId val="{00000007-02D2-4FFD-B0A0-335DF8D686B1}"/>
              </c:ext>
            </c:extLst>
          </c:dPt>
          <c:dLbls>
            <c:dLbl>
              <c:idx val="0"/>
              <c:layout>
                <c:manualLayout>
                  <c:x val="-5.1906267906641603E-3"/>
                  <c:y val="-5.357140346297175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2D2-4FFD-B0A0-335DF8D686B1}"/>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rial" panose="020B0604020202020204" pitchFamily="34" charset="0"/>
                    <a:ea typeface="+mn-ea"/>
                    <a:cs typeface="Arial" panose="020B0604020202020204" pitchFamily="34" charset="0"/>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CACF Key Figures'!$B$64:$B$67</c:f>
              <c:strCache>
                <c:ptCount val="4"/>
                <c:pt idx="0">
                  <c:v>CAsa Group</c:v>
                </c:pt>
                <c:pt idx="1">
                  <c:v>ABS/Repo/TLTRO</c:v>
                </c:pt>
                <c:pt idx="2">
                  <c:v>Banking Lines/MTN/NEU-CP</c:v>
                </c:pt>
                <c:pt idx="3">
                  <c:v>Deposits</c:v>
                </c:pt>
              </c:strCache>
            </c:strRef>
          </c:cat>
          <c:val>
            <c:numRef>
              <c:f>'CACF Key Figures'!$C$64:$C$67</c:f>
              <c:numCache>
                <c:formatCode>0%</c:formatCode>
                <c:ptCount val="4"/>
                <c:pt idx="0">
                  <c:v>0.21</c:v>
                </c:pt>
                <c:pt idx="1">
                  <c:v>0.22</c:v>
                </c:pt>
                <c:pt idx="2">
                  <c:v>0.34</c:v>
                </c:pt>
                <c:pt idx="3">
                  <c:v>0.23</c:v>
                </c:pt>
              </c:numCache>
            </c:numRef>
          </c:val>
          <c:extLst>
            <c:ext xmlns:c16="http://schemas.microsoft.com/office/drawing/2014/chart" uri="{C3380CC4-5D6E-409C-BE32-E72D297353CC}">
              <c16:uniqueId val="{00000008-02D2-4FFD-B0A0-335DF8D686B1}"/>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layout>
        <c:manualLayout>
          <c:xMode val="edge"/>
          <c:yMode val="edge"/>
          <c:x val="0.18355371975672832"/>
          <c:y val="0.76608274202367133"/>
          <c:w val="0.46017274337812386"/>
          <c:h val="0.19820294422434181"/>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chart>
  <c:spPr>
    <a:noFill/>
    <a:ln w="19050" cap="flat" cmpd="sng" algn="ctr">
      <a:noFill/>
      <a:round/>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690752362361093E-2"/>
          <c:y val="0.18521057204369021"/>
          <c:w val="0.93115682487007623"/>
          <c:h val="0.67920148960180049"/>
        </c:manualLayout>
      </c:layout>
      <c:barChart>
        <c:barDir val="col"/>
        <c:grouping val="stacked"/>
        <c:varyColors val="0"/>
        <c:ser>
          <c:idx val="5"/>
          <c:order val="0"/>
          <c:tx>
            <c:strRef>
              <c:f>'CACF France Overview'!$B$15</c:f>
              <c:strCache>
                <c:ptCount val="1"/>
                <c:pt idx="0">
                  <c:v>Banking Partnerships </c:v>
                </c:pt>
              </c:strCache>
            </c:strRef>
          </c:tx>
          <c:spPr>
            <a:solidFill>
              <a:srgbClr val="00805F"/>
            </a:solidFill>
            <a:ln>
              <a:noFill/>
            </a:ln>
            <a:effectLst/>
          </c:spPr>
          <c:invertIfNegative val="0"/>
          <c:dLbls>
            <c:dLbl>
              <c:idx val="0"/>
              <c:layout>
                <c:manualLayout>
                  <c:x val="-3.2479348121581199E-3"/>
                  <c:y val="-9.103972753216651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C5C-4F95-87B3-8B375A320649}"/>
                </c:ext>
              </c:extLst>
            </c:dLbl>
            <c:dLbl>
              <c:idx val="2"/>
              <c:layout>
                <c:manualLayout>
                  <c:x val="-3.2479348121581199E-3"/>
                  <c:y val="-9.93172137064020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0B5-4B7E-B5EB-8099CA4105C8}"/>
                </c:ext>
              </c:extLst>
            </c:dLbl>
            <c:dLbl>
              <c:idx val="3"/>
              <c:layout>
                <c:manualLayout>
                  <c:x val="-3.247934812158119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C5C-4F95-87B3-8B375A32064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bg1"/>
                    </a:solidFill>
                    <a:latin typeface="Arial" panose="020B0604020202020204" pitchFamily="34" charset="0"/>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13:$L$13</c:f>
              <c:numCache>
                <c:formatCode>General</c:formatCode>
                <c:ptCount val="5"/>
                <c:pt idx="0">
                  <c:v>2019</c:v>
                </c:pt>
                <c:pt idx="1">
                  <c:v>2020</c:v>
                </c:pt>
                <c:pt idx="2">
                  <c:v>2021</c:v>
                </c:pt>
                <c:pt idx="3">
                  <c:v>2022</c:v>
                </c:pt>
                <c:pt idx="4">
                  <c:v>2023</c:v>
                </c:pt>
              </c:numCache>
            </c:numRef>
          </c:cat>
          <c:val>
            <c:numRef>
              <c:f>'CACF France Overview'!$H$15:$L$15</c:f>
              <c:numCache>
                <c:formatCode>_-* #,##0\ _€_-;\-* #,##0\ _€_-;_-* "-"??\ _€_-;_-@_-</c:formatCode>
                <c:ptCount val="5"/>
                <c:pt idx="0">
                  <c:v>19841.860618346083</c:v>
                </c:pt>
                <c:pt idx="1">
                  <c:v>20020.759719913072</c:v>
                </c:pt>
                <c:pt idx="2">
                  <c:v>20938.432649250288</c:v>
                </c:pt>
                <c:pt idx="3">
                  <c:v>21638.372340933562</c:v>
                </c:pt>
                <c:pt idx="4">
                  <c:v>22485.203962829535</c:v>
                </c:pt>
              </c:numCache>
            </c:numRef>
          </c:val>
          <c:extLst>
            <c:ext xmlns:c16="http://schemas.microsoft.com/office/drawing/2014/chart" uri="{C3380CC4-5D6E-409C-BE32-E72D297353CC}">
              <c16:uniqueId val="{00000000-5912-4847-90F9-1344A59A7D35}"/>
            </c:ext>
          </c:extLst>
        </c:ser>
        <c:ser>
          <c:idx val="4"/>
          <c:order val="1"/>
          <c:tx>
            <c:strRef>
              <c:f>'CACF France Overview'!$B$16</c:f>
              <c:strCache>
                <c:ptCount val="1"/>
                <c:pt idx="0">
                  <c:v>Credit Brokers</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bg1"/>
                    </a:solidFill>
                    <a:latin typeface="Arial" panose="020B0604020202020204" pitchFamily="34" charset="0"/>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13:$L$13</c:f>
              <c:numCache>
                <c:formatCode>General</c:formatCode>
                <c:ptCount val="5"/>
                <c:pt idx="0">
                  <c:v>2019</c:v>
                </c:pt>
                <c:pt idx="1">
                  <c:v>2020</c:v>
                </c:pt>
                <c:pt idx="2">
                  <c:v>2021</c:v>
                </c:pt>
                <c:pt idx="3">
                  <c:v>2022</c:v>
                </c:pt>
                <c:pt idx="4">
                  <c:v>2023</c:v>
                </c:pt>
              </c:numCache>
            </c:numRef>
          </c:cat>
          <c:val>
            <c:numRef>
              <c:f>'CACF France Overview'!$H$16:$L$16</c:f>
              <c:numCache>
                <c:formatCode>_-* #,##0\ _€_-;\-* #,##0\ _€_-;_-* "-"??\ _€_-;_-@_-</c:formatCode>
                <c:ptCount val="5"/>
                <c:pt idx="0">
                  <c:v>4099.6575384502758</c:v>
                </c:pt>
                <c:pt idx="1">
                  <c:v>3683.9905734946092</c:v>
                </c:pt>
                <c:pt idx="2">
                  <c:v>3457.1137223433602</c:v>
                </c:pt>
                <c:pt idx="3">
                  <c:v>3539.1736744662999</c:v>
                </c:pt>
                <c:pt idx="4">
                  <c:v>3213.497660884454</c:v>
                </c:pt>
              </c:numCache>
            </c:numRef>
          </c:val>
          <c:extLst>
            <c:ext xmlns:c16="http://schemas.microsoft.com/office/drawing/2014/chart" uri="{C3380CC4-5D6E-409C-BE32-E72D297353CC}">
              <c16:uniqueId val="{00000001-5912-4847-90F9-1344A59A7D35}"/>
            </c:ext>
          </c:extLst>
        </c:ser>
        <c:ser>
          <c:idx val="3"/>
          <c:order val="2"/>
          <c:tx>
            <c:strRef>
              <c:f>'CACF France Overview'!$B$17</c:f>
              <c:strCache>
                <c:ptCount val="1"/>
                <c:pt idx="0">
                  <c:v>Direct to Consumers</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13:$L$13</c:f>
              <c:numCache>
                <c:formatCode>General</c:formatCode>
                <c:ptCount val="5"/>
                <c:pt idx="0">
                  <c:v>2019</c:v>
                </c:pt>
                <c:pt idx="1">
                  <c:v>2020</c:v>
                </c:pt>
                <c:pt idx="2">
                  <c:v>2021</c:v>
                </c:pt>
                <c:pt idx="3">
                  <c:v>2022</c:v>
                </c:pt>
                <c:pt idx="4">
                  <c:v>2023</c:v>
                </c:pt>
              </c:numCache>
            </c:numRef>
          </c:cat>
          <c:val>
            <c:numRef>
              <c:f>'CACF France Overview'!$H$17:$L$17</c:f>
              <c:numCache>
                <c:formatCode>_-* #,##0\ _€_-;\-* #,##0\ _€_-;_-* "-"??\ _€_-;_-@_-</c:formatCode>
                <c:ptCount val="5"/>
                <c:pt idx="0">
                  <c:v>3248.890438529827</c:v>
                </c:pt>
                <c:pt idx="1">
                  <c:v>3398.4242038272482</c:v>
                </c:pt>
                <c:pt idx="2">
                  <c:v>3628.4036534253478</c:v>
                </c:pt>
                <c:pt idx="3">
                  <c:v>3980.9718887505528</c:v>
                </c:pt>
                <c:pt idx="4">
                  <c:v>4531.8008974578634</c:v>
                </c:pt>
              </c:numCache>
            </c:numRef>
          </c:val>
          <c:extLst>
            <c:ext xmlns:c16="http://schemas.microsoft.com/office/drawing/2014/chart" uri="{C3380CC4-5D6E-409C-BE32-E72D297353CC}">
              <c16:uniqueId val="{00000002-5912-4847-90F9-1344A59A7D35}"/>
            </c:ext>
          </c:extLst>
        </c:ser>
        <c:ser>
          <c:idx val="2"/>
          <c:order val="3"/>
          <c:tx>
            <c:strRef>
              <c:f>'CACF France Overview'!$B$18</c:f>
              <c:strCache>
                <c:ptCount val="1"/>
                <c:pt idx="0">
                  <c:v>Non-Banking Partnership</c:v>
                </c:pt>
              </c:strCache>
            </c:strRef>
          </c:tx>
          <c:spPr>
            <a:solidFill>
              <a:srgbClr val="92D050">
                <a:alpha val="69804"/>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13:$L$13</c:f>
              <c:numCache>
                <c:formatCode>General</c:formatCode>
                <c:ptCount val="5"/>
                <c:pt idx="0">
                  <c:v>2019</c:v>
                </c:pt>
                <c:pt idx="1">
                  <c:v>2020</c:v>
                </c:pt>
                <c:pt idx="2">
                  <c:v>2021</c:v>
                </c:pt>
                <c:pt idx="3">
                  <c:v>2022</c:v>
                </c:pt>
                <c:pt idx="4">
                  <c:v>2023</c:v>
                </c:pt>
              </c:numCache>
            </c:numRef>
          </c:cat>
          <c:val>
            <c:numRef>
              <c:f>'CACF France Overview'!$H$18:$L$18</c:f>
              <c:numCache>
                <c:formatCode>_-* #,##0\ _€_-;\-* #,##0\ _€_-;_-* "-"??\ _€_-;_-@_-</c:formatCode>
                <c:ptCount val="5"/>
                <c:pt idx="0">
                  <c:v>2186.027417344716</c:v>
                </c:pt>
                <c:pt idx="1">
                  <c:v>2392.3243326920237</c:v>
                </c:pt>
                <c:pt idx="2">
                  <c:v>2521.6440968654974</c:v>
                </c:pt>
                <c:pt idx="3">
                  <c:v>2641.1927678741372</c:v>
                </c:pt>
                <c:pt idx="4">
                  <c:v>2647.2100232914454</c:v>
                </c:pt>
              </c:numCache>
            </c:numRef>
          </c:val>
          <c:extLst>
            <c:ext xmlns:c16="http://schemas.microsoft.com/office/drawing/2014/chart" uri="{C3380CC4-5D6E-409C-BE32-E72D297353CC}">
              <c16:uniqueId val="{00000004-5912-4847-90F9-1344A59A7D35}"/>
            </c:ext>
          </c:extLst>
        </c:ser>
        <c:ser>
          <c:idx val="1"/>
          <c:order val="4"/>
          <c:tx>
            <c:strRef>
              <c:f>'CACF France Overview'!$B$19</c:f>
              <c:strCache>
                <c:ptCount val="1"/>
                <c:pt idx="0">
                  <c:v>Point of Sale – Auto</c:v>
                </c:pt>
              </c:strCache>
            </c:strRef>
          </c:tx>
          <c:spPr>
            <a:solidFill>
              <a:srgbClr val="DAF694"/>
            </a:solidFill>
            <a:ln>
              <a:noFill/>
            </a:ln>
            <a:effectLst/>
          </c:spPr>
          <c:invertIfNegative val="0"/>
          <c:dLbls>
            <c:dLbl>
              <c:idx val="6"/>
              <c:layout>
                <c:manualLayout>
                  <c:x val="-8.019246190858059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912-4847-90F9-1344A59A7D35}"/>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13:$L$13</c:f>
              <c:numCache>
                <c:formatCode>General</c:formatCode>
                <c:ptCount val="5"/>
                <c:pt idx="0">
                  <c:v>2019</c:v>
                </c:pt>
                <c:pt idx="1">
                  <c:v>2020</c:v>
                </c:pt>
                <c:pt idx="2">
                  <c:v>2021</c:v>
                </c:pt>
                <c:pt idx="3">
                  <c:v>2022</c:v>
                </c:pt>
                <c:pt idx="4">
                  <c:v>2023</c:v>
                </c:pt>
              </c:numCache>
            </c:numRef>
          </c:cat>
          <c:val>
            <c:numRef>
              <c:f>'CACF France Overview'!$H$19:$L$19</c:f>
              <c:numCache>
                <c:formatCode>_-* #,##0\ _€_-;\-* #,##0\ _€_-;_-* "-"??\ _€_-;_-@_-</c:formatCode>
                <c:ptCount val="5"/>
                <c:pt idx="0">
                  <c:v>2016.492848898291</c:v>
                </c:pt>
                <c:pt idx="1">
                  <c:v>1786.931914018649</c:v>
                </c:pt>
                <c:pt idx="2">
                  <c:v>1639.6035659704066</c:v>
                </c:pt>
                <c:pt idx="3">
                  <c:v>1641.9987180602036</c:v>
                </c:pt>
                <c:pt idx="4">
                  <c:v>1651.5078260422647</c:v>
                </c:pt>
              </c:numCache>
            </c:numRef>
          </c:val>
          <c:extLst>
            <c:ext xmlns:c16="http://schemas.microsoft.com/office/drawing/2014/chart" uri="{C3380CC4-5D6E-409C-BE32-E72D297353CC}">
              <c16:uniqueId val="{0000000B-5912-4847-90F9-1344A59A7D35}"/>
            </c:ext>
          </c:extLst>
        </c:ser>
        <c:ser>
          <c:idx val="0"/>
          <c:order val="5"/>
          <c:tx>
            <c:strRef>
              <c:f>'CACF France Overview'!$B$20</c:f>
              <c:strCache>
                <c:ptCount val="1"/>
                <c:pt idx="0">
                  <c:v>Point of Sale – Home Equipment </c:v>
                </c:pt>
              </c:strCache>
            </c:strRef>
          </c:tx>
          <c:spPr>
            <a:solidFill>
              <a:srgbClr val="ECFA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13:$L$13</c:f>
              <c:numCache>
                <c:formatCode>General</c:formatCode>
                <c:ptCount val="5"/>
                <c:pt idx="0">
                  <c:v>2019</c:v>
                </c:pt>
                <c:pt idx="1">
                  <c:v>2020</c:v>
                </c:pt>
                <c:pt idx="2">
                  <c:v>2021</c:v>
                </c:pt>
                <c:pt idx="3">
                  <c:v>2022</c:v>
                </c:pt>
                <c:pt idx="4">
                  <c:v>2023</c:v>
                </c:pt>
              </c:numCache>
            </c:numRef>
          </c:cat>
          <c:val>
            <c:numRef>
              <c:f>'CACF France Overview'!$H$20:$L$20</c:f>
              <c:numCache>
                <c:formatCode>_-* #,##0\ _€_-;\-* #,##0\ _€_-;_-* "-"??\ _€_-;_-@_-</c:formatCode>
                <c:ptCount val="5"/>
                <c:pt idx="0">
                  <c:v>1219.3381298803783</c:v>
                </c:pt>
                <c:pt idx="1">
                  <c:v>1292.9487815928601</c:v>
                </c:pt>
                <c:pt idx="2">
                  <c:v>1301.2502016354524</c:v>
                </c:pt>
                <c:pt idx="3">
                  <c:v>1484.9672204967221</c:v>
                </c:pt>
                <c:pt idx="4">
                  <c:v>1654.3629575203493</c:v>
                </c:pt>
              </c:numCache>
            </c:numRef>
          </c:val>
          <c:extLst>
            <c:ext xmlns:c16="http://schemas.microsoft.com/office/drawing/2014/chart" uri="{C3380CC4-5D6E-409C-BE32-E72D297353CC}">
              <c16:uniqueId val="{0000000C-5912-4847-90F9-1344A59A7D35}"/>
            </c:ext>
          </c:extLst>
        </c:ser>
        <c:dLbls>
          <c:showLegendKey val="0"/>
          <c:showVal val="0"/>
          <c:showCatName val="0"/>
          <c:showSerName val="0"/>
          <c:showPercent val="0"/>
          <c:showBubbleSize val="0"/>
        </c:dLbls>
        <c:gapWidth val="87"/>
        <c:overlap val="100"/>
        <c:axId val="348176200"/>
        <c:axId val="348181120"/>
      </c:barChart>
      <c:catAx>
        <c:axId val="348176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348181120"/>
        <c:crosses val="autoZero"/>
        <c:auto val="1"/>
        <c:lblAlgn val="ctr"/>
        <c:lblOffset val="100"/>
        <c:noMultiLvlLbl val="0"/>
      </c:catAx>
      <c:valAx>
        <c:axId val="348181120"/>
        <c:scaling>
          <c:orientation val="minMax"/>
        </c:scaling>
        <c:delete val="1"/>
        <c:axPos val="l"/>
        <c:majorGridlines>
          <c:spPr>
            <a:ln w="9525" cap="flat" cmpd="sng" algn="ctr">
              <a:noFill/>
              <a:round/>
            </a:ln>
            <a:effectLst/>
          </c:spPr>
        </c:majorGridlines>
        <c:numFmt formatCode="_-* #,##0\ _€_-;\-* #,##0\ _€_-;_-* &quot;-&quot;??\ _€_-;_-@_-" sourceLinked="1"/>
        <c:majorTickMark val="none"/>
        <c:minorTickMark val="none"/>
        <c:tickLblPos val="nextTo"/>
        <c:crossAx val="348176200"/>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8402512704595057E-2"/>
          <c:y val="1.3213229947090241E-2"/>
          <c:w val="0.93456479146581073"/>
          <c:h val="0.80771607604071183"/>
        </c:manualLayout>
      </c:layout>
      <c:barChart>
        <c:barDir val="col"/>
        <c:grouping val="stacked"/>
        <c:varyColors val="0"/>
        <c:ser>
          <c:idx val="5"/>
          <c:order val="0"/>
          <c:spPr>
            <a:solidFill>
              <a:srgbClr val="00805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2:$L$2</c:f>
              <c:numCache>
                <c:formatCode>General</c:formatCode>
                <c:ptCount val="5"/>
                <c:pt idx="0">
                  <c:v>2019</c:v>
                </c:pt>
                <c:pt idx="1">
                  <c:v>2020</c:v>
                </c:pt>
                <c:pt idx="2">
                  <c:v>2021</c:v>
                </c:pt>
                <c:pt idx="3">
                  <c:v>2022</c:v>
                </c:pt>
                <c:pt idx="4">
                  <c:v>2023</c:v>
                </c:pt>
              </c:numCache>
            </c:numRef>
          </c:cat>
          <c:val>
            <c:numRef>
              <c:f>'CACF France Overview'!$H$3:$L$3</c:f>
              <c:numCache>
                <c:formatCode>General</c:formatCode>
                <c:ptCount val="5"/>
              </c:numCache>
            </c:numRef>
          </c:val>
          <c:extLst>
            <c:ext xmlns:c16="http://schemas.microsoft.com/office/drawing/2014/chart" uri="{C3380CC4-5D6E-409C-BE32-E72D297353CC}">
              <c16:uniqueId val="{00000000-03F5-4C67-AEC3-BAB9FE52E3BD}"/>
            </c:ext>
          </c:extLst>
        </c:ser>
        <c:ser>
          <c:idx val="4"/>
          <c:order val="1"/>
          <c:spPr>
            <a:solidFill>
              <a:srgbClr val="00805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2:$L$2</c:f>
              <c:numCache>
                <c:formatCode>General</c:formatCode>
                <c:ptCount val="5"/>
                <c:pt idx="0">
                  <c:v>2019</c:v>
                </c:pt>
                <c:pt idx="1">
                  <c:v>2020</c:v>
                </c:pt>
                <c:pt idx="2">
                  <c:v>2021</c:v>
                </c:pt>
                <c:pt idx="3">
                  <c:v>2022</c:v>
                </c:pt>
                <c:pt idx="4">
                  <c:v>2023</c:v>
                </c:pt>
              </c:numCache>
            </c:numRef>
          </c:cat>
          <c:val>
            <c:numRef>
              <c:f>'CACF France Overview'!$H$4:$L$4</c:f>
              <c:numCache>
                <c:formatCode>_-* #,##0\ _€_-;\-* #,##0\ _€_-;_-* "-"??\ _€_-;_-@_-</c:formatCode>
                <c:ptCount val="5"/>
                <c:pt idx="0">
                  <c:v>10022.574606350001</c:v>
                </c:pt>
                <c:pt idx="1">
                  <c:v>8675.3657242299996</c:v>
                </c:pt>
                <c:pt idx="2">
                  <c:v>9696.7387137200021</c:v>
                </c:pt>
                <c:pt idx="3">
                  <c:v>9296.6862311999994</c:v>
                </c:pt>
                <c:pt idx="4">
                  <c:v>8901.3717426899984</c:v>
                </c:pt>
              </c:numCache>
            </c:numRef>
          </c:val>
          <c:extLst>
            <c:ext xmlns:c16="http://schemas.microsoft.com/office/drawing/2014/chart" uri="{C3380CC4-5D6E-409C-BE32-E72D297353CC}">
              <c16:uniqueId val="{00000001-03F5-4C67-AEC3-BAB9FE52E3BD}"/>
            </c:ext>
          </c:extLst>
        </c:ser>
        <c:ser>
          <c:idx val="3"/>
          <c:order val="2"/>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2:$L$2</c:f>
              <c:numCache>
                <c:formatCode>General</c:formatCode>
                <c:ptCount val="5"/>
                <c:pt idx="0">
                  <c:v>2019</c:v>
                </c:pt>
                <c:pt idx="1">
                  <c:v>2020</c:v>
                </c:pt>
                <c:pt idx="2">
                  <c:v>2021</c:v>
                </c:pt>
                <c:pt idx="3">
                  <c:v>2022</c:v>
                </c:pt>
                <c:pt idx="4">
                  <c:v>2023</c:v>
                </c:pt>
              </c:numCache>
            </c:numRef>
          </c:cat>
          <c:val>
            <c:numRef>
              <c:f>'CACF France Overview'!$H$5:$L$5</c:f>
              <c:numCache>
                <c:formatCode>_-* #,##0\ _€_-;\-* #,##0\ _€_-;_-* "-"??\ _€_-;_-@_-</c:formatCode>
                <c:ptCount val="5"/>
                <c:pt idx="0">
                  <c:v>535.28767281</c:v>
                </c:pt>
                <c:pt idx="1">
                  <c:v>610.90160902000002</c:v>
                </c:pt>
                <c:pt idx="2">
                  <c:v>620.52957158000004</c:v>
                </c:pt>
                <c:pt idx="3">
                  <c:v>624.39762821000011</c:v>
                </c:pt>
                <c:pt idx="4">
                  <c:v>429.84540744999987</c:v>
                </c:pt>
              </c:numCache>
            </c:numRef>
          </c:val>
          <c:extLst>
            <c:ext xmlns:c16="http://schemas.microsoft.com/office/drawing/2014/chart" uri="{C3380CC4-5D6E-409C-BE32-E72D297353CC}">
              <c16:uniqueId val="{00000003-03F5-4C67-AEC3-BAB9FE52E3BD}"/>
            </c:ext>
          </c:extLst>
        </c:ser>
        <c:ser>
          <c:idx val="2"/>
          <c:order val="3"/>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2:$L$2</c:f>
              <c:numCache>
                <c:formatCode>General</c:formatCode>
                <c:ptCount val="5"/>
                <c:pt idx="0">
                  <c:v>2019</c:v>
                </c:pt>
                <c:pt idx="1">
                  <c:v>2020</c:v>
                </c:pt>
                <c:pt idx="2">
                  <c:v>2021</c:v>
                </c:pt>
                <c:pt idx="3">
                  <c:v>2022</c:v>
                </c:pt>
                <c:pt idx="4">
                  <c:v>2023</c:v>
                </c:pt>
              </c:numCache>
            </c:numRef>
          </c:cat>
          <c:val>
            <c:numRef>
              <c:f>'CACF France Overview'!$H$6:$L$6</c:f>
              <c:numCache>
                <c:formatCode>_-* #,##0\ _€_-;\-* #,##0\ _€_-;_-* "-"??\ _€_-;_-@_-</c:formatCode>
                <c:ptCount val="5"/>
                <c:pt idx="0">
                  <c:v>2104.4071101199997</c:v>
                </c:pt>
                <c:pt idx="1">
                  <c:v>1403.0998986299996</c:v>
                </c:pt>
                <c:pt idx="2">
                  <c:v>1546.3540004900001</c:v>
                </c:pt>
                <c:pt idx="3">
                  <c:v>1737.5990997929202</c:v>
                </c:pt>
                <c:pt idx="4">
                  <c:v>1114.0942033399999</c:v>
                </c:pt>
              </c:numCache>
            </c:numRef>
          </c:val>
          <c:extLst>
            <c:ext xmlns:c16="http://schemas.microsoft.com/office/drawing/2014/chart" uri="{C3380CC4-5D6E-409C-BE32-E72D297353CC}">
              <c16:uniqueId val="{00000004-03F5-4C67-AEC3-BAB9FE52E3BD}"/>
            </c:ext>
          </c:extLst>
        </c:ser>
        <c:ser>
          <c:idx val="1"/>
          <c:order val="4"/>
          <c:spPr>
            <a:solidFill>
              <a:srgbClr val="B3DE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2:$L$2</c:f>
              <c:numCache>
                <c:formatCode>General</c:formatCode>
                <c:ptCount val="5"/>
                <c:pt idx="0">
                  <c:v>2019</c:v>
                </c:pt>
                <c:pt idx="1">
                  <c:v>2020</c:v>
                </c:pt>
                <c:pt idx="2">
                  <c:v>2021</c:v>
                </c:pt>
                <c:pt idx="3">
                  <c:v>2022</c:v>
                </c:pt>
                <c:pt idx="4">
                  <c:v>2023</c:v>
                </c:pt>
              </c:numCache>
            </c:numRef>
          </c:cat>
          <c:val>
            <c:numRef>
              <c:f>'CACF France Overview'!$H$7:$L$7</c:f>
              <c:numCache>
                <c:formatCode>_-* #,##0\ _€_-;\-* #,##0\ _€_-;_-* "-"??\ _€_-;_-@_-</c:formatCode>
                <c:ptCount val="5"/>
                <c:pt idx="0">
                  <c:v>1296.2271079452</c:v>
                </c:pt>
                <c:pt idx="1">
                  <c:v>1307.7472567899999</c:v>
                </c:pt>
                <c:pt idx="2">
                  <c:v>1317.4017338200001</c:v>
                </c:pt>
                <c:pt idx="3">
                  <c:v>1434.1636178270899</c:v>
                </c:pt>
                <c:pt idx="4">
                  <c:v>1389.4537057200005</c:v>
                </c:pt>
              </c:numCache>
            </c:numRef>
          </c:val>
          <c:extLst>
            <c:ext xmlns:c16="http://schemas.microsoft.com/office/drawing/2014/chart" uri="{C3380CC4-5D6E-409C-BE32-E72D297353CC}">
              <c16:uniqueId val="{00000005-03F5-4C67-AEC3-BAB9FE52E3BD}"/>
            </c:ext>
          </c:extLst>
        </c:ser>
        <c:ser>
          <c:idx val="0"/>
          <c:order val="5"/>
          <c:spPr>
            <a:solidFill>
              <a:srgbClr val="ECFA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2:$L$2</c:f>
              <c:numCache>
                <c:formatCode>General</c:formatCode>
                <c:ptCount val="5"/>
                <c:pt idx="0">
                  <c:v>2019</c:v>
                </c:pt>
                <c:pt idx="1">
                  <c:v>2020</c:v>
                </c:pt>
                <c:pt idx="2">
                  <c:v>2021</c:v>
                </c:pt>
                <c:pt idx="3">
                  <c:v>2022</c:v>
                </c:pt>
                <c:pt idx="4">
                  <c:v>2023</c:v>
                </c:pt>
              </c:numCache>
            </c:numRef>
          </c:cat>
          <c:val>
            <c:numRef>
              <c:f>'CACF France Overview'!$H$8:$L$8</c:f>
              <c:numCache>
                <c:formatCode>_-* #,##0\ _€_-;\-* #,##0\ _€_-;_-* "-"??\ _€_-;_-@_-</c:formatCode>
                <c:ptCount val="5"/>
                <c:pt idx="0">
                  <c:v>1126.9948235899999</c:v>
                </c:pt>
                <c:pt idx="1">
                  <c:v>1209.7737068599999</c:v>
                </c:pt>
                <c:pt idx="2">
                  <c:v>1421.7159710600001</c:v>
                </c:pt>
                <c:pt idx="3">
                  <c:v>1463.2514666600002</c:v>
                </c:pt>
                <c:pt idx="4">
                  <c:v>1772.79486167</c:v>
                </c:pt>
              </c:numCache>
            </c:numRef>
          </c:val>
          <c:extLst>
            <c:ext xmlns:c16="http://schemas.microsoft.com/office/drawing/2014/chart" uri="{C3380CC4-5D6E-409C-BE32-E72D297353CC}">
              <c16:uniqueId val="{00000007-03F5-4C67-AEC3-BAB9FE52E3BD}"/>
            </c:ext>
          </c:extLst>
        </c:ser>
        <c:ser>
          <c:idx val="6"/>
          <c:order val="6"/>
          <c:spPr>
            <a:solidFill>
              <a:srgbClr val="F7FDE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CF France Overview'!$H$2:$L$2</c:f>
              <c:numCache>
                <c:formatCode>General</c:formatCode>
                <c:ptCount val="5"/>
                <c:pt idx="0">
                  <c:v>2019</c:v>
                </c:pt>
                <c:pt idx="1">
                  <c:v>2020</c:v>
                </c:pt>
                <c:pt idx="2">
                  <c:v>2021</c:v>
                </c:pt>
                <c:pt idx="3">
                  <c:v>2022</c:v>
                </c:pt>
                <c:pt idx="4">
                  <c:v>2023</c:v>
                </c:pt>
              </c:numCache>
            </c:numRef>
          </c:cat>
          <c:val>
            <c:numRef>
              <c:f>'CACF France Overview'!$H$9:$L$9</c:f>
              <c:numCache>
                <c:formatCode>_-* #,##0\ _€_-;\-* #,##0\ _€_-;_-* "-"??\ _€_-;_-@_-</c:formatCode>
                <c:ptCount val="5"/>
                <c:pt idx="0">
                  <c:v>593.77969751000012</c:v>
                </c:pt>
                <c:pt idx="1">
                  <c:v>663.39679832000002</c:v>
                </c:pt>
                <c:pt idx="2">
                  <c:v>772.18790946000001</c:v>
                </c:pt>
                <c:pt idx="3">
                  <c:v>1113.8892615499999</c:v>
                </c:pt>
                <c:pt idx="4">
                  <c:v>1101.24352271</c:v>
                </c:pt>
              </c:numCache>
            </c:numRef>
          </c:val>
          <c:extLst>
            <c:ext xmlns:c16="http://schemas.microsoft.com/office/drawing/2014/chart" uri="{C3380CC4-5D6E-409C-BE32-E72D297353CC}">
              <c16:uniqueId val="{00000000-3DBA-467A-AADF-D7796FE2D046}"/>
            </c:ext>
          </c:extLst>
        </c:ser>
        <c:dLbls>
          <c:dLblPos val="ctr"/>
          <c:showLegendKey val="0"/>
          <c:showVal val="1"/>
          <c:showCatName val="0"/>
          <c:showSerName val="0"/>
          <c:showPercent val="0"/>
          <c:showBubbleSize val="0"/>
        </c:dLbls>
        <c:gapWidth val="125"/>
        <c:overlap val="100"/>
        <c:axId val="348176200"/>
        <c:axId val="348181120"/>
      </c:barChart>
      <c:catAx>
        <c:axId val="348176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348181120"/>
        <c:crosses val="autoZero"/>
        <c:auto val="1"/>
        <c:lblAlgn val="ctr"/>
        <c:lblOffset val="100"/>
        <c:noMultiLvlLbl val="0"/>
      </c:catAx>
      <c:valAx>
        <c:axId val="348181120"/>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348176200"/>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fr-F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156485288814562E-2"/>
          <c:y val="5.9694043457434558E-2"/>
          <c:w val="0.81175829947070222"/>
          <c:h val="0.73015343975708757"/>
        </c:manualLayout>
      </c:layout>
      <c:barChart>
        <c:barDir val="col"/>
        <c:grouping val="clustered"/>
        <c:varyColors val="0"/>
        <c:ser>
          <c:idx val="2"/>
          <c:order val="2"/>
          <c:tx>
            <c:strRef>
              <c:f>'Graph profitability'!$I$31</c:f>
              <c:strCache>
                <c:ptCount val="1"/>
                <c:pt idx="0">
                  <c:v>Net Group Profit (€m)</c:v>
                </c:pt>
              </c:strCache>
            </c:strRef>
          </c:tx>
          <c:spPr>
            <a:solidFill>
              <a:srgbClr val="92D050"/>
            </a:solidFill>
            <a:ln>
              <a:noFill/>
            </a:ln>
          </c:spPr>
          <c:invertIfNegative val="0"/>
          <c:dLbls>
            <c:numFmt formatCode="#,##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ACF SA profitability '!$M$9:$S$10</c:f>
              <c:strCache>
                <c:ptCount val="7"/>
                <c:pt idx="0">
                  <c:v>2014</c:v>
                </c:pt>
                <c:pt idx="1">
                  <c:v>2015</c:v>
                </c:pt>
                <c:pt idx="2">
                  <c:v>2016</c:v>
                </c:pt>
                <c:pt idx="3">
                  <c:v>2017</c:v>
                </c:pt>
                <c:pt idx="4">
                  <c:v>2018</c:v>
                </c:pt>
                <c:pt idx="5">
                  <c:v>2019</c:v>
                </c:pt>
                <c:pt idx="6">
                  <c:v>2020</c:v>
                </c:pt>
              </c:strCache>
            </c:strRef>
          </c:cat>
          <c:val>
            <c:numRef>
              <c:f>'Graph profitability'!$J$31:$S$31</c:f>
              <c:numCache>
                <c:formatCode>_-* #,##0.00\ _€_-;\-* #,##0.00\ _€_-;_-* "-"??\ _€_-;_-@_-</c:formatCode>
                <c:ptCount val="10"/>
                <c:pt idx="0">
                  <c:v>-40130.018177800026</c:v>
                </c:pt>
                <c:pt idx="1">
                  <c:v>12585.618843265847</c:v>
                </c:pt>
                <c:pt idx="2">
                  <c:v>64415.929314734392</c:v>
                </c:pt>
                <c:pt idx="3">
                  <c:v>129275.5858237521</c:v>
                </c:pt>
                <c:pt idx="4">
                  <c:v>138298.71272453794</c:v>
                </c:pt>
                <c:pt idx="5">
                  <c:v>133781.47557264636</c:v>
                </c:pt>
                <c:pt idx="6">
                  <c:v>78000</c:v>
                </c:pt>
                <c:pt idx="7">
                  <c:v>103000</c:v>
                </c:pt>
                <c:pt idx="8">
                  <c:v>75000</c:v>
                </c:pt>
                <c:pt idx="9">
                  <c:v>2000</c:v>
                </c:pt>
              </c:numCache>
            </c:numRef>
          </c:val>
          <c:extLst>
            <c:ext xmlns:c16="http://schemas.microsoft.com/office/drawing/2014/chart" uri="{C3380CC4-5D6E-409C-BE32-E72D297353CC}">
              <c16:uniqueId val="{00000000-F643-4A1F-ADF3-D6147B5B1A92}"/>
            </c:ext>
          </c:extLst>
        </c:ser>
        <c:dLbls>
          <c:showLegendKey val="0"/>
          <c:showVal val="0"/>
          <c:showCatName val="0"/>
          <c:showSerName val="0"/>
          <c:showPercent val="0"/>
          <c:showBubbleSize val="0"/>
        </c:dLbls>
        <c:gapWidth val="150"/>
        <c:axId val="107195776"/>
        <c:axId val="107193856"/>
      </c:barChart>
      <c:lineChart>
        <c:grouping val="standard"/>
        <c:varyColors val="0"/>
        <c:ser>
          <c:idx val="0"/>
          <c:order val="0"/>
          <c:tx>
            <c:strRef>
              <c:f>'Graph profitability'!$I$32</c:f>
              <c:strCache>
                <c:ptCount val="1"/>
                <c:pt idx="0">
                  <c:v>NBI / averaged outstanding</c:v>
                </c:pt>
              </c:strCache>
            </c:strRef>
          </c:tx>
          <c:spPr>
            <a:ln>
              <a:solidFill>
                <a:schemeClr val="accent6">
                  <a:lumMod val="50000"/>
                </a:schemeClr>
              </a:solidFill>
            </a:ln>
          </c:spPr>
          <c:marker>
            <c:symbol val="none"/>
          </c:marker>
          <c:dLbls>
            <c:dLbl>
              <c:idx val="2"/>
              <c:layout>
                <c:manualLayout>
                  <c:x val="-6.8792114885785641E-2"/>
                  <c:y val="4.98404555757414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643-4A1F-ADF3-D6147B5B1A92}"/>
                </c:ext>
              </c:extLst>
            </c:dLbl>
            <c:dLbl>
              <c:idx val="6"/>
              <c:layout>
                <c:manualLayout>
                  <c:x val="-6.1626149422260731E-2"/>
                  <c:y val="4.16344454997600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643-4A1F-ADF3-D6147B5B1A92}"/>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Graph profitability'!$J$30:$S$30</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Graph profitability'!$J$32:$S$32</c:f>
              <c:numCache>
                <c:formatCode>0.00%</c:formatCode>
                <c:ptCount val="10"/>
                <c:pt idx="0">
                  <c:v>6.5336681967172849E-2</c:v>
                </c:pt>
                <c:pt idx="1">
                  <c:v>6.8753427545376486E-2</c:v>
                </c:pt>
                <c:pt idx="2">
                  <c:v>7.2370035985907757E-2</c:v>
                </c:pt>
                <c:pt idx="3">
                  <c:v>7.7677371358473898E-2</c:v>
                </c:pt>
                <c:pt idx="4">
                  <c:v>7.9369425481993758E-2</c:v>
                </c:pt>
                <c:pt idx="5">
                  <c:v>7.4767237262868408E-2</c:v>
                </c:pt>
                <c:pt idx="6">
                  <c:v>7.1999999999999995E-2</c:v>
                </c:pt>
                <c:pt idx="7">
                  <c:v>7.3099999999999998E-2</c:v>
                </c:pt>
                <c:pt idx="8">
                  <c:v>6.6600000000000006E-2</c:v>
                </c:pt>
                <c:pt idx="9">
                  <c:v>5.6300000000000003E-2</c:v>
                </c:pt>
              </c:numCache>
            </c:numRef>
          </c:val>
          <c:smooth val="0"/>
          <c:extLst>
            <c:ext xmlns:c16="http://schemas.microsoft.com/office/drawing/2014/chart" uri="{C3380CC4-5D6E-409C-BE32-E72D297353CC}">
              <c16:uniqueId val="{00000003-F643-4A1F-ADF3-D6147B5B1A92}"/>
            </c:ext>
          </c:extLst>
        </c:ser>
        <c:ser>
          <c:idx val="1"/>
          <c:order val="1"/>
          <c:tx>
            <c:strRef>
              <c:f>'Graph profitability'!$I$33</c:f>
              <c:strCache>
                <c:ptCount val="1"/>
                <c:pt idx="0">
                  <c:v>CoR / averaged outstanding</c:v>
                </c:pt>
              </c:strCache>
            </c:strRef>
          </c:tx>
          <c:spPr>
            <a:ln>
              <a:solidFill>
                <a:schemeClr val="accent6">
                  <a:lumMod val="75000"/>
                </a:schemeClr>
              </a:solidFill>
            </a:ln>
          </c:spPr>
          <c:marker>
            <c:symbol val="none"/>
          </c:marker>
          <c:dLbls>
            <c:dLbl>
              <c:idx val="0"/>
              <c:layout>
                <c:manualLayout>
                  <c:x val="-5.7028687633741165E-2"/>
                  <c:y val="4.36298373747178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643-4A1F-ADF3-D6147B5B1A92}"/>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Graph profitability'!$J$30:$S$30</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Graph profitability'!$J$33:$S$33</c:f>
              <c:numCache>
                <c:formatCode>0.00%</c:formatCode>
                <c:ptCount val="10"/>
                <c:pt idx="0">
                  <c:v>-2.4431940071741733E-2</c:v>
                </c:pt>
                <c:pt idx="1">
                  <c:v>-1.9875815101362986E-2</c:v>
                </c:pt>
                <c:pt idx="2">
                  <c:v>-1.6453008495466215E-2</c:v>
                </c:pt>
                <c:pt idx="3">
                  <c:v>-1.6766991086622076E-2</c:v>
                </c:pt>
                <c:pt idx="4">
                  <c:v>-1.869542162965156E-2</c:v>
                </c:pt>
                <c:pt idx="5">
                  <c:v>-1.8702441670705904E-2</c:v>
                </c:pt>
                <c:pt idx="6">
                  <c:v>-2.1299999999999999E-2</c:v>
                </c:pt>
                <c:pt idx="7">
                  <c:v>-1.9300000000000001E-2</c:v>
                </c:pt>
                <c:pt idx="8">
                  <c:v>-1.8700000000000001E-2</c:v>
                </c:pt>
                <c:pt idx="9">
                  <c:v>-2.0299999999999999E-2</c:v>
                </c:pt>
              </c:numCache>
            </c:numRef>
          </c:val>
          <c:smooth val="0"/>
          <c:extLst>
            <c:ext xmlns:c16="http://schemas.microsoft.com/office/drawing/2014/chart" uri="{C3380CC4-5D6E-409C-BE32-E72D297353CC}">
              <c16:uniqueId val="{00000005-F643-4A1F-ADF3-D6147B5B1A92}"/>
            </c:ext>
          </c:extLst>
        </c:ser>
        <c:dLbls>
          <c:showLegendKey val="0"/>
          <c:showVal val="0"/>
          <c:showCatName val="0"/>
          <c:showSerName val="0"/>
          <c:showPercent val="0"/>
          <c:showBubbleSize val="0"/>
        </c:dLbls>
        <c:marker val="1"/>
        <c:smooth val="0"/>
        <c:axId val="107182336"/>
        <c:axId val="107192320"/>
      </c:lineChart>
      <c:catAx>
        <c:axId val="107182336"/>
        <c:scaling>
          <c:orientation val="minMax"/>
        </c:scaling>
        <c:delete val="0"/>
        <c:axPos val="b"/>
        <c:numFmt formatCode="General" sourceLinked="0"/>
        <c:majorTickMark val="out"/>
        <c:minorTickMark val="none"/>
        <c:tickLblPos val="low"/>
        <c:crossAx val="107192320"/>
        <c:crosses val="autoZero"/>
        <c:auto val="1"/>
        <c:lblAlgn val="ctr"/>
        <c:lblOffset val="100"/>
        <c:noMultiLvlLbl val="0"/>
      </c:catAx>
      <c:valAx>
        <c:axId val="107192320"/>
        <c:scaling>
          <c:orientation val="minMax"/>
        </c:scaling>
        <c:delete val="0"/>
        <c:axPos val="l"/>
        <c:numFmt formatCode="0%" sourceLinked="0"/>
        <c:majorTickMark val="out"/>
        <c:minorTickMark val="none"/>
        <c:tickLblPos val="nextTo"/>
        <c:spPr>
          <a:ln>
            <a:noFill/>
          </a:ln>
        </c:spPr>
        <c:txPr>
          <a:bodyPr/>
          <a:lstStyle/>
          <a:p>
            <a:pPr>
              <a:defRPr sz="700">
                <a:solidFill>
                  <a:schemeClr val="bg1"/>
                </a:solidFill>
              </a:defRPr>
            </a:pPr>
            <a:endParaRPr lang="fr-FR"/>
          </a:p>
        </c:txPr>
        <c:crossAx val="107182336"/>
        <c:crosses val="autoZero"/>
        <c:crossBetween val="between"/>
      </c:valAx>
      <c:valAx>
        <c:axId val="107193856"/>
        <c:scaling>
          <c:orientation val="minMax"/>
        </c:scaling>
        <c:delete val="0"/>
        <c:axPos val="r"/>
        <c:numFmt formatCode="#,##0.0" sourceLinked="0"/>
        <c:majorTickMark val="out"/>
        <c:minorTickMark val="none"/>
        <c:tickLblPos val="nextTo"/>
        <c:spPr>
          <a:ln>
            <a:noFill/>
          </a:ln>
        </c:spPr>
        <c:txPr>
          <a:bodyPr/>
          <a:lstStyle/>
          <a:p>
            <a:pPr>
              <a:defRPr sz="700">
                <a:solidFill>
                  <a:schemeClr val="bg1"/>
                </a:solidFill>
              </a:defRPr>
            </a:pPr>
            <a:endParaRPr lang="fr-FR"/>
          </a:p>
        </c:txPr>
        <c:crossAx val="107195776"/>
        <c:crosses val="max"/>
        <c:crossBetween val="between"/>
        <c:majorUnit val="30000"/>
        <c:dispUnits>
          <c:builtInUnit val="thousands"/>
        </c:dispUnits>
      </c:valAx>
      <c:catAx>
        <c:axId val="107195776"/>
        <c:scaling>
          <c:orientation val="minMax"/>
        </c:scaling>
        <c:delete val="1"/>
        <c:axPos val="b"/>
        <c:numFmt formatCode="General" sourceLinked="1"/>
        <c:majorTickMark val="out"/>
        <c:minorTickMark val="none"/>
        <c:tickLblPos val="nextTo"/>
        <c:crossAx val="107193856"/>
        <c:crosses val="autoZero"/>
        <c:auto val="1"/>
        <c:lblAlgn val="ctr"/>
        <c:lblOffset val="100"/>
        <c:noMultiLvlLbl val="1"/>
      </c:catAx>
    </c:plotArea>
    <c:legend>
      <c:legendPos val="b"/>
      <c:layout>
        <c:manualLayout>
          <c:xMode val="edge"/>
          <c:yMode val="edge"/>
          <c:x val="0"/>
          <c:y val="0.89745192356791981"/>
          <c:w val="0.99835692624924677"/>
          <c:h val="6.8555852815084778E-2"/>
        </c:manualLayout>
      </c:layout>
      <c:overlay val="0"/>
    </c:legend>
    <c:plotVisOnly val="1"/>
    <c:dispBlanksAs val="gap"/>
    <c:showDLblsOverMax val="0"/>
  </c:chart>
  <c:txPr>
    <a:bodyPr/>
    <a:lstStyle/>
    <a:p>
      <a:pPr>
        <a:defRPr sz="700">
          <a:latin typeface="Arial" panose="020B0604020202020204" pitchFamily="34" charset="0"/>
          <a:cs typeface="Arial" panose="020B0604020202020204" pitchFamily="34" charset="0"/>
        </a:defRPr>
      </a:pPr>
      <a:endParaRPr lang="fr-FR"/>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1" i="0" u="none" strike="noStrike" kern="1200" spc="0" baseline="0">
                <a:solidFill>
                  <a:schemeClr val="tx1">
                    <a:lumMod val="65000"/>
                    <a:lumOff val="35000"/>
                  </a:schemeClr>
                </a:solidFill>
                <a:latin typeface="+mn-lt"/>
                <a:ea typeface="+mn-ea"/>
                <a:cs typeface="+mn-cs"/>
              </a:defRPr>
            </a:pPr>
            <a:r>
              <a:rPr lang="fr-FR" sz="1000" b="1"/>
              <a:t>Debt consolidation production (in k€) </a:t>
            </a:r>
          </a:p>
        </c:rich>
      </c:tx>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Feuil4!$B$15</c:f>
              <c:strCache>
                <c:ptCount val="1"/>
                <c:pt idx="0">
                  <c:v>Credilift Unsecured</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4!$C$14:$E$14</c:f>
              <c:numCache>
                <c:formatCode>General</c:formatCode>
                <c:ptCount val="3"/>
                <c:pt idx="0">
                  <c:v>2021</c:v>
                </c:pt>
                <c:pt idx="1">
                  <c:v>2022</c:v>
                </c:pt>
                <c:pt idx="2">
                  <c:v>2023</c:v>
                </c:pt>
              </c:numCache>
            </c:numRef>
          </c:cat>
          <c:val>
            <c:numRef>
              <c:f>Feuil4!$C$15:$E$15</c:f>
              <c:numCache>
                <c:formatCode>_-* #,##0_-;\-* #,##0_-;_-* "-"??_-;_-@_-</c:formatCode>
                <c:ptCount val="3"/>
                <c:pt idx="0">
                  <c:v>542148</c:v>
                </c:pt>
                <c:pt idx="1">
                  <c:v>578925</c:v>
                </c:pt>
                <c:pt idx="2">
                  <c:v>429676</c:v>
                </c:pt>
              </c:numCache>
            </c:numRef>
          </c:val>
          <c:extLst>
            <c:ext xmlns:c16="http://schemas.microsoft.com/office/drawing/2014/chart" uri="{C3380CC4-5D6E-409C-BE32-E72D297353CC}">
              <c16:uniqueId val="{00000000-BFD3-4492-8518-96AEBA9BD642}"/>
            </c:ext>
          </c:extLst>
        </c:ser>
        <c:ser>
          <c:idx val="1"/>
          <c:order val="1"/>
          <c:tx>
            <c:strRef>
              <c:f>Feuil4!$B$16</c:f>
              <c:strCache>
                <c:ptCount val="1"/>
                <c:pt idx="0">
                  <c:v>Creditlift Secured</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4!$C$14:$E$14</c:f>
              <c:numCache>
                <c:formatCode>General</c:formatCode>
                <c:ptCount val="3"/>
                <c:pt idx="0">
                  <c:v>2021</c:v>
                </c:pt>
                <c:pt idx="1">
                  <c:v>2022</c:v>
                </c:pt>
                <c:pt idx="2">
                  <c:v>2023</c:v>
                </c:pt>
              </c:numCache>
            </c:numRef>
          </c:cat>
          <c:val>
            <c:numRef>
              <c:f>Feuil4!$C$16:$E$16</c:f>
              <c:numCache>
                <c:formatCode>_-* #,##0_-;\-* #,##0_-;_-* "-"??_-;_-@_-</c:formatCode>
                <c:ptCount val="3"/>
                <c:pt idx="0">
                  <c:v>79346</c:v>
                </c:pt>
                <c:pt idx="1">
                  <c:v>45473</c:v>
                </c:pt>
                <c:pt idx="2">
                  <c:v>170</c:v>
                </c:pt>
              </c:numCache>
            </c:numRef>
          </c:val>
          <c:extLst>
            <c:ext xmlns:c16="http://schemas.microsoft.com/office/drawing/2014/chart" uri="{C3380CC4-5D6E-409C-BE32-E72D297353CC}">
              <c16:uniqueId val="{00000001-BFD3-4492-8518-96AEBA9BD642}"/>
            </c:ext>
          </c:extLst>
        </c:ser>
        <c:ser>
          <c:idx val="2"/>
          <c:order val="2"/>
          <c:tx>
            <c:strRef>
              <c:f>Feuil4!$B$17</c:f>
              <c:strCache>
                <c:ptCount val="1"/>
                <c:pt idx="0">
                  <c:v>Sofinco</c:v>
                </c:pt>
              </c:strCache>
            </c:strRef>
          </c:tx>
          <c:spPr>
            <a:solidFill>
              <a:schemeClr val="accent6">
                <a:tint val="65000"/>
              </a:schemeClr>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4!$C$14:$E$14</c:f>
              <c:numCache>
                <c:formatCode>General</c:formatCode>
                <c:ptCount val="3"/>
                <c:pt idx="0">
                  <c:v>2021</c:v>
                </c:pt>
                <c:pt idx="1">
                  <c:v>2022</c:v>
                </c:pt>
                <c:pt idx="2">
                  <c:v>2023</c:v>
                </c:pt>
              </c:numCache>
            </c:numRef>
          </c:cat>
          <c:val>
            <c:numRef>
              <c:f>Feuil4!$C$17:$E$17</c:f>
              <c:numCache>
                <c:formatCode>_-* #,##0_-;\-* #,##0_-;_-* "-"??_-;_-@_-</c:formatCode>
                <c:ptCount val="3"/>
                <c:pt idx="0">
                  <c:v>99975</c:v>
                </c:pt>
                <c:pt idx="1">
                  <c:v>97032</c:v>
                </c:pt>
                <c:pt idx="2">
                  <c:v>15686</c:v>
                </c:pt>
              </c:numCache>
            </c:numRef>
          </c:val>
          <c:extLst>
            <c:ext xmlns:c16="http://schemas.microsoft.com/office/drawing/2014/chart" uri="{C3380CC4-5D6E-409C-BE32-E72D297353CC}">
              <c16:uniqueId val="{00000002-BFD3-4492-8518-96AEBA9BD642}"/>
            </c:ext>
          </c:extLst>
        </c:ser>
        <c:dLbls>
          <c:dLblPos val="outEnd"/>
          <c:showLegendKey val="0"/>
          <c:showVal val="1"/>
          <c:showCatName val="0"/>
          <c:showSerName val="0"/>
          <c:showPercent val="0"/>
          <c:showBubbleSize val="0"/>
        </c:dLbls>
        <c:gapWidth val="219"/>
        <c:overlap val="-27"/>
        <c:axId val="705326400"/>
        <c:axId val="705318496"/>
      </c:barChart>
      <c:catAx>
        <c:axId val="70532640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705318496"/>
        <c:crosses val="autoZero"/>
        <c:auto val="1"/>
        <c:lblAlgn val="ctr"/>
        <c:lblOffset val="100"/>
        <c:noMultiLvlLbl val="0"/>
      </c:catAx>
      <c:valAx>
        <c:axId val="705318496"/>
        <c:scaling>
          <c:orientation val="minMax"/>
        </c:scaling>
        <c:delete val="1"/>
        <c:axPos val="l"/>
        <c:numFmt formatCode="_-* #,##0_-;\-* #,##0_-;_-* &quot;-&quot;??_-;_-@_-" sourceLinked="1"/>
        <c:majorTickMark val="none"/>
        <c:minorTickMark val="none"/>
        <c:tickLblPos val="nextTo"/>
        <c:crossAx val="7053264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9">
  <a:schemeClr val="accent6"/>
</cs:colorStyle>
</file>

<file path=ppt/charts/colors8.xml><?xml version="1.0" encoding="utf-8"?>
<cs:colorStyle xmlns:cs="http://schemas.microsoft.com/office/drawing/2012/chartStyle" xmlns:a="http://schemas.openxmlformats.org/drawingml/2006/main" meth="withinLinear" id="19">
  <a:schemeClr val="accent6"/>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9.emf"/></Relationships>
</file>

<file path=ppt/drawings/drawing1.xml><?xml version="1.0" encoding="utf-8"?>
<c:userShapes xmlns:c="http://schemas.openxmlformats.org/drawingml/2006/chart">
  <cdr:relSizeAnchor xmlns:cdr="http://schemas.openxmlformats.org/drawingml/2006/chartDrawing">
    <cdr:from>
      <cdr:x>0.06484</cdr:x>
      <cdr:y>0.3261</cdr:y>
    </cdr:from>
    <cdr:to>
      <cdr:x>0.28009</cdr:x>
      <cdr:y>0.39401</cdr:y>
    </cdr:to>
    <cdr:sp macro="" textlink="">
      <cdr:nvSpPr>
        <cdr:cNvPr id="2" name="Text Box 12">
          <a:extLst xmlns:a="http://schemas.openxmlformats.org/drawingml/2006/main">
            <a:ext uri="{FF2B5EF4-FFF2-40B4-BE49-F238E27FC236}">
              <a16:creationId xmlns:a16="http://schemas.microsoft.com/office/drawing/2014/main" id="{19FAD29B-FB52-4CDD-B8F2-984DE73F1796}"/>
            </a:ext>
          </a:extLst>
        </cdr:cNvPr>
        <cdr:cNvSpPr txBox="1">
          <a:spLocks xmlns:a="http://schemas.openxmlformats.org/drawingml/2006/main" noChangeArrowheads="1"/>
        </cdr:cNvSpPr>
      </cdr:nvSpPr>
      <cdr:spPr bwMode="gray">
        <a:xfrm xmlns:a="http://schemas.openxmlformats.org/drawingml/2006/main">
          <a:off x="223016" y="940352"/>
          <a:ext cx="740338" cy="195814"/>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cdr:spPr>
      <cdr:txBody>
        <a:bodyPr xmlns:a="http://schemas.openxmlformats.org/drawingml/2006/main" wrap="square" lIns="0" tIns="36000" rIns="0" bIns="3600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ctr" defTabSz="457189" eaLnBrk="0" hangingPunct="0">
            <a:spcBef>
              <a:spcPct val="50000"/>
            </a:spcBef>
          </a:pPr>
          <a:r>
            <a:rPr lang="fr-FR" altLang="fr-FR" sz="800" b="1" dirty="0">
              <a:solidFill>
                <a:prstClr val="white">
                  <a:lumMod val="50000"/>
                </a:prstClr>
              </a:solidFill>
              <a:latin typeface="Arial" panose="020B0604020202020204" pitchFamily="34" charset="0"/>
              <a:cs typeface="Arial" panose="020B0604020202020204" pitchFamily="34" charset="0"/>
            </a:rPr>
            <a:t>92,027</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2"/>
            <a:ext cx="4434999" cy="356848"/>
          </a:xfrm>
          <a:prstGeom prst="rect">
            <a:avLst/>
          </a:prstGeom>
        </p:spPr>
        <p:txBody>
          <a:bodyPr vert="horz" lIns="74452" tIns="37227" rIns="74452" bIns="37227" rtlCol="0"/>
          <a:lstStyle>
            <a:lvl1pPr algn="l">
              <a:defRPr sz="1100"/>
            </a:lvl1pPr>
          </a:lstStyle>
          <a:p>
            <a:endParaRPr lang="fr-FR"/>
          </a:p>
        </p:txBody>
      </p:sp>
      <p:sp>
        <p:nvSpPr>
          <p:cNvPr id="3" name="Espace réservé de la date 2"/>
          <p:cNvSpPr>
            <a:spLocks noGrp="1"/>
          </p:cNvSpPr>
          <p:nvPr>
            <p:ph type="dt" sz="quarter" idx="1"/>
          </p:nvPr>
        </p:nvSpPr>
        <p:spPr>
          <a:xfrm>
            <a:off x="5797839" y="2"/>
            <a:ext cx="4434999" cy="356848"/>
          </a:xfrm>
          <a:prstGeom prst="rect">
            <a:avLst/>
          </a:prstGeom>
        </p:spPr>
        <p:txBody>
          <a:bodyPr vert="horz" lIns="74452" tIns="37227" rIns="74452" bIns="37227" rtlCol="0"/>
          <a:lstStyle>
            <a:lvl1pPr algn="r">
              <a:defRPr sz="1100"/>
            </a:lvl1pPr>
          </a:lstStyle>
          <a:p>
            <a:fld id="{374B074A-58F2-4A47-827B-B531B4CC73A6}" type="datetimeFigureOut">
              <a:rPr lang="fr-FR" smtClean="0"/>
              <a:t>04/04/2024</a:t>
            </a:fld>
            <a:endParaRPr lang="fr-FR"/>
          </a:p>
        </p:txBody>
      </p:sp>
      <p:sp>
        <p:nvSpPr>
          <p:cNvPr id="4" name="Espace réservé du pied de page 3"/>
          <p:cNvSpPr>
            <a:spLocks noGrp="1"/>
          </p:cNvSpPr>
          <p:nvPr>
            <p:ph type="ftr" sz="quarter" idx="2"/>
          </p:nvPr>
        </p:nvSpPr>
        <p:spPr>
          <a:xfrm>
            <a:off x="1" y="6747224"/>
            <a:ext cx="4434999" cy="356846"/>
          </a:xfrm>
          <a:prstGeom prst="rect">
            <a:avLst/>
          </a:prstGeom>
        </p:spPr>
        <p:txBody>
          <a:bodyPr vert="horz" lIns="74452" tIns="37227" rIns="74452" bIns="37227" rtlCol="0" anchor="b"/>
          <a:lstStyle>
            <a:lvl1pPr algn="l">
              <a:defRPr sz="1100"/>
            </a:lvl1pPr>
          </a:lstStyle>
          <a:p>
            <a:endParaRPr lang="fr-FR"/>
          </a:p>
        </p:txBody>
      </p:sp>
      <p:sp>
        <p:nvSpPr>
          <p:cNvPr id="5" name="Espace réservé du numéro de diapositive 4"/>
          <p:cNvSpPr>
            <a:spLocks noGrp="1"/>
          </p:cNvSpPr>
          <p:nvPr>
            <p:ph type="sldNum" sz="quarter" idx="3"/>
          </p:nvPr>
        </p:nvSpPr>
        <p:spPr>
          <a:xfrm>
            <a:off x="5797839" y="6747224"/>
            <a:ext cx="4434999" cy="356846"/>
          </a:xfrm>
          <a:prstGeom prst="rect">
            <a:avLst/>
          </a:prstGeom>
        </p:spPr>
        <p:txBody>
          <a:bodyPr vert="horz" lIns="74452" tIns="37227" rIns="74452" bIns="37227" rtlCol="0" anchor="b"/>
          <a:lstStyle>
            <a:lvl1pPr algn="r">
              <a:defRPr sz="1100"/>
            </a:lvl1pPr>
          </a:lstStyle>
          <a:p>
            <a:fld id="{5C82B042-17E4-4971-BC74-702BCEFBC1FE}" type="slidenum">
              <a:rPr lang="fr-FR" smtClean="0"/>
              <a:t>‹N°›</a:t>
            </a:fld>
            <a:endParaRPr lang="fr-FR"/>
          </a:p>
        </p:txBody>
      </p:sp>
    </p:spTree>
    <p:extLst>
      <p:ext uri="{BB962C8B-B14F-4D97-AF65-F5344CB8AC3E}">
        <p14:creationId xmlns:p14="http://schemas.microsoft.com/office/powerpoint/2010/main" val="14782368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2"/>
            <a:ext cx="4434999" cy="356848"/>
          </a:xfrm>
          <a:prstGeom prst="rect">
            <a:avLst/>
          </a:prstGeom>
        </p:spPr>
        <p:txBody>
          <a:bodyPr vert="horz" lIns="74452" tIns="37227" rIns="74452" bIns="37227" rtlCol="0"/>
          <a:lstStyle>
            <a:lvl1pPr algn="l">
              <a:defRPr sz="1100">
                <a:latin typeface="Avenir Next LT Pro" panose="020B0504020202020204" pitchFamily="34" charset="0"/>
              </a:defRPr>
            </a:lvl1pPr>
          </a:lstStyle>
          <a:p>
            <a:endParaRPr lang="en-GB" dirty="0"/>
          </a:p>
        </p:txBody>
      </p:sp>
      <p:sp>
        <p:nvSpPr>
          <p:cNvPr id="3" name="Espace réservé de la date 2"/>
          <p:cNvSpPr>
            <a:spLocks noGrp="1"/>
          </p:cNvSpPr>
          <p:nvPr>
            <p:ph type="dt" idx="1"/>
          </p:nvPr>
        </p:nvSpPr>
        <p:spPr>
          <a:xfrm>
            <a:off x="5797839" y="2"/>
            <a:ext cx="4434999" cy="356848"/>
          </a:xfrm>
          <a:prstGeom prst="rect">
            <a:avLst/>
          </a:prstGeom>
        </p:spPr>
        <p:txBody>
          <a:bodyPr vert="horz" lIns="74452" tIns="37227" rIns="74452" bIns="37227" rtlCol="0"/>
          <a:lstStyle>
            <a:lvl1pPr algn="r">
              <a:defRPr sz="1100">
                <a:latin typeface="Avenir Next LT Pro" panose="020B0504020202020204" pitchFamily="34" charset="0"/>
              </a:defRPr>
            </a:lvl1pPr>
          </a:lstStyle>
          <a:p>
            <a:fld id="{F8204FD9-9F0A-4D8C-A4E9-54FE9DB5A62D}" type="datetimeFigureOut">
              <a:rPr lang="en-GB" smtClean="0"/>
              <a:pPr/>
              <a:t>04/04/2024</a:t>
            </a:fld>
            <a:endParaRPr lang="en-GB" dirty="0"/>
          </a:p>
        </p:txBody>
      </p:sp>
      <p:sp>
        <p:nvSpPr>
          <p:cNvPr id="4" name="Espace réservé de l'image des diapositives 3"/>
          <p:cNvSpPr>
            <a:spLocks noGrp="1" noRot="1" noChangeAspect="1"/>
          </p:cNvSpPr>
          <p:nvPr>
            <p:ph type="sldImg" idx="2"/>
          </p:nvPr>
        </p:nvSpPr>
        <p:spPr>
          <a:xfrm>
            <a:off x="2987675" y="887413"/>
            <a:ext cx="4259263" cy="2397125"/>
          </a:xfrm>
          <a:prstGeom prst="rect">
            <a:avLst/>
          </a:prstGeom>
          <a:noFill/>
          <a:ln w="12700">
            <a:solidFill>
              <a:prstClr val="black"/>
            </a:solidFill>
          </a:ln>
        </p:spPr>
        <p:txBody>
          <a:bodyPr vert="horz" lIns="74452" tIns="37227" rIns="74452" bIns="37227" rtlCol="0" anchor="ctr"/>
          <a:lstStyle/>
          <a:p>
            <a:endParaRPr lang="en-GB" dirty="0"/>
          </a:p>
        </p:txBody>
      </p:sp>
      <p:sp>
        <p:nvSpPr>
          <p:cNvPr id="5" name="Espace réservé des notes 4"/>
          <p:cNvSpPr>
            <a:spLocks noGrp="1"/>
          </p:cNvSpPr>
          <p:nvPr>
            <p:ph type="body" sz="quarter" idx="3"/>
          </p:nvPr>
        </p:nvSpPr>
        <p:spPr>
          <a:xfrm>
            <a:off x="1023462" y="3418832"/>
            <a:ext cx="8187690" cy="2797225"/>
          </a:xfrm>
          <a:prstGeom prst="rect">
            <a:avLst/>
          </a:prstGeom>
        </p:spPr>
        <p:txBody>
          <a:bodyPr vert="horz" lIns="74452" tIns="37227" rIns="74452" bIns="37227" rtlCol="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GB" dirty="0"/>
          </a:p>
        </p:txBody>
      </p:sp>
      <p:sp>
        <p:nvSpPr>
          <p:cNvPr id="6" name="Espace réservé du pied de page 5"/>
          <p:cNvSpPr>
            <a:spLocks noGrp="1"/>
          </p:cNvSpPr>
          <p:nvPr>
            <p:ph type="ftr" sz="quarter" idx="4"/>
          </p:nvPr>
        </p:nvSpPr>
        <p:spPr>
          <a:xfrm>
            <a:off x="1" y="6747224"/>
            <a:ext cx="4434999" cy="356846"/>
          </a:xfrm>
          <a:prstGeom prst="rect">
            <a:avLst/>
          </a:prstGeom>
        </p:spPr>
        <p:txBody>
          <a:bodyPr vert="horz" lIns="74452" tIns="37227" rIns="74452" bIns="37227" rtlCol="0" anchor="b"/>
          <a:lstStyle>
            <a:lvl1pPr algn="l">
              <a:defRPr sz="1100">
                <a:latin typeface="Avenir Next LT Pro" panose="020B0504020202020204" pitchFamily="34" charset="0"/>
              </a:defRPr>
            </a:lvl1pPr>
          </a:lstStyle>
          <a:p>
            <a:endParaRPr lang="en-GB" dirty="0"/>
          </a:p>
        </p:txBody>
      </p:sp>
      <p:sp>
        <p:nvSpPr>
          <p:cNvPr id="7" name="Espace réservé du numéro de diapositive 6"/>
          <p:cNvSpPr>
            <a:spLocks noGrp="1"/>
          </p:cNvSpPr>
          <p:nvPr>
            <p:ph type="sldNum" sz="quarter" idx="5"/>
          </p:nvPr>
        </p:nvSpPr>
        <p:spPr>
          <a:xfrm>
            <a:off x="5797839" y="6747224"/>
            <a:ext cx="4434999" cy="356846"/>
          </a:xfrm>
          <a:prstGeom prst="rect">
            <a:avLst/>
          </a:prstGeom>
        </p:spPr>
        <p:txBody>
          <a:bodyPr vert="horz" lIns="74452" tIns="37227" rIns="74452" bIns="37227" rtlCol="0" anchor="b"/>
          <a:lstStyle>
            <a:lvl1pPr algn="r">
              <a:defRPr sz="1100">
                <a:latin typeface="Avenir Next LT Pro" panose="020B0504020202020204" pitchFamily="34" charset="0"/>
              </a:defRPr>
            </a:lvl1pPr>
          </a:lstStyle>
          <a:p>
            <a:fld id="{2DD00B1A-4002-4EA4-A4A2-84E8EEEC52FB}" type="slidenum">
              <a:rPr lang="en-GB" smtClean="0"/>
              <a:pPr/>
              <a:t>‹N°›</a:t>
            </a:fld>
            <a:endParaRPr lang="en-GB" dirty="0"/>
          </a:p>
        </p:txBody>
      </p:sp>
    </p:spTree>
    <p:extLst>
      <p:ext uri="{BB962C8B-B14F-4D97-AF65-F5344CB8AC3E}">
        <p14:creationId xmlns:p14="http://schemas.microsoft.com/office/powerpoint/2010/main" val="34845347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venir Next LT Pro" panose="020B0504020202020204" pitchFamily="34" charset="0"/>
        <a:ea typeface="+mn-ea"/>
        <a:cs typeface="+mn-cs"/>
      </a:defRPr>
    </a:lvl1pPr>
    <a:lvl2pPr marL="457200" algn="l" defTabSz="914400" rtl="0" eaLnBrk="1" latinLnBrk="0" hangingPunct="1">
      <a:defRPr sz="1200" kern="1200">
        <a:solidFill>
          <a:schemeClr val="tx1"/>
        </a:solidFill>
        <a:latin typeface="Avenir Next LT Pro" panose="020B0504020202020204" pitchFamily="34" charset="0"/>
        <a:ea typeface="+mn-ea"/>
        <a:cs typeface="+mn-cs"/>
      </a:defRPr>
    </a:lvl2pPr>
    <a:lvl3pPr marL="914400" algn="l" defTabSz="914400" rtl="0" eaLnBrk="1" latinLnBrk="0" hangingPunct="1">
      <a:defRPr sz="1200" kern="1200">
        <a:solidFill>
          <a:schemeClr val="tx1"/>
        </a:solidFill>
        <a:latin typeface="Avenir Next LT Pro" panose="020B0504020202020204" pitchFamily="34" charset="0"/>
        <a:ea typeface="+mn-ea"/>
        <a:cs typeface="+mn-cs"/>
      </a:defRPr>
    </a:lvl3pPr>
    <a:lvl4pPr marL="1371600" algn="l" defTabSz="914400" rtl="0" eaLnBrk="1" latinLnBrk="0" hangingPunct="1">
      <a:defRPr sz="1200" kern="1200">
        <a:solidFill>
          <a:schemeClr val="tx1"/>
        </a:solidFill>
        <a:latin typeface="Avenir Next LT Pro" panose="020B0504020202020204" pitchFamily="34" charset="0"/>
        <a:ea typeface="+mn-ea"/>
        <a:cs typeface="+mn-cs"/>
      </a:defRPr>
    </a:lvl4pPr>
    <a:lvl5pPr marL="1828800" algn="l" defTabSz="914400" rtl="0" eaLnBrk="1" latinLnBrk="0" hangingPunct="1">
      <a:defRPr sz="1200" kern="1200">
        <a:solidFill>
          <a:schemeClr val="tx1"/>
        </a:solidFill>
        <a:latin typeface="Avenir Next LT Pro" panose="020B05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70AF6D-019F-4F0B-8E7F-956EA94A03D3}" type="slidenum">
              <a:rPr kumimoji="0" lang="fr-FR" sz="1100" b="0" i="0" u="none" strike="noStrike" kern="1200" cap="none" spc="0" normalizeH="0" baseline="0" noProof="0" smtClean="0">
                <a:ln>
                  <a:noFill/>
                </a:ln>
                <a:solidFill>
                  <a:prstClr val="black"/>
                </a:solidFill>
                <a:effectLst/>
                <a:uLnTx/>
                <a:uFillTx/>
                <a:latin typeface="Avenir Next LT Pro" panose="020B05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fr-FR" sz="11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2688987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609850" y="2576513"/>
            <a:ext cx="12344400" cy="6945312"/>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569F108-CBF4-4725-BEA1-95AF25EB80E9}" type="slidenum">
              <a:rPr kumimoji="0" lang="fr-FR"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28989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page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grpSp>
        <p:nvGrpSpPr>
          <p:cNvPr id="12" name="Groupe 11"/>
          <p:cNvGrpSpPr/>
          <p:nvPr userDrawn="1"/>
        </p:nvGrpSpPr>
        <p:grpSpPr>
          <a:xfrm>
            <a:off x="5120640" y="0"/>
            <a:ext cx="3760807" cy="5143499"/>
            <a:chOff x="5120640" y="0"/>
            <a:chExt cx="3760807" cy="5143499"/>
          </a:xfrm>
          <a:blipFill dpi="0" rotWithShape="1">
            <a:blip r:embed="rId2"/>
            <a:srcRect/>
            <a:stretch>
              <a:fillRect l="-20000" t="-2000"/>
            </a:stretch>
          </a:blipFill>
        </p:grpSpPr>
        <p:sp>
          <p:nvSpPr>
            <p:cNvPr id="16" name="Rectangle 15"/>
            <p:cNvSpPr/>
            <p:nvPr userDrawn="1"/>
          </p:nvSpPr>
          <p:spPr>
            <a:xfrm>
              <a:off x="5120640" y="0"/>
              <a:ext cx="1754722" cy="40644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p:nvPr userDrawn="1"/>
          </p:nvSpPr>
          <p:spPr>
            <a:xfrm>
              <a:off x="7134837" y="952150"/>
              <a:ext cx="1746610" cy="41913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5" name="Rectangle 4">
            <a:extLst>
              <a:ext uri="{FF2B5EF4-FFF2-40B4-BE49-F238E27FC236}">
                <a16:creationId xmlns:a16="http://schemas.microsoft.com/office/drawing/2014/main" id="{32342BCC-772B-4854-B618-6B17C139ACAA}"/>
              </a:ext>
            </a:extLst>
          </p:cNvPr>
          <p:cNvSpPr/>
          <p:nvPr userDrawn="1"/>
        </p:nvSpPr>
        <p:spPr>
          <a:xfrm>
            <a:off x="549744" y="0"/>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pic>
        <p:nvPicPr>
          <p:cNvPr id="15"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17570893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0"/>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0" y="1724722"/>
            <a:ext cx="3483710" cy="1694054"/>
          </a:xfrm>
        </p:spPr>
        <p:txBody>
          <a:bodyPr anchor="ctr"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6" name="Espace réservé pour une image  15">
            <a:extLst>
              <a:ext uri="{FF2B5EF4-FFF2-40B4-BE49-F238E27FC236}">
                <a16:creationId xmlns:a16="http://schemas.microsoft.com/office/drawing/2014/main" id="{D287F594-9B00-4191-9FE6-F8D67CE6B450}"/>
              </a:ext>
            </a:extLst>
          </p:cNvPr>
          <p:cNvSpPr>
            <a:spLocks noGrp="1"/>
          </p:cNvSpPr>
          <p:nvPr>
            <p:ph type="pic" sz="quarter" idx="15"/>
          </p:nvPr>
        </p:nvSpPr>
        <p:spPr>
          <a:xfrm>
            <a:off x="252000" y="0"/>
            <a:ext cx="4584159" cy="5143499"/>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dirty="0"/>
          </a:p>
        </p:txBody>
      </p:sp>
      <p:sp>
        <p:nvSpPr>
          <p:cNvPr id="1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9" name="Picture 18"/>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218870559"/>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ummary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Rectangle 1"/>
          <p:cNvSpPr/>
          <p:nvPr userDrawn="1"/>
        </p:nvSpPr>
        <p:spPr>
          <a:xfrm>
            <a:off x="133744" y="0"/>
            <a:ext cx="1749972" cy="4067884"/>
          </a:xfrm>
          <a:prstGeom prst="rect">
            <a:avLst/>
          </a:prstGeom>
          <a:blipFill>
            <a:blip r:embed="rId2"/>
            <a:tile tx="-1524000" ty="-1016000" sx="100000" sy="100000" flip="y"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37784" y="1104901"/>
            <a:ext cx="593415" cy="689175"/>
          </a:xfrm>
        </p:spPr>
        <p:txBody>
          <a:bodyPr anchor="ctr" anchorCtr="0">
            <a:noAutofit/>
          </a:bodyPr>
          <a:lstStyle>
            <a:lvl1pPr algn="r">
              <a:defRPr sz="36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261677"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37784" y="2016092"/>
            <a:ext cx="593415" cy="689175"/>
          </a:xfrm>
        </p:spPr>
        <p:txBody>
          <a:bodyPr anchor="ctr" anchorCtr="0">
            <a:noAutofit/>
          </a:bodyPr>
          <a:lstStyle>
            <a:lvl1pPr algn="r">
              <a:defRPr sz="36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261677"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37784" y="2927083"/>
            <a:ext cx="593415" cy="689175"/>
          </a:xfrm>
        </p:spPr>
        <p:txBody>
          <a:bodyPr anchor="ctr" anchorCtr="0">
            <a:noAutofit/>
          </a:bodyPr>
          <a:lstStyle>
            <a:lvl1pPr algn="r">
              <a:defRPr sz="36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261677"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37784" y="3837872"/>
            <a:ext cx="593415" cy="689175"/>
          </a:xfrm>
        </p:spPr>
        <p:txBody>
          <a:bodyPr anchor="ctr" anchorCtr="0">
            <a:noAutofit/>
          </a:bodyPr>
          <a:lstStyle>
            <a:lvl1pPr algn="r">
              <a:defRPr sz="36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261677"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8" name="Espace réservé du texte 3">
            <a:extLst>
              <a:ext uri="{FF2B5EF4-FFF2-40B4-BE49-F238E27FC236}">
                <a16:creationId xmlns:a16="http://schemas.microsoft.com/office/drawing/2014/main" id="{8C8C9E17-5906-4CF2-8294-4730AFFE67B1}"/>
              </a:ext>
            </a:extLst>
          </p:cNvPr>
          <p:cNvSpPr>
            <a:spLocks noGrp="1"/>
          </p:cNvSpPr>
          <p:nvPr>
            <p:ph type="body" sz="quarter" idx="19" hasCustomPrompt="1"/>
          </p:nvPr>
        </p:nvSpPr>
        <p:spPr>
          <a:xfrm>
            <a:off x="5961901" y="1104901"/>
            <a:ext cx="593415" cy="689175"/>
          </a:xfrm>
        </p:spPr>
        <p:txBody>
          <a:bodyPr anchor="ctr" anchorCtr="0">
            <a:noAutofit/>
          </a:bodyPr>
          <a:lstStyle>
            <a:lvl1pPr algn="r">
              <a:defRPr sz="3600" b="1">
                <a:latin typeface="+mj-lt"/>
              </a:defRPr>
            </a:lvl1pPr>
          </a:lstStyle>
          <a:p>
            <a:pPr lvl="0"/>
            <a:r>
              <a:rPr lang="fr-FR" dirty="0"/>
              <a:t>5</a:t>
            </a:r>
            <a:endParaRPr lang="en-GB" dirty="0"/>
          </a:p>
        </p:txBody>
      </p:sp>
      <p:sp>
        <p:nvSpPr>
          <p:cNvPr id="19" name="Espace réservé du texte 7">
            <a:extLst>
              <a:ext uri="{FF2B5EF4-FFF2-40B4-BE49-F238E27FC236}">
                <a16:creationId xmlns:a16="http://schemas.microsoft.com/office/drawing/2014/main" id="{6BC88C6A-B62E-4E4C-963C-A1CD87DCCD76}"/>
              </a:ext>
            </a:extLst>
          </p:cNvPr>
          <p:cNvSpPr>
            <a:spLocks noGrp="1"/>
          </p:cNvSpPr>
          <p:nvPr>
            <p:ph type="body" sz="quarter" idx="20" hasCustomPrompt="1"/>
          </p:nvPr>
        </p:nvSpPr>
        <p:spPr>
          <a:xfrm>
            <a:off x="6585794"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fth chapter</a:t>
            </a:r>
            <a:endParaRPr lang="fr-FR" dirty="0"/>
          </a:p>
        </p:txBody>
      </p:sp>
      <p:sp>
        <p:nvSpPr>
          <p:cNvPr id="20" name="Espace réservé du texte 3">
            <a:extLst>
              <a:ext uri="{FF2B5EF4-FFF2-40B4-BE49-F238E27FC236}">
                <a16:creationId xmlns:a16="http://schemas.microsoft.com/office/drawing/2014/main" id="{88F0C468-DD31-49F0-A3A5-29ACF01F68AA}"/>
              </a:ext>
            </a:extLst>
          </p:cNvPr>
          <p:cNvSpPr>
            <a:spLocks noGrp="1"/>
          </p:cNvSpPr>
          <p:nvPr>
            <p:ph type="body" sz="quarter" idx="21" hasCustomPrompt="1"/>
          </p:nvPr>
        </p:nvSpPr>
        <p:spPr>
          <a:xfrm>
            <a:off x="5961901" y="2016092"/>
            <a:ext cx="593415" cy="689175"/>
          </a:xfrm>
        </p:spPr>
        <p:txBody>
          <a:bodyPr anchor="ctr" anchorCtr="0">
            <a:noAutofit/>
          </a:bodyPr>
          <a:lstStyle>
            <a:lvl1pPr algn="r">
              <a:defRPr sz="3600" b="1">
                <a:latin typeface="+mj-lt"/>
              </a:defRPr>
            </a:lvl1pPr>
          </a:lstStyle>
          <a:p>
            <a:pPr lvl="0"/>
            <a:r>
              <a:rPr lang="fr-FR" dirty="0"/>
              <a:t>6</a:t>
            </a:r>
            <a:endParaRPr lang="en-GB" dirty="0"/>
          </a:p>
        </p:txBody>
      </p:sp>
      <p:sp>
        <p:nvSpPr>
          <p:cNvPr id="25" name="Espace réservé du texte 7">
            <a:extLst>
              <a:ext uri="{FF2B5EF4-FFF2-40B4-BE49-F238E27FC236}">
                <a16:creationId xmlns:a16="http://schemas.microsoft.com/office/drawing/2014/main" id="{373FFC4E-CC0C-45E8-A9F4-D8CEEF6BB7C1}"/>
              </a:ext>
            </a:extLst>
          </p:cNvPr>
          <p:cNvSpPr>
            <a:spLocks noGrp="1"/>
          </p:cNvSpPr>
          <p:nvPr>
            <p:ph type="body" sz="quarter" idx="22" hasCustomPrompt="1"/>
          </p:nvPr>
        </p:nvSpPr>
        <p:spPr>
          <a:xfrm>
            <a:off x="6585794"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ixth chapter</a:t>
            </a:r>
            <a:endParaRPr lang="fr-FR" dirty="0"/>
          </a:p>
        </p:txBody>
      </p:sp>
      <p:sp>
        <p:nvSpPr>
          <p:cNvPr id="26" name="Espace réservé du texte 3">
            <a:extLst>
              <a:ext uri="{FF2B5EF4-FFF2-40B4-BE49-F238E27FC236}">
                <a16:creationId xmlns:a16="http://schemas.microsoft.com/office/drawing/2014/main" id="{1938E8D1-6787-407C-AAE7-4E4DFEEC3CAB}"/>
              </a:ext>
            </a:extLst>
          </p:cNvPr>
          <p:cNvSpPr>
            <a:spLocks noGrp="1"/>
          </p:cNvSpPr>
          <p:nvPr>
            <p:ph type="body" sz="quarter" idx="23" hasCustomPrompt="1"/>
          </p:nvPr>
        </p:nvSpPr>
        <p:spPr>
          <a:xfrm>
            <a:off x="5961901" y="2927083"/>
            <a:ext cx="593415" cy="689175"/>
          </a:xfrm>
        </p:spPr>
        <p:txBody>
          <a:bodyPr anchor="ctr" anchorCtr="0">
            <a:noAutofit/>
          </a:bodyPr>
          <a:lstStyle>
            <a:lvl1pPr algn="r">
              <a:defRPr sz="3600" b="1">
                <a:latin typeface="+mj-lt"/>
              </a:defRPr>
            </a:lvl1pPr>
          </a:lstStyle>
          <a:p>
            <a:pPr lvl="0"/>
            <a:r>
              <a:rPr lang="fr-FR" dirty="0"/>
              <a:t>7</a:t>
            </a:r>
            <a:endParaRPr lang="en-GB" dirty="0"/>
          </a:p>
        </p:txBody>
      </p:sp>
      <p:sp>
        <p:nvSpPr>
          <p:cNvPr id="27" name="Espace réservé du texte 7">
            <a:extLst>
              <a:ext uri="{FF2B5EF4-FFF2-40B4-BE49-F238E27FC236}">
                <a16:creationId xmlns:a16="http://schemas.microsoft.com/office/drawing/2014/main" id="{1357C87F-8625-4D55-BAE7-D6A9FDDD340D}"/>
              </a:ext>
            </a:extLst>
          </p:cNvPr>
          <p:cNvSpPr>
            <a:spLocks noGrp="1"/>
          </p:cNvSpPr>
          <p:nvPr>
            <p:ph type="body" sz="quarter" idx="24" hasCustomPrompt="1"/>
          </p:nvPr>
        </p:nvSpPr>
        <p:spPr>
          <a:xfrm>
            <a:off x="6585794"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venth chapter</a:t>
            </a:r>
            <a:endParaRPr lang="fr-FR" dirty="0"/>
          </a:p>
        </p:txBody>
      </p:sp>
      <p:sp>
        <p:nvSpPr>
          <p:cNvPr id="28" name="Espace réservé du texte 3">
            <a:extLst>
              <a:ext uri="{FF2B5EF4-FFF2-40B4-BE49-F238E27FC236}">
                <a16:creationId xmlns:a16="http://schemas.microsoft.com/office/drawing/2014/main" id="{D89999BC-251E-4F61-9201-37E475009391}"/>
              </a:ext>
            </a:extLst>
          </p:cNvPr>
          <p:cNvSpPr>
            <a:spLocks noGrp="1"/>
          </p:cNvSpPr>
          <p:nvPr>
            <p:ph type="body" sz="quarter" idx="25" hasCustomPrompt="1"/>
          </p:nvPr>
        </p:nvSpPr>
        <p:spPr>
          <a:xfrm>
            <a:off x="5961901" y="3837872"/>
            <a:ext cx="593415" cy="689175"/>
          </a:xfrm>
        </p:spPr>
        <p:txBody>
          <a:bodyPr anchor="ctr" anchorCtr="0">
            <a:noAutofit/>
          </a:bodyPr>
          <a:lstStyle>
            <a:lvl1pPr algn="r">
              <a:defRPr sz="3600" b="1">
                <a:latin typeface="+mj-lt"/>
              </a:defRPr>
            </a:lvl1pPr>
          </a:lstStyle>
          <a:p>
            <a:pPr lvl="0"/>
            <a:r>
              <a:rPr lang="fr-FR" dirty="0"/>
              <a:t>8</a:t>
            </a:r>
            <a:endParaRPr lang="en-GB" dirty="0"/>
          </a:p>
        </p:txBody>
      </p:sp>
      <p:sp>
        <p:nvSpPr>
          <p:cNvPr id="29" name="Espace réservé du texte 7">
            <a:extLst>
              <a:ext uri="{FF2B5EF4-FFF2-40B4-BE49-F238E27FC236}">
                <a16:creationId xmlns:a16="http://schemas.microsoft.com/office/drawing/2014/main" id="{8D124088-5A10-4B10-8C05-A7342239E11E}"/>
              </a:ext>
            </a:extLst>
          </p:cNvPr>
          <p:cNvSpPr>
            <a:spLocks noGrp="1"/>
          </p:cNvSpPr>
          <p:nvPr>
            <p:ph type="body" sz="quarter" idx="26" hasCustomPrompt="1"/>
          </p:nvPr>
        </p:nvSpPr>
        <p:spPr>
          <a:xfrm>
            <a:off x="6585794"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eighth chapter</a:t>
            </a:r>
          </a:p>
        </p:txBody>
      </p:sp>
      <p:sp>
        <p:nvSpPr>
          <p:cNvPr id="32"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7"/>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33" name="Picture 32"/>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6234320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ummary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10" name="Espace réservé pour une image  9">
            <a:extLst>
              <a:ext uri="{FF2B5EF4-FFF2-40B4-BE49-F238E27FC236}">
                <a16:creationId xmlns:a16="http://schemas.microsoft.com/office/drawing/2014/main" id="{2481741F-42DC-4FF8-AD9C-1FB7F7BE9822}"/>
              </a:ext>
            </a:extLst>
          </p:cNvPr>
          <p:cNvSpPr>
            <a:spLocks noGrp="1"/>
          </p:cNvSpPr>
          <p:nvPr>
            <p:ph type="pic" sz="quarter" idx="10"/>
          </p:nvPr>
        </p:nvSpPr>
        <p:spPr>
          <a:xfrm>
            <a:off x="133744" y="3"/>
            <a:ext cx="1749972" cy="4067882"/>
          </a:xfrm>
          <a:custGeom>
            <a:avLst/>
            <a:gdLst>
              <a:gd name="connsiteX0" fmla="*/ 0 w 1749972"/>
              <a:gd name="connsiteY0" fmla="*/ 0 h 4067882"/>
              <a:gd name="connsiteX1" fmla="*/ 1749972 w 1749972"/>
              <a:gd name="connsiteY1" fmla="*/ 0 h 4067882"/>
              <a:gd name="connsiteX2" fmla="*/ 1749972 w 1749972"/>
              <a:gd name="connsiteY2" fmla="*/ 4067882 h 4067882"/>
              <a:gd name="connsiteX3" fmla="*/ 0 w 1749972"/>
              <a:gd name="connsiteY3" fmla="*/ 4067882 h 4067882"/>
            </a:gdLst>
            <a:ahLst/>
            <a:cxnLst>
              <a:cxn ang="0">
                <a:pos x="connsiteX0" y="connsiteY0"/>
              </a:cxn>
              <a:cxn ang="0">
                <a:pos x="connsiteX1" y="connsiteY1"/>
              </a:cxn>
              <a:cxn ang="0">
                <a:pos x="connsiteX2" y="connsiteY2"/>
              </a:cxn>
              <a:cxn ang="0">
                <a:pos x="connsiteX3" y="connsiteY3"/>
              </a:cxn>
            </a:cxnLst>
            <a:rect l="l" t="t" r="r" b="b"/>
            <a:pathLst>
              <a:path w="1749972" h="4067882">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37784" y="1104901"/>
            <a:ext cx="593415" cy="689175"/>
          </a:xfrm>
        </p:spPr>
        <p:txBody>
          <a:bodyPr anchor="ctr" anchorCtr="0">
            <a:noAutofit/>
          </a:bodyPr>
          <a:lstStyle>
            <a:lvl1pPr algn="r">
              <a:defRPr sz="36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261677"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37784" y="2016092"/>
            <a:ext cx="593415" cy="689175"/>
          </a:xfrm>
        </p:spPr>
        <p:txBody>
          <a:bodyPr anchor="ctr" anchorCtr="0">
            <a:noAutofit/>
          </a:bodyPr>
          <a:lstStyle>
            <a:lvl1pPr algn="r">
              <a:defRPr sz="36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261677"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37784" y="2927083"/>
            <a:ext cx="593415" cy="689175"/>
          </a:xfrm>
        </p:spPr>
        <p:txBody>
          <a:bodyPr anchor="ctr" anchorCtr="0">
            <a:noAutofit/>
          </a:bodyPr>
          <a:lstStyle>
            <a:lvl1pPr algn="r">
              <a:defRPr sz="36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261677"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37784" y="3837872"/>
            <a:ext cx="593415" cy="689175"/>
          </a:xfrm>
        </p:spPr>
        <p:txBody>
          <a:bodyPr anchor="ctr" anchorCtr="0">
            <a:noAutofit/>
          </a:bodyPr>
          <a:lstStyle>
            <a:lvl1pPr algn="r">
              <a:defRPr sz="36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261677"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8" name="Espace réservé du texte 3">
            <a:extLst>
              <a:ext uri="{FF2B5EF4-FFF2-40B4-BE49-F238E27FC236}">
                <a16:creationId xmlns:a16="http://schemas.microsoft.com/office/drawing/2014/main" id="{8C8C9E17-5906-4CF2-8294-4730AFFE67B1}"/>
              </a:ext>
            </a:extLst>
          </p:cNvPr>
          <p:cNvSpPr>
            <a:spLocks noGrp="1"/>
          </p:cNvSpPr>
          <p:nvPr>
            <p:ph type="body" sz="quarter" idx="19" hasCustomPrompt="1"/>
          </p:nvPr>
        </p:nvSpPr>
        <p:spPr>
          <a:xfrm>
            <a:off x="5961901" y="1104901"/>
            <a:ext cx="593415" cy="689175"/>
          </a:xfrm>
        </p:spPr>
        <p:txBody>
          <a:bodyPr anchor="ctr" anchorCtr="0">
            <a:noAutofit/>
          </a:bodyPr>
          <a:lstStyle>
            <a:lvl1pPr algn="r">
              <a:defRPr sz="3600" b="1">
                <a:latin typeface="+mj-lt"/>
              </a:defRPr>
            </a:lvl1pPr>
          </a:lstStyle>
          <a:p>
            <a:pPr lvl="0"/>
            <a:r>
              <a:rPr lang="fr-FR" dirty="0"/>
              <a:t>5</a:t>
            </a:r>
            <a:endParaRPr lang="en-GB" dirty="0"/>
          </a:p>
        </p:txBody>
      </p:sp>
      <p:sp>
        <p:nvSpPr>
          <p:cNvPr id="19" name="Espace réservé du texte 7">
            <a:extLst>
              <a:ext uri="{FF2B5EF4-FFF2-40B4-BE49-F238E27FC236}">
                <a16:creationId xmlns:a16="http://schemas.microsoft.com/office/drawing/2014/main" id="{6BC88C6A-B62E-4E4C-963C-A1CD87DCCD76}"/>
              </a:ext>
            </a:extLst>
          </p:cNvPr>
          <p:cNvSpPr>
            <a:spLocks noGrp="1"/>
          </p:cNvSpPr>
          <p:nvPr>
            <p:ph type="body" sz="quarter" idx="20" hasCustomPrompt="1"/>
          </p:nvPr>
        </p:nvSpPr>
        <p:spPr>
          <a:xfrm>
            <a:off x="6585794"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fth chapter</a:t>
            </a:r>
            <a:endParaRPr lang="fr-FR" dirty="0"/>
          </a:p>
        </p:txBody>
      </p:sp>
      <p:sp>
        <p:nvSpPr>
          <p:cNvPr id="20" name="Espace réservé du texte 3">
            <a:extLst>
              <a:ext uri="{FF2B5EF4-FFF2-40B4-BE49-F238E27FC236}">
                <a16:creationId xmlns:a16="http://schemas.microsoft.com/office/drawing/2014/main" id="{88F0C468-DD31-49F0-A3A5-29ACF01F68AA}"/>
              </a:ext>
            </a:extLst>
          </p:cNvPr>
          <p:cNvSpPr>
            <a:spLocks noGrp="1"/>
          </p:cNvSpPr>
          <p:nvPr>
            <p:ph type="body" sz="quarter" idx="21" hasCustomPrompt="1"/>
          </p:nvPr>
        </p:nvSpPr>
        <p:spPr>
          <a:xfrm>
            <a:off x="5961901" y="2016092"/>
            <a:ext cx="593415" cy="689175"/>
          </a:xfrm>
        </p:spPr>
        <p:txBody>
          <a:bodyPr anchor="ctr" anchorCtr="0">
            <a:noAutofit/>
          </a:bodyPr>
          <a:lstStyle>
            <a:lvl1pPr algn="r">
              <a:defRPr sz="3600" b="1">
                <a:latin typeface="+mj-lt"/>
              </a:defRPr>
            </a:lvl1pPr>
          </a:lstStyle>
          <a:p>
            <a:pPr lvl="0"/>
            <a:r>
              <a:rPr lang="fr-FR" dirty="0"/>
              <a:t>6</a:t>
            </a:r>
            <a:endParaRPr lang="en-GB" dirty="0"/>
          </a:p>
        </p:txBody>
      </p:sp>
      <p:sp>
        <p:nvSpPr>
          <p:cNvPr id="25" name="Espace réservé du texte 7">
            <a:extLst>
              <a:ext uri="{FF2B5EF4-FFF2-40B4-BE49-F238E27FC236}">
                <a16:creationId xmlns:a16="http://schemas.microsoft.com/office/drawing/2014/main" id="{373FFC4E-CC0C-45E8-A9F4-D8CEEF6BB7C1}"/>
              </a:ext>
            </a:extLst>
          </p:cNvPr>
          <p:cNvSpPr>
            <a:spLocks noGrp="1"/>
          </p:cNvSpPr>
          <p:nvPr>
            <p:ph type="body" sz="quarter" idx="22" hasCustomPrompt="1"/>
          </p:nvPr>
        </p:nvSpPr>
        <p:spPr>
          <a:xfrm>
            <a:off x="6585794"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ixth chapter</a:t>
            </a:r>
            <a:endParaRPr lang="fr-FR" dirty="0"/>
          </a:p>
        </p:txBody>
      </p:sp>
      <p:sp>
        <p:nvSpPr>
          <p:cNvPr id="26" name="Espace réservé du texte 3">
            <a:extLst>
              <a:ext uri="{FF2B5EF4-FFF2-40B4-BE49-F238E27FC236}">
                <a16:creationId xmlns:a16="http://schemas.microsoft.com/office/drawing/2014/main" id="{1938E8D1-6787-407C-AAE7-4E4DFEEC3CAB}"/>
              </a:ext>
            </a:extLst>
          </p:cNvPr>
          <p:cNvSpPr>
            <a:spLocks noGrp="1"/>
          </p:cNvSpPr>
          <p:nvPr>
            <p:ph type="body" sz="quarter" idx="23" hasCustomPrompt="1"/>
          </p:nvPr>
        </p:nvSpPr>
        <p:spPr>
          <a:xfrm>
            <a:off x="5961901" y="2927083"/>
            <a:ext cx="593415" cy="689175"/>
          </a:xfrm>
        </p:spPr>
        <p:txBody>
          <a:bodyPr anchor="ctr" anchorCtr="0">
            <a:noAutofit/>
          </a:bodyPr>
          <a:lstStyle>
            <a:lvl1pPr algn="r">
              <a:defRPr sz="3600" b="1">
                <a:latin typeface="+mj-lt"/>
              </a:defRPr>
            </a:lvl1pPr>
          </a:lstStyle>
          <a:p>
            <a:pPr lvl="0"/>
            <a:r>
              <a:rPr lang="fr-FR" dirty="0"/>
              <a:t>7</a:t>
            </a:r>
            <a:endParaRPr lang="en-GB" dirty="0"/>
          </a:p>
        </p:txBody>
      </p:sp>
      <p:sp>
        <p:nvSpPr>
          <p:cNvPr id="27" name="Espace réservé du texte 7">
            <a:extLst>
              <a:ext uri="{FF2B5EF4-FFF2-40B4-BE49-F238E27FC236}">
                <a16:creationId xmlns:a16="http://schemas.microsoft.com/office/drawing/2014/main" id="{1357C87F-8625-4D55-BAE7-D6A9FDDD340D}"/>
              </a:ext>
            </a:extLst>
          </p:cNvPr>
          <p:cNvSpPr>
            <a:spLocks noGrp="1"/>
          </p:cNvSpPr>
          <p:nvPr>
            <p:ph type="body" sz="quarter" idx="24" hasCustomPrompt="1"/>
          </p:nvPr>
        </p:nvSpPr>
        <p:spPr>
          <a:xfrm>
            <a:off x="6585794"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venth chapter</a:t>
            </a:r>
            <a:endParaRPr lang="fr-FR" dirty="0"/>
          </a:p>
        </p:txBody>
      </p:sp>
      <p:sp>
        <p:nvSpPr>
          <p:cNvPr id="28" name="Espace réservé du texte 3">
            <a:extLst>
              <a:ext uri="{FF2B5EF4-FFF2-40B4-BE49-F238E27FC236}">
                <a16:creationId xmlns:a16="http://schemas.microsoft.com/office/drawing/2014/main" id="{D89999BC-251E-4F61-9201-37E475009391}"/>
              </a:ext>
            </a:extLst>
          </p:cNvPr>
          <p:cNvSpPr>
            <a:spLocks noGrp="1"/>
          </p:cNvSpPr>
          <p:nvPr>
            <p:ph type="body" sz="quarter" idx="25" hasCustomPrompt="1"/>
          </p:nvPr>
        </p:nvSpPr>
        <p:spPr>
          <a:xfrm>
            <a:off x="5961901" y="3837872"/>
            <a:ext cx="593415" cy="689175"/>
          </a:xfrm>
        </p:spPr>
        <p:txBody>
          <a:bodyPr anchor="ctr" anchorCtr="0">
            <a:noAutofit/>
          </a:bodyPr>
          <a:lstStyle>
            <a:lvl1pPr algn="r">
              <a:defRPr sz="3600" b="1">
                <a:latin typeface="+mj-lt"/>
              </a:defRPr>
            </a:lvl1pPr>
          </a:lstStyle>
          <a:p>
            <a:pPr lvl="0"/>
            <a:r>
              <a:rPr lang="fr-FR" dirty="0"/>
              <a:t>8</a:t>
            </a:r>
            <a:endParaRPr lang="en-GB" dirty="0"/>
          </a:p>
        </p:txBody>
      </p:sp>
      <p:sp>
        <p:nvSpPr>
          <p:cNvPr id="29" name="Espace réservé du texte 7">
            <a:extLst>
              <a:ext uri="{FF2B5EF4-FFF2-40B4-BE49-F238E27FC236}">
                <a16:creationId xmlns:a16="http://schemas.microsoft.com/office/drawing/2014/main" id="{8D124088-5A10-4B10-8C05-A7342239E11E}"/>
              </a:ext>
            </a:extLst>
          </p:cNvPr>
          <p:cNvSpPr>
            <a:spLocks noGrp="1"/>
          </p:cNvSpPr>
          <p:nvPr>
            <p:ph type="body" sz="quarter" idx="26" hasCustomPrompt="1"/>
          </p:nvPr>
        </p:nvSpPr>
        <p:spPr>
          <a:xfrm>
            <a:off x="6585794"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eighth chapter</a:t>
            </a:r>
          </a:p>
        </p:txBody>
      </p:sp>
      <p:sp>
        <p:nvSpPr>
          <p:cNvPr id="32"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7"/>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33" name="Picture 32"/>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7937046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pter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3" name="Rectangle 2"/>
          <p:cNvSpPr/>
          <p:nvPr userDrawn="1"/>
        </p:nvSpPr>
        <p:spPr>
          <a:xfrm>
            <a:off x="252001" y="1"/>
            <a:ext cx="4584159" cy="5143499"/>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724722"/>
            <a:ext cx="3483710" cy="1694054"/>
          </a:xfrm>
        </p:spPr>
        <p:txBody>
          <a:bodyPr anchor="ctr"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5" name="Picture 14"/>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91870675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pter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724722"/>
            <a:ext cx="3483710" cy="1694054"/>
          </a:xfrm>
        </p:spPr>
        <p:txBody>
          <a:bodyPr anchor="ctr"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6" name="Espace réservé pour une image  15">
            <a:extLst>
              <a:ext uri="{FF2B5EF4-FFF2-40B4-BE49-F238E27FC236}">
                <a16:creationId xmlns:a16="http://schemas.microsoft.com/office/drawing/2014/main" id="{D287F594-9B00-4191-9FE6-F8D67CE6B450}"/>
              </a:ext>
            </a:extLst>
          </p:cNvPr>
          <p:cNvSpPr>
            <a:spLocks noGrp="1"/>
          </p:cNvSpPr>
          <p:nvPr>
            <p:ph type="pic" sz="quarter" idx="15"/>
          </p:nvPr>
        </p:nvSpPr>
        <p:spPr>
          <a:xfrm>
            <a:off x="252001" y="1"/>
            <a:ext cx="4584159" cy="5143499"/>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dirty="0"/>
          </a:p>
        </p:txBody>
      </p:sp>
      <p:sp>
        <p:nvSpPr>
          <p:cNvPr id="1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9" name="Picture 18"/>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8655190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pter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4" name="Rectangle 13"/>
          <p:cNvSpPr/>
          <p:nvPr userDrawn="1"/>
        </p:nvSpPr>
        <p:spPr>
          <a:xfrm>
            <a:off x="249380" y="2"/>
            <a:ext cx="4584159" cy="5143499"/>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104902"/>
            <a:ext cx="3483710" cy="1466849"/>
          </a:xfrm>
        </p:spPr>
        <p:txBody>
          <a:bodyPr anchor="b"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95ECD6B1-18BC-49BD-AB68-B94FB9080627}"/>
              </a:ext>
            </a:extLst>
          </p:cNvPr>
          <p:cNvSpPr>
            <a:spLocks noGrp="1"/>
          </p:cNvSpPr>
          <p:nvPr>
            <p:ph type="body" sz="quarter" idx="14" hasCustomPrompt="1"/>
          </p:nvPr>
        </p:nvSpPr>
        <p:spPr>
          <a:xfrm>
            <a:off x="5181601" y="2646547"/>
            <a:ext cx="3482975" cy="1466849"/>
          </a:xfrm>
        </p:spPr>
        <p:txBody>
          <a:bodyPr/>
          <a:lstStyle>
            <a:lvl1pPr>
              <a:lnSpc>
                <a:spcPct val="100000"/>
              </a:lnSpc>
              <a:defRPr sz="1200">
                <a:solidFill>
                  <a:schemeClr val="accent3"/>
                </a:solidFill>
                <a:latin typeface="+mn-lt"/>
              </a:defRPr>
            </a:lvl1pPr>
            <a:lvl2pPr>
              <a:defRPr sz="1200"/>
            </a:lvl2pPr>
            <a:lvl3pPr>
              <a:defRPr sz="1200"/>
            </a:lvl3pPr>
            <a:lvl4pPr>
              <a:defRPr sz="1200"/>
            </a:lvl4pPr>
            <a:lvl5pPr>
              <a:defRPr sz="1200"/>
            </a:lvl5pPr>
          </a:lstStyle>
          <a:p>
            <a:pPr lvl="0"/>
            <a:r>
              <a:rPr lang="en-US" dirty="0"/>
              <a:t>Enter the descriptive text of this chapter in a few lines.</a:t>
            </a:r>
          </a:p>
        </p:txBody>
      </p:sp>
      <p:pic>
        <p:nvPicPr>
          <p:cNvPr id="10" name="Image 9">
            <a:extLst>
              <a:ext uri="{FF2B5EF4-FFF2-40B4-BE49-F238E27FC236}">
                <a16:creationId xmlns:a16="http://schemas.microsoft.com/office/drawing/2014/main" id="{96EF3A9A-11C3-4EF9-A56A-24CF7C103A6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280931" y="4666659"/>
            <a:ext cx="738761" cy="382981"/>
          </a:xfrm>
          <a:prstGeom prst="rect">
            <a:avLst/>
          </a:prstGeom>
        </p:spPr>
      </p:pic>
      <p:sp>
        <p:nvSpPr>
          <p:cNvPr id="15" name="TextBox 14"/>
          <p:cNvSpPr txBox="1"/>
          <p:nvPr userDrawn="1"/>
        </p:nvSpPr>
        <p:spPr>
          <a:xfrm>
            <a:off x="1" y="4622110"/>
            <a:ext cx="876299" cy="523220"/>
          </a:xfrm>
          <a:prstGeom prst="rect">
            <a:avLst/>
          </a:prstGeom>
          <a:solidFill>
            <a:schemeClr val="bg1"/>
          </a:solidFill>
        </p:spPr>
        <p:txBody>
          <a:bodyPr wrap="square" rtlCol="0">
            <a:spAutoFit/>
          </a:bodyPr>
          <a:lstStyle/>
          <a:p>
            <a:endParaRPr lang="fr-FR" sz="1000" dirty="0"/>
          </a:p>
          <a:p>
            <a:endParaRPr lang="fr-FR" sz="1800" dirty="0"/>
          </a:p>
        </p:txBody>
      </p:sp>
      <p:sp>
        <p:nvSpPr>
          <p:cNvPr id="16" name="TextBox 15"/>
          <p:cNvSpPr txBox="1"/>
          <p:nvPr userDrawn="1"/>
        </p:nvSpPr>
        <p:spPr>
          <a:xfrm>
            <a:off x="876300" y="4612585"/>
            <a:ext cx="6982582"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21" name="Picture 20"/>
          <p:cNvPicPr>
            <a:picLocks noChangeAspect="1"/>
          </p:cNvPicPr>
          <p:nvPr userDrawn="1"/>
        </p:nvPicPr>
        <p:blipFill>
          <a:blip r:embed="rId4"/>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006847449"/>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apter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7695"/>
            <a:ext cx="9132811" cy="5158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104902"/>
            <a:ext cx="3483710" cy="1466849"/>
          </a:xfrm>
        </p:spPr>
        <p:txBody>
          <a:bodyPr anchor="b"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95ECD6B1-18BC-49BD-AB68-B94FB9080627}"/>
              </a:ext>
            </a:extLst>
          </p:cNvPr>
          <p:cNvSpPr>
            <a:spLocks noGrp="1"/>
          </p:cNvSpPr>
          <p:nvPr>
            <p:ph type="body" sz="quarter" idx="14" hasCustomPrompt="1"/>
          </p:nvPr>
        </p:nvSpPr>
        <p:spPr>
          <a:xfrm>
            <a:off x="5181601" y="2646547"/>
            <a:ext cx="3482975" cy="1466849"/>
          </a:xfrm>
        </p:spPr>
        <p:txBody>
          <a:bodyPr/>
          <a:lstStyle>
            <a:lvl1pPr>
              <a:lnSpc>
                <a:spcPct val="100000"/>
              </a:lnSpc>
              <a:defRPr sz="1200">
                <a:solidFill>
                  <a:schemeClr val="accent3"/>
                </a:solidFill>
                <a:latin typeface="+mn-lt"/>
              </a:defRPr>
            </a:lvl1pPr>
            <a:lvl2pPr>
              <a:defRPr sz="1200"/>
            </a:lvl2pPr>
            <a:lvl3pPr>
              <a:defRPr sz="1200"/>
            </a:lvl3pPr>
            <a:lvl4pPr>
              <a:defRPr sz="1200"/>
            </a:lvl4pPr>
            <a:lvl5pPr>
              <a:defRPr sz="1200"/>
            </a:lvl5pPr>
          </a:lstStyle>
          <a:p>
            <a:pPr lvl="0"/>
            <a:r>
              <a:rPr lang="en-US" dirty="0"/>
              <a:t>Enter the descriptive text of this chapter in a few lines.</a:t>
            </a:r>
          </a:p>
        </p:txBody>
      </p:sp>
      <p:pic>
        <p:nvPicPr>
          <p:cNvPr id="10" name="Image 9">
            <a:extLst>
              <a:ext uri="{FF2B5EF4-FFF2-40B4-BE49-F238E27FC236}">
                <a16:creationId xmlns:a16="http://schemas.microsoft.com/office/drawing/2014/main" id="{96EF3A9A-11C3-4EF9-A56A-24CF7C103A6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280931" y="4666659"/>
            <a:ext cx="738761" cy="382981"/>
          </a:xfrm>
          <a:prstGeom prst="rect">
            <a:avLst/>
          </a:prstGeom>
        </p:spPr>
      </p:pic>
      <p:sp>
        <p:nvSpPr>
          <p:cNvPr id="12" name="Espace réservé pour une image  15">
            <a:extLst>
              <a:ext uri="{FF2B5EF4-FFF2-40B4-BE49-F238E27FC236}">
                <a16:creationId xmlns:a16="http://schemas.microsoft.com/office/drawing/2014/main" id="{77B9D155-BEF3-4A83-9AB0-980096AABFEC}"/>
              </a:ext>
            </a:extLst>
          </p:cNvPr>
          <p:cNvSpPr>
            <a:spLocks noGrp="1"/>
          </p:cNvSpPr>
          <p:nvPr>
            <p:ph type="pic" sz="quarter" idx="15"/>
          </p:nvPr>
        </p:nvSpPr>
        <p:spPr>
          <a:xfrm>
            <a:off x="252001" y="1"/>
            <a:ext cx="4584159" cy="5143499"/>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dirty="0"/>
          </a:p>
        </p:txBody>
      </p:sp>
      <p:sp>
        <p:nvSpPr>
          <p:cNvPr id="15" name="TextBox 14"/>
          <p:cNvSpPr txBox="1"/>
          <p:nvPr userDrawn="1"/>
        </p:nvSpPr>
        <p:spPr>
          <a:xfrm>
            <a:off x="1" y="4622110"/>
            <a:ext cx="876299" cy="523220"/>
          </a:xfrm>
          <a:prstGeom prst="rect">
            <a:avLst/>
          </a:prstGeom>
          <a:solidFill>
            <a:schemeClr val="bg1"/>
          </a:solidFill>
        </p:spPr>
        <p:txBody>
          <a:bodyPr wrap="square" rtlCol="0">
            <a:spAutoFit/>
          </a:bodyPr>
          <a:lstStyle/>
          <a:p>
            <a:endParaRPr lang="fr-FR" sz="1000" dirty="0"/>
          </a:p>
          <a:p>
            <a:endParaRPr lang="fr-FR" sz="1800" dirty="0"/>
          </a:p>
        </p:txBody>
      </p:sp>
      <p:sp>
        <p:nvSpPr>
          <p:cNvPr id="16" name="TextBox 15"/>
          <p:cNvSpPr txBox="1"/>
          <p:nvPr userDrawn="1"/>
        </p:nvSpPr>
        <p:spPr>
          <a:xfrm>
            <a:off x="876300" y="4612585"/>
            <a:ext cx="6982582"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9"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20" name="Picture 19"/>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77946138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7997742" cy="3240000"/>
          </a:xfrm>
        </p:spPr>
        <p:txBody>
          <a:bodyPr>
            <a:noAutofit/>
          </a:bodyPr>
          <a:lstStyle>
            <a:lvl1pPr>
              <a:defRPr lang="en-US" b="0" i="0" smtClean="0">
                <a:effectLs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8" name="TextBox 7"/>
          <p:cNvSpPr txBox="1"/>
          <p:nvPr userDrawn="1"/>
        </p:nvSpPr>
        <p:spPr>
          <a:xfrm>
            <a:off x="0" y="4622110"/>
            <a:ext cx="876300" cy="523220"/>
          </a:xfrm>
          <a:prstGeom prst="rect">
            <a:avLst/>
          </a:prstGeom>
          <a:solidFill>
            <a:schemeClr val="bg1"/>
          </a:solidFill>
        </p:spPr>
        <p:txBody>
          <a:bodyPr wrap="square" rtlCol="0">
            <a:spAutoFit/>
          </a:bodyPr>
          <a:lstStyle/>
          <a:p>
            <a:endParaRPr lang="fr-FR" sz="1000" dirty="0"/>
          </a:p>
          <a:p>
            <a:endParaRPr lang="fr-FR" sz="1800" dirty="0"/>
          </a:p>
        </p:txBody>
      </p:sp>
      <p:sp>
        <p:nvSpPr>
          <p:cNvPr id="9" name="TextBox 8"/>
          <p:cNvSpPr txBox="1"/>
          <p:nvPr userDrawn="1"/>
        </p:nvSpPr>
        <p:spPr>
          <a:xfrm>
            <a:off x="876300" y="4612585"/>
            <a:ext cx="7012328"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1"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2" name="Picture 11"/>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7209854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7"/>
            <a:ext cx="7997742" cy="424732"/>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7997742"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du texte 8">
            <a:extLst>
              <a:ext uri="{FF2B5EF4-FFF2-40B4-BE49-F238E27FC236}">
                <a16:creationId xmlns:a16="http://schemas.microsoft.com/office/drawing/2014/main" id="{50EF4B05-A641-4213-BED2-B2F8243CFA25}"/>
              </a:ext>
            </a:extLst>
          </p:cNvPr>
          <p:cNvSpPr>
            <a:spLocks noGrp="1"/>
          </p:cNvSpPr>
          <p:nvPr>
            <p:ph type="body" sz="quarter" idx="13"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0" name="TextBox 9"/>
          <p:cNvSpPr txBox="1"/>
          <p:nvPr userDrawn="1"/>
        </p:nvSpPr>
        <p:spPr>
          <a:xfrm>
            <a:off x="60961" y="4612585"/>
            <a:ext cx="815339" cy="523220"/>
          </a:xfrm>
          <a:prstGeom prst="rect">
            <a:avLst/>
          </a:prstGeom>
          <a:solidFill>
            <a:schemeClr val="bg1"/>
          </a:solidFill>
        </p:spPr>
        <p:txBody>
          <a:bodyPr wrap="square" rtlCol="0">
            <a:spAutoFit/>
          </a:bodyPr>
          <a:lstStyle/>
          <a:p>
            <a:endParaRPr lang="fr-FR" sz="1000" dirty="0"/>
          </a:p>
          <a:p>
            <a:endParaRPr lang="fr-FR" sz="1800" dirty="0"/>
          </a:p>
        </p:txBody>
      </p:sp>
      <p:sp>
        <p:nvSpPr>
          <p:cNvPr id="16"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7" name="Picture 16"/>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2180758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_3">
    <p:spTree>
      <p:nvGrpSpPr>
        <p:cNvPr id="1" name=""/>
        <p:cNvGrpSpPr/>
        <p:nvPr/>
      </p:nvGrpSpPr>
      <p:grpSpPr>
        <a:xfrm>
          <a:off x="0" y="0"/>
          <a:ext cx="0" cy="0"/>
          <a:chOff x="0" y="0"/>
          <a:chExt cx="0" cy="0"/>
        </a:xfrm>
      </p:grpSpPr>
      <p:sp>
        <p:nvSpPr>
          <p:cNvPr id="7" name="Rectangle 6"/>
          <p:cNvSpPr/>
          <p:nvPr userDrawn="1"/>
        </p:nvSpPr>
        <p:spPr>
          <a:xfrm>
            <a:off x="5985791" y="0"/>
            <a:ext cx="2621973" cy="51435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824594"/>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64509516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824594"/>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pour une image  8">
            <a:extLst>
              <a:ext uri="{FF2B5EF4-FFF2-40B4-BE49-F238E27FC236}">
                <a16:creationId xmlns:a16="http://schemas.microsoft.com/office/drawing/2014/main" id="{175D6BA6-64F5-4D9C-84B9-AF8F4AAB8735}"/>
              </a:ext>
            </a:extLst>
          </p:cNvPr>
          <p:cNvSpPr>
            <a:spLocks noGrp="1"/>
          </p:cNvSpPr>
          <p:nvPr>
            <p:ph type="pic" sz="quarter" idx="13"/>
          </p:nvPr>
        </p:nvSpPr>
        <p:spPr>
          <a:xfrm>
            <a:off x="5992143" y="7693"/>
            <a:ext cx="2520950" cy="5143500"/>
          </a:xfrm>
        </p:spPr>
        <p:txBody>
          <a:bodyPr/>
          <a:lstStyle>
            <a:lvl1pPr>
              <a:defRPr b="1">
                <a:solidFill>
                  <a:schemeClr val="bg2"/>
                </a:solidFill>
              </a:defRPr>
            </a:lvl1pPr>
          </a:lstStyle>
          <a:p>
            <a:endParaRPr lang="en-GB" dirty="0"/>
          </a:p>
        </p:txBody>
      </p:sp>
      <p:sp>
        <p:nvSpPr>
          <p:cNvPr id="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1765894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14" name="Rectangle 13"/>
          <p:cNvSpPr/>
          <p:nvPr userDrawn="1"/>
        </p:nvSpPr>
        <p:spPr>
          <a:xfrm>
            <a:off x="249380" y="1"/>
            <a:ext cx="4584159" cy="5143499"/>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0"/>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0" y="1104901"/>
            <a:ext cx="3483710" cy="1466849"/>
          </a:xfrm>
        </p:spPr>
        <p:txBody>
          <a:bodyPr anchor="b"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4" name="Espace réservé du texte 3">
            <a:extLst>
              <a:ext uri="{FF2B5EF4-FFF2-40B4-BE49-F238E27FC236}">
                <a16:creationId xmlns:a16="http://schemas.microsoft.com/office/drawing/2014/main" id="{95ECD6B1-18BC-49BD-AB68-B94FB9080627}"/>
              </a:ext>
            </a:extLst>
          </p:cNvPr>
          <p:cNvSpPr>
            <a:spLocks noGrp="1"/>
          </p:cNvSpPr>
          <p:nvPr>
            <p:ph type="body" sz="quarter" idx="14" hasCustomPrompt="1"/>
          </p:nvPr>
        </p:nvSpPr>
        <p:spPr>
          <a:xfrm>
            <a:off x="5181600" y="2646546"/>
            <a:ext cx="3482975" cy="1466849"/>
          </a:xfrm>
        </p:spPr>
        <p:txBody>
          <a:bodyPr/>
          <a:lstStyle>
            <a:lvl1pPr>
              <a:lnSpc>
                <a:spcPct val="100000"/>
              </a:lnSpc>
              <a:defRPr sz="1200">
                <a:solidFill>
                  <a:schemeClr val="accent3"/>
                </a:solidFill>
                <a:latin typeface="+mn-lt"/>
              </a:defRPr>
            </a:lvl1pPr>
            <a:lvl2pPr>
              <a:defRPr sz="1200"/>
            </a:lvl2pPr>
            <a:lvl3pPr>
              <a:defRPr sz="1200"/>
            </a:lvl3pPr>
            <a:lvl4pPr>
              <a:defRPr sz="1200"/>
            </a:lvl4pPr>
            <a:lvl5pPr>
              <a:defRPr sz="1200"/>
            </a:lvl5pPr>
          </a:lstStyle>
          <a:p>
            <a:pPr lvl="0"/>
            <a:r>
              <a:rPr lang="en-US" dirty="0"/>
              <a:t>Enter the descriptive text of this chapter in a few lines.</a:t>
            </a:r>
          </a:p>
        </p:txBody>
      </p:sp>
      <p:pic>
        <p:nvPicPr>
          <p:cNvPr id="10" name="Image 9">
            <a:extLst>
              <a:ext uri="{FF2B5EF4-FFF2-40B4-BE49-F238E27FC236}">
                <a16:creationId xmlns:a16="http://schemas.microsoft.com/office/drawing/2014/main" id="{96EF3A9A-11C3-4EF9-A56A-24CF7C103A6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280930" y="4666658"/>
            <a:ext cx="738761" cy="382981"/>
          </a:xfrm>
          <a:prstGeom prst="rect">
            <a:avLst/>
          </a:prstGeom>
        </p:spPr>
      </p:pic>
      <p:sp>
        <p:nvSpPr>
          <p:cNvPr id="15" name="TextBox 14"/>
          <p:cNvSpPr txBox="1"/>
          <p:nvPr userDrawn="1"/>
        </p:nvSpPr>
        <p:spPr>
          <a:xfrm>
            <a:off x="0" y="4622110"/>
            <a:ext cx="876299" cy="530915"/>
          </a:xfrm>
          <a:prstGeom prst="rect">
            <a:avLst/>
          </a:prstGeom>
          <a:solidFill>
            <a:schemeClr val="bg1"/>
          </a:solidFill>
        </p:spPr>
        <p:txBody>
          <a:bodyPr wrap="square" rtlCol="0">
            <a:spAutoFit/>
          </a:bodyPr>
          <a:lstStyle/>
          <a:p>
            <a:endParaRPr lang="fr-FR" sz="1000" dirty="0"/>
          </a:p>
          <a:p>
            <a:endParaRPr lang="fr-FR" dirty="0"/>
          </a:p>
        </p:txBody>
      </p:sp>
      <p:sp>
        <p:nvSpPr>
          <p:cNvPr id="16" name="TextBox 15"/>
          <p:cNvSpPr txBox="1"/>
          <p:nvPr userDrawn="1"/>
        </p:nvSpPr>
        <p:spPr>
          <a:xfrm>
            <a:off x="876299" y="4612585"/>
            <a:ext cx="6982582" cy="538609"/>
          </a:xfrm>
          <a:prstGeom prst="rect">
            <a:avLst/>
          </a:prstGeom>
          <a:solidFill>
            <a:schemeClr val="bg1"/>
          </a:solidFill>
        </p:spPr>
        <p:txBody>
          <a:bodyPr wrap="square" rtlCol="0">
            <a:spAutoFit/>
          </a:bodyPr>
          <a:lstStyle/>
          <a:p>
            <a:endParaRPr lang="fr-FR" sz="400" dirty="0"/>
          </a:p>
          <a:p>
            <a:endParaRPr lang="fr-FR" sz="600" dirty="0"/>
          </a:p>
          <a:p>
            <a:endParaRPr lang="en-US" dirty="0"/>
          </a:p>
        </p:txBody>
      </p:sp>
      <p:sp>
        <p:nvSpPr>
          <p:cNvPr id="1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21" name="Picture 20"/>
          <p:cNvPicPr>
            <a:picLocks noChangeAspect="1"/>
          </p:cNvPicPr>
          <p:nvPr userDrawn="1"/>
        </p:nvPicPr>
        <p:blipFill>
          <a:blip r:embed="rId4"/>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21556668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_5">
    <p:spTree>
      <p:nvGrpSpPr>
        <p:cNvPr id="1" name=""/>
        <p:cNvGrpSpPr/>
        <p:nvPr/>
      </p:nvGrpSpPr>
      <p:grpSpPr>
        <a:xfrm>
          <a:off x="0" y="0"/>
          <a:ext cx="0" cy="0"/>
          <a:chOff x="0" y="0"/>
          <a:chExt cx="0" cy="0"/>
        </a:xfrm>
      </p:grpSpPr>
      <p:sp>
        <p:nvSpPr>
          <p:cNvPr id="10" name="Rectangle 9"/>
          <p:cNvSpPr/>
          <p:nvPr userDrawn="1"/>
        </p:nvSpPr>
        <p:spPr>
          <a:xfrm>
            <a:off x="5985791" y="0"/>
            <a:ext cx="2621973" cy="51435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7"/>
            <a:ext cx="5202000" cy="424733"/>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spcBef>
                <a:spcPts val="500"/>
              </a:spcBef>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6" name="Espace réservé du numéro de diapositive 5">
            <a:extLst>
              <a:ext uri="{FF2B5EF4-FFF2-40B4-BE49-F238E27FC236}">
                <a16:creationId xmlns:a16="http://schemas.microsoft.com/office/drawing/2014/main" id="{4708F2AE-7607-473E-97E5-003C4759704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a:p>
        </p:txBody>
      </p:sp>
      <p:sp>
        <p:nvSpPr>
          <p:cNvPr id="8" name="Espace réservé du texte 8">
            <a:extLst>
              <a:ext uri="{FF2B5EF4-FFF2-40B4-BE49-F238E27FC236}">
                <a16:creationId xmlns:a16="http://schemas.microsoft.com/office/drawing/2014/main" id="{BA2C6807-1B7A-4C3F-85F1-E39AC857CAB7}"/>
              </a:ext>
            </a:extLst>
          </p:cNvPr>
          <p:cNvSpPr>
            <a:spLocks noGrp="1"/>
          </p:cNvSpPr>
          <p:nvPr>
            <p:ph type="body" sz="quarter" idx="14" hasCustomPrompt="1"/>
          </p:nvPr>
        </p:nvSpPr>
        <p:spPr>
          <a:xfrm>
            <a:off x="517608" y="523146"/>
            <a:ext cx="5202000"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Tree>
    <p:extLst>
      <p:ext uri="{BB962C8B-B14F-4D97-AF65-F5344CB8AC3E}">
        <p14:creationId xmlns:p14="http://schemas.microsoft.com/office/powerpoint/2010/main" val="16121061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_6">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7"/>
            <a:ext cx="5202000" cy="424733"/>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spcBef>
                <a:spcPts val="500"/>
              </a:spcBef>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pour une image  8">
            <a:extLst>
              <a:ext uri="{FF2B5EF4-FFF2-40B4-BE49-F238E27FC236}">
                <a16:creationId xmlns:a16="http://schemas.microsoft.com/office/drawing/2014/main" id="{175D6BA6-64F5-4D9C-84B9-AF8F4AAB8735}"/>
              </a:ext>
            </a:extLst>
          </p:cNvPr>
          <p:cNvSpPr>
            <a:spLocks noGrp="1"/>
          </p:cNvSpPr>
          <p:nvPr>
            <p:ph type="pic" sz="quarter" idx="13"/>
          </p:nvPr>
        </p:nvSpPr>
        <p:spPr>
          <a:xfrm>
            <a:off x="5985793" y="0"/>
            <a:ext cx="2520950" cy="5143500"/>
          </a:xfrm>
        </p:spPr>
        <p:txBody>
          <a:bodyPr/>
          <a:lstStyle>
            <a:lvl1pPr>
              <a:defRPr b="1">
                <a:solidFill>
                  <a:schemeClr val="bg2"/>
                </a:solidFill>
              </a:defRPr>
            </a:lvl1pPr>
          </a:lstStyle>
          <a:p>
            <a:endParaRPr lang="en-GB" dirty="0"/>
          </a:p>
        </p:txBody>
      </p:sp>
      <p:sp>
        <p:nvSpPr>
          <p:cNvPr id="8" name="Espace réservé du texte 8">
            <a:extLst>
              <a:ext uri="{FF2B5EF4-FFF2-40B4-BE49-F238E27FC236}">
                <a16:creationId xmlns:a16="http://schemas.microsoft.com/office/drawing/2014/main" id="{BA2C6807-1B7A-4C3F-85F1-E39AC857CAB7}"/>
              </a:ext>
            </a:extLst>
          </p:cNvPr>
          <p:cNvSpPr>
            <a:spLocks noGrp="1"/>
          </p:cNvSpPr>
          <p:nvPr>
            <p:ph type="body" sz="quarter" idx="14" hasCustomPrompt="1"/>
          </p:nvPr>
        </p:nvSpPr>
        <p:spPr>
          <a:xfrm>
            <a:off x="517608" y="523146"/>
            <a:ext cx="5202000"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5277979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8" name="TextBox 7"/>
          <p:cNvSpPr txBox="1"/>
          <p:nvPr userDrawn="1"/>
        </p:nvSpPr>
        <p:spPr>
          <a:xfrm>
            <a:off x="60961" y="4620278"/>
            <a:ext cx="815339" cy="523220"/>
          </a:xfrm>
          <a:prstGeom prst="rect">
            <a:avLst/>
          </a:prstGeom>
          <a:solidFill>
            <a:schemeClr val="bg1"/>
          </a:solidFill>
        </p:spPr>
        <p:txBody>
          <a:bodyPr wrap="square" rtlCol="0">
            <a:spAutoFit/>
          </a:bodyPr>
          <a:lstStyle/>
          <a:p>
            <a:endParaRPr lang="fr-FR" sz="1000" dirty="0"/>
          </a:p>
          <a:p>
            <a:endParaRPr lang="fr-FR" sz="1800" dirty="0"/>
          </a:p>
        </p:txBody>
      </p:sp>
      <p:sp>
        <p:nvSpPr>
          <p:cNvPr id="9" name="TextBox 8"/>
          <p:cNvSpPr txBox="1"/>
          <p:nvPr userDrawn="1"/>
        </p:nvSpPr>
        <p:spPr>
          <a:xfrm>
            <a:off x="876300" y="4612585"/>
            <a:ext cx="7012328"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1" name="Picture 10"/>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9206447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_7">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09"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2" name="Espace réservé du texte 10">
            <a:extLst>
              <a:ext uri="{FF2B5EF4-FFF2-40B4-BE49-F238E27FC236}">
                <a16:creationId xmlns:a16="http://schemas.microsoft.com/office/drawing/2014/main" id="{3F288438-6568-4129-AFEC-A45C6AF8B116}"/>
              </a:ext>
            </a:extLst>
          </p:cNvPr>
          <p:cNvSpPr>
            <a:spLocks noGrp="1"/>
          </p:cNvSpPr>
          <p:nvPr>
            <p:ph type="body" sz="quarter" idx="17" hasCustomPrompt="1"/>
          </p:nvPr>
        </p:nvSpPr>
        <p:spPr>
          <a:xfrm>
            <a:off x="3332045"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10">
            <a:extLst>
              <a:ext uri="{FF2B5EF4-FFF2-40B4-BE49-F238E27FC236}">
                <a16:creationId xmlns:a16="http://schemas.microsoft.com/office/drawing/2014/main" id="{6E7B0411-6395-42FD-95F1-E02232864B3D}"/>
              </a:ext>
            </a:extLst>
          </p:cNvPr>
          <p:cNvSpPr>
            <a:spLocks noGrp="1"/>
          </p:cNvSpPr>
          <p:nvPr>
            <p:ph type="body" sz="quarter" idx="18" hasCustomPrompt="1"/>
          </p:nvPr>
        </p:nvSpPr>
        <p:spPr>
          <a:xfrm>
            <a:off x="6146482"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pour une image  9"/>
          <p:cNvSpPr>
            <a:spLocks noGrp="1"/>
          </p:cNvSpPr>
          <p:nvPr>
            <p:ph type="pic" sz="quarter" idx="19"/>
          </p:nvPr>
        </p:nvSpPr>
        <p:spPr>
          <a:xfrm>
            <a:off x="517609" y="1416238"/>
            <a:ext cx="654050" cy="631825"/>
          </a:xfrm>
        </p:spPr>
        <p:txBody>
          <a:bodyPr/>
          <a:lstStyle>
            <a:lvl1pPr>
              <a:defRPr b="1">
                <a:solidFill>
                  <a:schemeClr val="bg2"/>
                </a:solidFill>
              </a:defRPr>
            </a:lvl1pPr>
          </a:lstStyle>
          <a:p>
            <a:endParaRPr lang="fr-FR" dirty="0"/>
          </a:p>
        </p:txBody>
      </p:sp>
      <p:sp>
        <p:nvSpPr>
          <p:cNvPr id="14" name="Espace réservé pour une image  9"/>
          <p:cNvSpPr>
            <a:spLocks noGrp="1"/>
          </p:cNvSpPr>
          <p:nvPr>
            <p:ph type="pic" sz="quarter" idx="20"/>
          </p:nvPr>
        </p:nvSpPr>
        <p:spPr>
          <a:xfrm>
            <a:off x="3332044" y="1410075"/>
            <a:ext cx="654050" cy="631825"/>
          </a:xfrm>
        </p:spPr>
        <p:txBody>
          <a:bodyPr/>
          <a:lstStyle>
            <a:lvl1pPr>
              <a:defRPr b="1">
                <a:solidFill>
                  <a:schemeClr val="bg2"/>
                </a:solidFill>
              </a:defRPr>
            </a:lvl1pPr>
          </a:lstStyle>
          <a:p>
            <a:endParaRPr lang="fr-FR" dirty="0"/>
          </a:p>
        </p:txBody>
      </p:sp>
      <p:sp>
        <p:nvSpPr>
          <p:cNvPr id="15" name="Espace réservé pour une image  9"/>
          <p:cNvSpPr>
            <a:spLocks noGrp="1"/>
          </p:cNvSpPr>
          <p:nvPr>
            <p:ph type="pic" sz="quarter" idx="21"/>
          </p:nvPr>
        </p:nvSpPr>
        <p:spPr>
          <a:xfrm>
            <a:off x="6146481" y="1405005"/>
            <a:ext cx="654050" cy="631825"/>
          </a:xfrm>
        </p:spPr>
        <p:txBody>
          <a:bodyPr/>
          <a:lstStyle>
            <a:lvl1pPr>
              <a:defRPr b="1">
                <a:solidFill>
                  <a:schemeClr val="bg2"/>
                </a:solidFill>
              </a:defRPr>
            </a:lvl1pPr>
          </a:lstStyle>
          <a:p>
            <a:endParaRPr lang="fr-FR" dirty="0"/>
          </a:p>
        </p:txBody>
      </p:sp>
      <p:sp>
        <p:nvSpPr>
          <p:cNvPr id="16"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2"/>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37400483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_8">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73627"/>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4" name="Espace réservé du texte 8">
            <a:extLst>
              <a:ext uri="{FF2B5EF4-FFF2-40B4-BE49-F238E27FC236}">
                <a16:creationId xmlns:a16="http://schemas.microsoft.com/office/drawing/2014/main" id="{18A0D1FC-C71E-45A6-9B74-BD3AE833B0BB}"/>
              </a:ext>
            </a:extLst>
          </p:cNvPr>
          <p:cNvSpPr>
            <a:spLocks noGrp="1"/>
          </p:cNvSpPr>
          <p:nvPr>
            <p:ph type="body" sz="quarter" idx="19"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21" name="Espace réservé du texte 10">
            <a:extLst>
              <a:ext uri="{FF2B5EF4-FFF2-40B4-BE49-F238E27FC236}">
                <a16:creationId xmlns:a16="http://schemas.microsoft.com/office/drawing/2014/main" id="{09E85E61-A3D4-4628-A6F0-EC9023CAFCF5}"/>
              </a:ext>
            </a:extLst>
          </p:cNvPr>
          <p:cNvSpPr>
            <a:spLocks noGrp="1"/>
          </p:cNvSpPr>
          <p:nvPr>
            <p:ph type="body" sz="quarter" idx="16" hasCustomPrompt="1"/>
          </p:nvPr>
        </p:nvSpPr>
        <p:spPr>
          <a:xfrm>
            <a:off x="517609"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2" name="Espace réservé du texte 10">
            <a:extLst>
              <a:ext uri="{FF2B5EF4-FFF2-40B4-BE49-F238E27FC236}">
                <a16:creationId xmlns:a16="http://schemas.microsoft.com/office/drawing/2014/main" id="{5C1EBBD4-A615-4893-9F04-99AE2CBB30EC}"/>
              </a:ext>
            </a:extLst>
          </p:cNvPr>
          <p:cNvSpPr>
            <a:spLocks noGrp="1"/>
          </p:cNvSpPr>
          <p:nvPr>
            <p:ph type="body" sz="quarter" idx="17" hasCustomPrompt="1"/>
          </p:nvPr>
        </p:nvSpPr>
        <p:spPr>
          <a:xfrm>
            <a:off x="3332045"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10">
            <a:extLst>
              <a:ext uri="{FF2B5EF4-FFF2-40B4-BE49-F238E27FC236}">
                <a16:creationId xmlns:a16="http://schemas.microsoft.com/office/drawing/2014/main" id="{124CD343-3513-4F06-BFC3-7441F2D45867}"/>
              </a:ext>
            </a:extLst>
          </p:cNvPr>
          <p:cNvSpPr>
            <a:spLocks noGrp="1"/>
          </p:cNvSpPr>
          <p:nvPr>
            <p:ph type="body" sz="quarter" idx="18" hasCustomPrompt="1"/>
          </p:nvPr>
        </p:nvSpPr>
        <p:spPr>
          <a:xfrm>
            <a:off x="6146482"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pour une image  9"/>
          <p:cNvSpPr>
            <a:spLocks noGrp="1"/>
          </p:cNvSpPr>
          <p:nvPr>
            <p:ph type="pic" sz="quarter" idx="20" hasCustomPrompt="1"/>
          </p:nvPr>
        </p:nvSpPr>
        <p:spPr>
          <a:xfrm>
            <a:off x="517609" y="1432561"/>
            <a:ext cx="654050" cy="631825"/>
          </a:xfrm>
        </p:spPr>
        <p:txBody>
          <a:bodyPr/>
          <a:lstStyle>
            <a:lvl1pPr>
              <a:defRPr b="1">
                <a:solidFill>
                  <a:schemeClr val="bg2"/>
                </a:solidFill>
              </a:defRPr>
            </a:lvl1pPr>
          </a:lstStyle>
          <a:p>
            <a:r>
              <a:rPr lang="fr-FR" dirty="0" err="1"/>
              <a:t>Picto</a:t>
            </a:r>
            <a:endParaRPr lang="fr-FR" dirty="0"/>
          </a:p>
        </p:txBody>
      </p:sp>
      <p:sp>
        <p:nvSpPr>
          <p:cNvPr id="15" name="Espace réservé pour une image  9"/>
          <p:cNvSpPr>
            <a:spLocks noGrp="1"/>
          </p:cNvSpPr>
          <p:nvPr>
            <p:ph type="pic" sz="quarter" idx="21" hasCustomPrompt="1"/>
          </p:nvPr>
        </p:nvSpPr>
        <p:spPr>
          <a:xfrm>
            <a:off x="3332044" y="1432561"/>
            <a:ext cx="654050" cy="631825"/>
          </a:xfrm>
        </p:spPr>
        <p:txBody>
          <a:bodyPr/>
          <a:lstStyle>
            <a:lvl1pPr>
              <a:defRPr b="1">
                <a:solidFill>
                  <a:schemeClr val="bg2"/>
                </a:solidFill>
              </a:defRPr>
            </a:lvl1pPr>
          </a:lstStyle>
          <a:p>
            <a:r>
              <a:rPr lang="fr-FR" dirty="0" err="1"/>
              <a:t>Picto</a:t>
            </a:r>
            <a:endParaRPr lang="fr-FR" dirty="0"/>
          </a:p>
        </p:txBody>
      </p:sp>
      <p:sp>
        <p:nvSpPr>
          <p:cNvPr id="16" name="Espace réservé pour une image  9"/>
          <p:cNvSpPr>
            <a:spLocks noGrp="1"/>
          </p:cNvSpPr>
          <p:nvPr>
            <p:ph type="pic" sz="quarter" idx="22" hasCustomPrompt="1"/>
          </p:nvPr>
        </p:nvSpPr>
        <p:spPr>
          <a:xfrm>
            <a:off x="6140692" y="1432560"/>
            <a:ext cx="654050" cy="631825"/>
          </a:xfrm>
        </p:spPr>
        <p:txBody>
          <a:bodyPr/>
          <a:lstStyle>
            <a:lvl1pPr>
              <a:defRPr b="1">
                <a:solidFill>
                  <a:schemeClr val="bg2"/>
                </a:solidFill>
              </a:defRPr>
            </a:lvl1pPr>
          </a:lstStyle>
          <a:p>
            <a:r>
              <a:rPr lang="fr-FR" dirty="0" err="1"/>
              <a:t>Picto</a:t>
            </a:r>
            <a:endParaRPr lang="fr-FR" dirty="0"/>
          </a:p>
        </p:txBody>
      </p:sp>
      <p:sp>
        <p:nvSpPr>
          <p:cNvPr id="17"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3"/>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4776698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_9">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18" name="Espace réservé du texte 10">
            <a:extLst>
              <a:ext uri="{FF2B5EF4-FFF2-40B4-BE49-F238E27FC236}">
                <a16:creationId xmlns:a16="http://schemas.microsoft.com/office/drawing/2014/main" id="{83870F8E-71D8-4A4E-BF73-1BDA4B584A07}"/>
              </a:ext>
            </a:extLst>
          </p:cNvPr>
          <p:cNvSpPr>
            <a:spLocks noGrp="1"/>
          </p:cNvSpPr>
          <p:nvPr>
            <p:ph type="body" sz="quarter" idx="18" hasCustomPrompt="1"/>
          </p:nvPr>
        </p:nvSpPr>
        <p:spPr>
          <a:xfrm>
            <a:off x="2596784"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9" name="Espace réservé du texte 9">
            <a:extLst>
              <a:ext uri="{FF2B5EF4-FFF2-40B4-BE49-F238E27FC236}">
                <a16:creationId xmlns:a16="http://schemas.microsoft.com/office/drawing/2014/main" id="{BEAE223B-A4B3-40C0-9C1B-8AE4EB5BCDA1}"/>
              </a:ext>
            </a:extLst>
          </p:cNvPr>
          <p:cNvSpPr>
            <a:spLocks noGrp="1"/>
          </p:cNvSpPr>
          <p:nvPr>
            <p:ph type="body" sz="quarter" idx="19"/>
          </p:nvPr>
        </p:nvSpPr>
        <p:spPr>
          <a:xfrm>
            <a:off x="2596784"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8"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8"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2" name="Espace réservé du texte 10">
            <a:extLst>
              <a:ext uri="{FF2B5EF4-FFF2-40B4-BE49-F238E27FC236}">
                <a16:creationId xmlns:a16="http://schemas.microsoft.com/office/drawing/2014/main" id="{B890002F-81F9-4778-93CB-9221C7910BED}"/>
              </a:ext>
            </a:extLst>
          </p:cNvPr>
          <p:cNvSpPr>
            <a:spLocks noGrp="1"/>
          </p:cNvSpPr>
          <p:nvPr>
            <p:ph type="body" sz="quarter" idx="22" hasCustomPrompt="1"/>
          </p:nvPr>
        </p:nvSpPr>
        <p:spPr>
          <a:xfrm>
            <a:off x="6755046"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9">
            <a:extLst>
              <a:ext uri="{FF2B5EF4-FFF2-40B4-BE49-F238E27FC236}">
                <a16:creationId xmlns:a16="http://schemas.microsoft.com/office/drawing/2014/main" id="{69BBDEAD-028C-4010-8649-60E520717AE7}"/>
              </a:ext>
            </a:extLst>
          </p:cNvPr>
          <p:cNvSpPr>
            <a:spLocks noGrp="1"/>
          </p:cNvSpPr>
          <p:nvPr>
            <p:ph type="body" sz="quarter" idx="23"/>
          </p:nvPr>
        </p:nvSpPr>
        <p:spPr>
          <a:xfrm>
            <a:off x="675504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2348097"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2ABFFF35-EF37-48CB-BD5C-B26D9053EB85}"/>
              </a:ext>
            </a:extLst>
          </p:cNvPr>
          <p:cNvCxnSpPr>
            <a:cxnSpLocks/>
          </p:cNvCxnSpPr>
          <p:nvPr userDrawn="1"/>
        </p:nvCxnSpPr>
        <p:spPr>
          <a:xfrm>
            <a:off x="6506445"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4"/>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5355845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_10">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73627"/>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18" name="Espace réservé du texte 10">
            <a:extLst>
              <a:ext uri="{FF2B5EF4-FFF2-40B4-BE49-F238E27FC236}">
                <a16:creationId xmlns:a16="http://schemas.microsoft.com/office/drawing/2014/main" id="{83870F8E-71D8-4A4E-BF73-1BDA4B584A07}"/>
              </a:ext>
            </a:extLst>
          </p:cNvPr>
          <p:cNvSpPr>
            <a:spLocks noGrp="1"/>
          </p:cNvSpPr>
          <p:nvPr>
            <p:ph type="body" sz="quarter" idx="18" hasCustomPrompt="1"/>
          </p:nvPr>
        </p:nvSpPr>
        <p:spPr>
          <a:xfrm>
            <a:off x="2596784"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9" name="Espace réservé du texte 9">
            <a:extLst>
              <a:ext uri="{FF2B5EF4-FFF2-40B4-BE49-F238E27FC236}">
                <a16:creationId xmlns:a16="http://schemas.microsoft.com/office/drawing/2014/main" id="{BEAE223B-A4B3-40C0-9C1B-8AE4EB5BCDA1}"/>
              </a:ext>
            </a:extLst>
          </p:cNvPr>
          <p:cNvSpPr>
            <a:spLocks noGrp="1"/>
          </p:cNvSpPr>
          <p:nvPr>
            <p:ph type="body" sz="quarter" idx="19"/>
          </p:nvPr>
        </p:nvSpPr>
        <p:spPr>
          <a:xfrm>
            <a:off x="2596784"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8"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8"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2" name="Espace réservé du texte 10">
            <a:extLst>
              <a:ext uri="{FF2B5EF4-FFF2-40B4-BE49-F238E27FC236}">
                <a16:creationId xmlns:a16="http://schemas.microsoft.com/office/drawing/2014/main" id="{B890002F-81F9-4778-93CB-9221C7910BED}"/>
              </a:ext>
            </a:extLst>
          </p:cNvPr>
          <p:cNvSpPr>
            <a:spLocks noGrp="1"/>
          </p:cNvSpPr>
          <p:nvPr>
            <p:ph type="body" sz="quarter" idx="22" hasCustomPrompt="1"/>
          </p:nvPr>
        </p:nvSpPr>
        <p:spPr>
          <a:xfrm>
            <a:off x="6755046"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9">
            <a:extLst>
              <a:ext uri="{FF2B5EF4-FFF2-40B4-BE49-F238E27FC236}">
                <a16:creationId xmlns:a16="http://schemas.microsoft.com/office/drawing/2014/main" id="{69BBDEAD-028C-4010-8649-60E520717AE7}"/>
              </a:ext>
            </a:extLst>
          </p:cNvPr>
          <p:cNvSpPr>
            <a:spLocks noGrp="1"/>
          </p:cNvSpPr>
          <p:nvPr>
            <p:ph type="body" sz="quarter" idx="23"/>
          </p:nvPr>
        </p:nvSpPr>
        <p:spPr>
          <a:xfrm>
            <a:off x="675504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2348097"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2ABFFF35-EF37-48CB-BD5C-B26D9053EB85}"/>
              </a:ext>
            </a:extLst>
          </p:cNvPr>
          <p:cNvCxnSpPr>
            <a:cxnSpLocks/>
          </p:cNvCxnSpPr>
          <p:nvPr userDrawn="1"/>
        </p:nvCxnSpPr>
        <p:spPr>
          <a:xfrm>
            <a:off x="6506445"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Espace réservé du texte 8">
            <a:extLst>
              <a:ext uri="{FF2B5EF4-FFF2-40B4-BE49-F238E27FC236}">
                <a16:creationId xmlns:a16="http://schemas.microsoft.com/office/drawing/2014/main" id="{B4A93AB5-24BE-4651-BF5E-2BE5557AB514}"/>
              </a:ext>
            </a:extLst>
          </p:cNvPr>
          <p:cNvSpPr>
            <a:spLocks noGrp="1"/>
          </p:cNvSpPr>
          <p:nvPr>
            <p:ph type="body" sz="quarter" idx="24"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24"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5"/>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34242883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_1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9" y="173626"/>
            <a:ext cx="7247171" cy="824594"/>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382137" y="1363980"/>
            <a:ext cx="0" cy="432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Espace réservé du texte 10">
            <a:extLst>
              <a:ext uri="{FF2B5EF4-FFF2-40B4-BE49-F238E27FC236}">
                <a16:creationId xmlns:a16="http://schemas.microsoft.com/office/drawing/2014/main" id="{656FE585-A0DF-4FA9-A891-1E894E475181}"/>
              </a:ext>
            </a:extLst>
          </p:cNvPr>
          <p:cNvSpPr>
            <a:spLocks noGrp="1"/>
          </p:cNvSpPr>
          <p:nvPr>
            <p:ph type="body" sz="quarter" idx="24" hasCustomPrompt="1"/>
          </p:nvPr>
        </p:nvSpPr>
        <p:spPr>
          <a:xfrm>
            <a:off x="517610" y="2820482"/>
            <a:ext cx="3541433" cy="262784"/>
          </a:xfrm>
        </p:spPr>
        <p:txBody>
          <a:bodyPr rIns="36000">
            <a:normAutofit/>
          </a:bodyPr>
          <a:lstStyle>
            <a:lvl1pPr>
              <a:defRPr sz="1200"/>
            </a:lvl1pPr>
            <a:lvl2pPr>
              <a:defRPr sz="1100"/>
            </a:lvl2pPr>
            <a:lvl3pPr>
              <a:defRPr sz="1050"/>
            </a:lvl3pPr>
            <a:lvl4pPr>
              <a:defRPr sz="1000"/>
            </a:lvl4pPr>
          </a:lstStyle>
          <a:p>
            <a:pPr lvl="2"/>
            <a:r>
              <a:rPr lang="en-US" dirty="0"/>
              <a:t>Click to change the text styles of the mask</a:t>
            </a:r>
          </a:p>
        </p:txBody>
      </p:sp>
      <p:sp>
        <p:nvSpPr>
          <p:cNvPr id="24" name="Espace réservé du texte 9">
            <a:extLst>
              <a:ext uri="{FF2B5EF4-FFF2-40B4-BE49-F238E27FC236}">
                <a16:creationId xmlns:a16="http://schemas.microsoft.com/office/drawing/2014/main" id="{84B33C97-F803-4123-8549-06640E0548E0}"/>
              </a:ext>
            </a:extLst>
          </p:cNvPr>
          <p:cNvSpPr>
            <a:spLocks noGrp="1"/>
          </p:cNvSpPr>
          <p:nvPr>
            <p:ph type="body" sz="quarter" idx="25"/>
          </p:nvPr>
        </p:nvSpPr>
        <p:spPr>
          <a:xfrm>
            <a:off x="517526" y="3083265"/>
            <a:ext cx="3541395" cy="419100"/>
          </a:xfrm>
        </p:spPr>
        <p:txBody>
          <a:bodyPr rIns="36000" anchor="t"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1" name="Espace réservé du texte 10">
            <a:extLst>
              <a:ext uri="{FF2B5EF4-FFF2-40B4-BE49-F238E27FC236}">
                <a16:creationId xmlns:a16="http://schemas.microsoft.com/office/drawing/2014/main" id="{B3F9CF99-F963-43B8-A2A1-CAB1943B9348}"/>
              </a:ext>
            </a:extLst>
          </p:cNvPr>
          <p:cNvSpPr>
            <a:spLocks noGrp="1"/>
          </p:cNvSpPr>
          <p:nvPr>
            <p:ph type="body" sz="quarter" idx="26" hasCustomPrompt="1"/>
          </p:nvPr>
        </p:nvSpPr>
        <p:spPr>
          <a:xfrm>
            <a:off x="4666972" y="1363980"/>
            <a:ext cx="3749327" cy="2989020"/>
          </a:xfrm>
        </p:spPr>
        <p:txBody>
          <a:bodyPr rIns="36000">
            <a:noAutofit/>
          </a:bodyPr>
          <a:lstStyle>
            <a:lvl1pPr>
              <a:defRPr sz="1100"/>
            </a:lvl1pPr>
            <a:lvl2pPr>
              <a:spcBef>
                <a:spcPts val="500"/>
              </a:spcBef>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pour une image  12">
            <a:extLst>
              <a:ext uri="{FF2B5EF4-FFF2-40B4-BE49-F238E27FC236}">
                <a16:creationId xmlns:a16="http://schemas.microsoft.com/office/drawing/2014/main" id="{EEFD0060-2F48-4F68-94DD-1ABE6EBC8827}"/>
              </a:ext>
            </a:extLst>
          </p:cNvPr>
          <p:cNvSpPr>
            <a:spLocks noGrp="1"/>
          </p:cNvSpPr>
          <p:nvPr>
            <p:ph type="pic" sz="quarter" idx="30"/>
          </p:nvPr>
        </p:nvSpPr>
        <p:spPr>
          <a:xfrm>
            <a:off x="615996" y="1325220"/>
            <a:ext cx="1539908" cy="497256"/>
          </a:xfrm>
        </p:spPr>
        <p:txBody>
          <a:bodyPr anchor="ctr" anchorCtr="0"/>
          <a:lstStyle>
            <a:lvl1pPr algn="ctr">
              <a:defRPr b="1">
                <a:solidFill>
                  <a:schemeClr val="bg2"/>
                </a:solidFill>
              </a:defRPr>
            </a:lvl1pPr>
          </a:lstStyle>
          <a:p>
            <a:endParaRPr lang="en-GB" dirty="0"/>
          </a:p>
        </p:txBody>
      </p:sp>
      <p:sp>
        <p:nvSpPr>
          <p:cNvPr id="37" name="Espace réservé pour une image  12">
            <a:extLst>
              <a:ext uri="{FF2B5EF4-FFF2-40B4-BE49-F238E27FC236}">
                <a16:creationId xmlns:a16="http://schemas.microsoft.com/office/drawing/2014/main" id="{96D1A85D-69E6-4D91-8D22-9A15DDD6792A}"/>
              </a:ext>
            </a:extLst>
          </p:cNvPr>
          <p:cNvSpPr>
            <a:spLocks noGrp="1"/>
          </p:cNvSpPr>
          <p:nvPr>
            <p:ph type="pic" sz="quarter" idx="31"/>
          </p:nvPr>
        </p:nvSpPr>
        <p:spPr>
          <a:xfrm>
            <a:off x="2389761" y="1326936"/>
            <a:ext cx="1539908" cy="495540"/>
          </a:xfrm>
        </p:spPr>
        <p:txBody>
          <a:bodyPr anchor="ctr" anchorCtr="0"/>
          <a:lstStyle>
            <a:lvl1pPr algn="ctr">
              <a:defRPr b="1">
                <a:solidFill>
                  <a:schemeClr val="bg2"/>
                </a:solidFill>
              </a:defRPr>
            </a:lvl1pPr>
          </a:lstStyle>
          <a:p>
            <a:endParaRPr lang="en-GB" dirty="0"/>
          </a:p>
        </p:txBody>
      </p:sp>
      <p:sp>
        <p:nvSpPr>
          <p:cNvPr id="38" name="Espace réservé du texte 9">
            <a:extLst>
              <a:ext uri="{FF2B5EF4-FFF2-40B4-BE49-F238E27FC236}">
                <a16:creationId xmlns:a16="http://schemas.microsoft.com/office/drawing/2014/main" id="{22BDD468-9552-4038-837E-C07ACB70286B}"/>
              </a:ext>
            </a:extLst>
          </p:cNvPr>
          <p:cNvSpPr>
            <a:spLocks noGrp="1"/>
          </p:cNvSpPr>
          <p:nvPr>
            <p:ph type="body" sz="quarter" idx="32"/>
          </p:nvPr>
        </p:nvSpPr>
        <p:spPr>
          <a:xfrm>
            <a:off x="517526" y="2030307"/>
            <a:ext cx="3541395" cy="541444"/>
          </a:xfrm>
        </p:spPr>
        <p:txBody>
          <a:bodyPr rIns="36000" anchor="t" anchorCtr="0">
            <a:noAutofit/>
          </a:bodyPr>
          <a:lstStyle>
            <a:lvl1pPr>
              <a:defRPr sz="16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9" name="Espace réservé pour une image  12">
            <a:extLst>
              <a:ext uri="{FF2B5EF4-FFF2-40B4-BE49-F238E27FC236}">
                <a16:creationId xmlns:a16="http://schemas.microsoft.com/office/drawing/2014/main" id="{73951113-5A32-4C3E-967B-F90F357B7AD4}"/>
              </a:ext>
            </a:extLst>
          </p:cNvPr>
          <p:cNvSpPr>
            <a:spLocks noGrp="1"/>
          </p:cNvSpPr>
          <p:nvPr>
            <p:ph type="pic" sz="quarter" idx="33" hasCustomPrompt="1"/>
          </p:nvPr>
        </p:nvSpPr>
        <p:spPr>
          <a:xfrm>
            <a:off x="7940041" y="173626"/>
            <a:ext cx="575311" cy="584564"/>
          </a:xfrm>
        </p:spPr>
        <p:txBody>
          <a:bodyPr lIns="0" rIns="0" anchor="ctr" anchorCtr="0">
            <a:noAutofit/>
          </a:bodyPr>
          <a:lstStyle>
            <a:lvl1pPr algn="ctr">
              <a:defRPr sz="1000" b="1">
                <a:solidFill>
                  <a:schemeClr val="accent3"/>
                </a:solidFill>
              </a:defRPr>
            </a:lvl1pPr>
          </a:lstStyle>
          <a:p>
            <a:r>
              <a:rPr lang="fr-FR" dirty="0"/>
              <a:t>drapeau</a:t>
            </a:r>
            <a:endParaRPr lang="en-GB" dirty="0"/>
          </a:p>
        </p:txBody>
      </p:sp>
      <p:sp>
        <p:nvSpPr>
          <p:cNvPr id="40" name="Espace réservé du texte 10">
            <a:extLst>
              <a:ext uri="{FF2B5EF4-FFF2-40B4-BE49-F238E27FC236}">
                <a16:creationId xmlns:a16="http://schemas.microsoft.com/office/drawing/2014/main" id="{D62D1879-CBC7-4272-98C5-F9939033470C}"/>
              </a:ext>
            </a:extLst>
          </p:cNvPr>
          <p:cNvSpPr>
            <a:spLocks noGrp="1"/>
          </p:cNvSpPr>
          <p:nvPr>
            <p:ph type="body" sz="quarter" idx="34" hasCustomPrompt="1"/>
          </p:nvPr>
        </p:nvSpPr>
        <p:spPr>
          <a:xfrm>
            <a:off x="517610" y="3671118"/>
            <a:ext cx="3541433" cy="262784"/>
          </a:xfrm>
        </p:spPr>
        <p:txBody>
          <a:bodyPr rIns="36000">
            <a:normAutofit/>
          </a:bodyPr>
          <a:lstStyle>
            <a:lvl1pPr>
              <a:defRPr sz="1200"/>
            </a:lvl1pPr>
            <a:lvl2pPr>
              <a:defRPr sz="1100"/>
            </a:lvl2pPr>
            <a:lvl3pPr>
              <a:defRPr sz="1050"/>
            </a:lvl3pPr>
            <a:lvl4pPr>
              <a:defRPr sz="1000"/>
            </a:lvl4pPr>
          </a:lstStyle>
          <a:p>
            <a:pPr lvl="2"/>
            <a:r>
              <a:rPr lang="en-US" dirty="0"/>
              <a:t>Click to change the text styles of the mask</a:t>
            </a:r>
          </a:p>
        </p:txBody>
      </p:sp>
      <p:sp>
        <p:nvSpPr>
          <p:cNvPr id="41" name="Espace réservé du texte 9">
            <a:extLst>
              <a:ext uri="{FF2B5EF4-FFF2-40B4-BE49-F238E27FC236}">
                <a16:creationId xmlns:a16="http://schemas.microsoft.com/office/drawing/2014/main" id="{26D7FA52-02B0-4C4B-8A8C-774E1467174D}"/>
              </a:ext>
            </a:extLst>
          </p:cNvPr>
          <p:cNvSpPr>
            <a:spLocks noGrp="1"/>
          </p:cNvSpPr>
          <p:nvPr>
            <p:ph type="body" sz="quarter" idx="35"/>
          </p:nvPr>
        </p:nvSpPr>
        <p:spPr>
          <a:xfrm>
            <a:off x="517526" y="3933900"/>
            <a:ext cx="3541395" cy="419100"/>
          </a:xfrm>
        </p:spPr>
        <p:txBody>
          <a:bodyPr rIns="36000" anchor="t"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42" name="Connecteur droit 41">
            <a:extLst>
              <a:ext uri="{FF2B5EF4-FFF2-40B4-BE49-F238E27FC236}">
                <a16:creationId xmlns:a16="http://schemas.microsoft.com/office/drawing/2014/main" id="{6DCF3C66-EB4E-4D42-8B2C-0E5335280658}"/>
              </a:ext>
            </a:extLst>
          </p:cNvPr>
          <p:cNvCxnSpPr>
            <a:cxnSpLocks/>
          </p:cNvCxnSpPr>
          <p:nvPr userDrawn="1"/>
        </p:nvCxnSpPr>
        <p:spPr>
          <a:xfrm>
            <a:off x="4399219" y="1363980"/>
            <a:ext cx="0" cy="298902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44339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_1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1485666" y="1558484"/>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1485581" y="1288161"/>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7" name="Espace réservé pour une image  6">
            <a:extLst>
              <a:ext uri="{FF2B5EF4-FFF2-40B4-BE49-F238E27FC236}">
                <a16:creationId xmlns:a16="http://schemas.microsoft.com/office/drawing/2014/main" id="{505CD692-332B-45D3-8814-4099035C34D9}"/>
              </a:ext>
            </a:extLst>
          </p:cNvPr>
          <p:cNvSpPr>
            <a:spLocks noGrp="1"/>
          </p:cNvSpPr>
          <p:nvPr>
            <p:ph type="pic" sz="quarter" idx="24"/>
          </p:nvPr>
        </p:nvSpPr>
        <p:spPr>
          <a:xfrm>
            <a:off x="622413" y="1257308"/>
            <a:ext cx="666559" cy="774693"/>
          </a:xfrm>
        </p:spPr>
        <p:txBody>
          <a:bodyPr>
            <a:normAutofit/>
          </a:bodyPr>
          <a:lstStyle>
            <a:lvl1pPr algn="ctr">
              <a:defRPr sz="1100" b="1">
                <a:solidFill>
                  <a:schemeClr val="bg2"/>
                </a:solidFill>
              </a:defRPr>
            </a:lvl1pPr>
          </a:lstStyle>
          <a:p>
            <a:endParaRPr lang="en-GB" dirty="0"/>
          </a:p>
        </p:txBody>
      </p:sp>
      <p:sp>
        <p:nvSpPr>
          <p:cNvPr id="36" name="Espace réservé du texte 10">
            <a:extLst>
              <a:ext uri="{FF2B5EF4-FFF2-40B4-BE49-F238E27FC236}">
                <a16:creationId xmlns:a16="http://schemas.microsoft.com/office/drawing/2014/main" id="{399A5DFA-0B9D-4A82-8AF2-980A5BB762D8}"/>
              </a:ext>
            </a:extLst>
          </p:cNvPr>
          <p:cNvSpPr>
            <a:spLocks noGrp="1"/>
          </p:cNvSpPr>
          <p:nvPr>
            <p:ph type="body" sz="quarter" idx="25" hasCustomPrompt="1"/>
          </p:nvPr>
        </p:nvSpPr>
        <p:spPr>
          <a:xfrm>
            <a:off x="1485666" y="2637985"/>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37" name="Espace réservé du texte 9">
            <a:extLst>
              <a:ext uri="{FF2B5EF4-FFF2-40B4-BE49-F238E27FC236}">
                <a16:creationId xmlns:a16="http://schemas.microsoft.com/office/drawing/2014/main" id="{F7500000-C125-4CAC-B8B3-49BCB3E6B43B}"/>
              </a:ext>
            </a:extLst>
          </p:cNvPr>
          <p:cNvSpPr>
            <a:spLocks noGrp="1"/>
          </p:cNvSpPr>
          <p:nvPr>
            <p:ph type="body" sz="quarter" idx="26"/>
          </p:nvPr>
        </p:nvSpPr>
        <p:spPr>
          <a:xfrm>
            <a:off x="1485581" y="2367662"/>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8" name="Espace réservé pour une image  6">
            <a:extLst>
              <a:ext uri="{FF2B5EF4-FFF2-40B4-BE49-F238E27FC236}">
                <a16:creationId xmlns:a16="http://schemas.microsoft.com/office/drawing/2014/main" id="{EA6CEE02-FA37-41F8-B077-5BD93DC8E97F}"/>
              </a:ext>
            </a:extLst>
          </p:cNvPr>
          <p:cNvSpPr>
            <a:spLocks noGrp="1"/>
          </p:cNvSpPr>
          <p:nvPr>
            <p:ph type="pic" sz="quarter" idx="27"/>
          </p:nvPr>
        </p:nvSpPr>
        <p:spPr>
          <a:xfrm>
            <a:off x="622413" y="2336809"/>
            <a:ext cx="666559" cy="774693"/>
          </a:xfrm>
        </p:spPr>
        <p:txBody>
          <a:bodyPr>
            <a:normAutofit/>
          </a:bodyPr>
          <a:lstStyle>
            <a:lvl1pPr algn="ctr">
              <a:defRPr sz="1100" b="1">
                <a:solidFill>
                  <a:schemeClr val="bg2"/>
                </a:solidFill>
              </a:defRPr>
            </a:lvl1pPr>
          </a:lstStyle>
          <a:p>
            <a:endParaRPr lang="en-GB" dirty="0"/>
          </a:p>
        </p:txBody>
      </p:sp>
      <p:sp>
        <p:nvSpPr>
          <p:cNvPr id="39" name="Espace réservé du texte 10">
            <a:extLst>
              <a:ext uri="{FF2B5EF4-FFF2-40B4-BE49-F238E27FC236}">
                <a16:creationId xmlns:a16="http://schemas.microsoft.com/office/drawing/2014/main" id="{81F04FE6-AA5A-4003-BC56-01F0945724D9}"/>
              </a:ext>
            </a:extLst>
          </p:cNvPr>
          <p:cNvSpPr>
            <a:spLocks noGrp="1"/>
          </p:cNvSpPr>
          <p:nvPr>
            <p:ph type="body" sz="quarter" idx="28" hasCustomPrompt="1"/>
          </p:nvPr>
        </p:nvSpPr>
        <p:spPr>
          <a:xfrm>
            <a:off x="1485666" y="3717486"/>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40" name="Espace réservé du texte 9">
            <a:extLst>
              <a:ext uri="{FF2B5EF4-FFF2-40B4-BE49-F238E27FC236}">
                <a16:creationId xmlns:a16="http://schemas.microsoft.com/office/drawing/2014/main" id="{7FCA421D-6292-442C-B5AD-E9F0CEB3173B}"/>
              </a:ext>
            </a:extLst>
          </p:cNvPr>
          <p:cNvSpPr>
            <a:spLocks noGrp="1"/>
          </p:cNvSpPr>
          <p:nvPr>
            <p:ph type="body" sz="quarter" idx="29"/>
          </p:nvPr>
        </p:nvSpPr>
        <p:spPr>
          <a:xfrm>
            <a:off x="1485581" y="3447163"/>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41" name="Espace réservé pour une image  6">
            <a:extLst>
              <a:ext uri="{FF2B5EF4-FFF2-40B4-BE49-F238E27FC236}">
                <a16:creationId xmlns:a16="http://schemas.microsoft.com/office/drawing/2014/main" id="{E6ED6256-27CC-49AA-8A38-B3FB2DBA9500}"/>
              </a:ext>
            </a:extLst>
          </p:cNvPr>
          <p:cNvSpPr>
            <a:spLocks noGrp="1"/>
          </p:cNvSpPr>
          <p:nvPr>
            <p:ph type="pic" sz="quarter" idx="30"/>
          </p:nvPr>
        </p:nvSpPr>
        <p:spPr>
          <a:xfrm>
            <a:off x="622413" y="3416309"/>
            <a:ext cx="666559" cy="774693"/>
          </a:xfrm>
        </p:spPr>
        <p:txBody>
          <a:bodyPr>
            <a:normAutofit/>
          </a:bodyPr>
          <a:lstStyle>
            <a:lvl1pPr algn="ctr">
              <a:defRPr sz="1100" b="1">
                <a:solidFill>
                  <a:schemeClr val="bg2"/>
                </a:solidFill>
              </a:defRPr>
            </a:lvl1pPr>
          </a:lstStyle>
          <a:p>
            <a:endParaRPr lang="en-GB" dirty="0"/>
          </a:p>
        </p:txBody>
      </p:sp>
      <p:sp>
        <p:nvSpPr>
          <p:cNvPr id="53" name="Espace réservé du texte 10">
            <a:extLst>
              <a:ext uri="{FF2B5EF4-FFF2-40B4-BE49-F238E27FC236}">
                <a16:creationId xmlns:a16="http://schemas.microsoft.com/office/drawing/2014/main" id="{41A9A72B-4D43-402D-AC02-49EBF9C8DA75}"/>
              </a:ext>
            </a:extLst>
          </p:cNvPr>
          <p:cNvSpPr>
            <a:spLocks noGrp="1"/>
          </p:cNvSpPr>
          <p:nvPr>
            <p:ph type="body" sz="quarter" idx="31" hasCustomPrompt="1"/>
          </p:nvPr>
        </p:nvSpPr>
        <p:spPr>
          <a:xfrm>
            <a:off x="5715384" y="1558484"/>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54" name="Espace réservé du texte 9">
            <a:extLst>
              <a:ext uri="{FF2B5EF4-FFF2-40B4-BE49-F238E27FC236}">
                <a16:creationId xmlns:a16="http://schemas.microsoft.com/office/drawing/2014/main" id="{E32611A7-F8B8-41E0-A9B5-CC45B3265D09}"/>
              </a:ext>
            </a:extLst>
          </p:cNvPr>
          <p:cNvSpPr>
            <a:spLocks noGrp="1"/>
          </p:cNvSpPr>
          <p:nvPr>
            <p:ph type="body" sz="quarter" idx="32"/>
          </p:nvPr>
        </p:nvSpPr>
        <p:spPr>
          <a:xfrm>
            <a:off x="5715299" y="1288161"/>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55" name="Espace réservé pour une image  6">
            <a:extLst>
              <a:ext uri="{FF2B5EF4-FFF2-40B4-BE49-F238E27FC236}">
                <a16:creationId xmlns:a16="http://schemas.microsoft.com/office/drawing/2014/main" id="{B01C242D-F8CD-4877-B097-C386CB9BC948}"/>
              </a:ext>
            </a:extLst>
          </p:cNvPr>
          <p:cNvSpPr>
            <a:spLocks noGrp="1"/>
          </p:cNvSpPr>
          <p:nvPr>
            <p:ph type="pic" sz="quarter" idx="33"/>
          </p:nvPr>
        </p:nvSpPr>
        <p:spPr>
          <a:xfrm>
            <a:off x="4852131" y="1257308"/>
            <a:ext cx="666559" cy="774693"/>
          </a:xfrm>
        </p:spPr>
        <p:txBody>
          <a:bodyPr>
            <a:normAutofit/>
          </a:bodyPr>
          <a:lstStyle>
            <a:lvl1pPr algn="ctr">
              <a:defRPr sz="1100" b="1">
                <a:solidFill>
                  <a:schemeClr val="bg2"/>
                </a:solidFill>
              </a:defRPr>
            </a:lvl1pPr>
          </a:lstStyle>
          <a:p>
            <a:endParaRPr lang="en-GB" dirty="0"/>
          </a:p>
        </p:txBody>
      </p:sp>
      <p:sp>
        <p:nvSpPr>
          <p:cNvPr id="56" name="Espace réservé du texte 10">
            <a:extLst>
              <a:ext uri="{FF2B5EF4-FFF2-40B4-BE49-F238E27FC236}">
                <a16:creationId xmlns:a16="http://schemas.microsoft.com/office/drawing/2014/main" id="{987D6271-73C2-43B7-9B70-FC65E23BA099}"/>
              </a:ext>
            </a:extLst>
          </p:cNvPr>
          <p:cNvSpPr>
            <a:spLocks noGrp="1"/>
          </p:cNvSpPr>
          <p:nvPr>
            <p:ph type="body" sz="quarter" idx="34" hasCustomPrompt="1"/>
          </p:nvPr>
        </p:nvSpPr>
        <p:spPr>
          <a:xfrm>
            <a:off x="5715384" y="2637985"/>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57" name="Espace réservé du texte 9">
            <a:extLst>
              <a:ext uri="{FF2B5EF4-FFF2-40B4-BE49-F238E27FC236}">
                <a16:creationId xmlns:a16="http://schemas.microsoft.com/office/drawing/2014/main" id="{2E7001AC-A342-4DC7-A318-0EA93FC10D98}"/>
              </a:ext>
            </a:extLst>
          </p:cNvPr>
          <p:cNvSpPr>
            <a:spLocks noGrp="1"/>
          </p:cNvSpPr>
          <p:nvPr>
            <p:ph type="body" sz="quarter" idx="35"/>
          </p:nvPr>
        </p:nvSpPr>
        <p:spPr>
          <a:xfrm>
            <a:off x="5715299" y="2367662"/>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58" name="Espace réservé pour une image  6">
            <a:extLst>
              <a:ext uri="{FF2B5EF4-FFF2-40B4-BE49-F238E27FC236}">
                <a16:creationId xmlns:a16="http://schemas.microsoft.com/office/drawing/2014/main" id="{D8866A67-5141-4156-8DBF-847D982135A2}"/>
              </a:ext>
            </a:extLst>
          </p:cNvPr>
          <p:cNvSpPr>
            <a:spLocks noGrp="1"/>
          </p:cNvSpPr>
          <p:nvPr>
            <p:ph type="pic" sz="quarter" idx="36"/>
          </p:nvPr>
        </p:nvSpPr>
        <p:spPr>
          <a:xfrm>
            <a:off x="4852131" y="2336809"/>
            <a:ext cx="666559" cy="774693"/>
          </a:xfrm>
        </p:spPr>
        <p:txBody>
          <a:bodyPr>
            <a:normAutofit/>
          </a:bodyPr>
          <a:lstStyle>
            <a:lvl1pPr algn="ctr">
              <a:defRPr sz="1100" b="1">
                <a:solidFill>
                  <a:schemeClr val="bg2"/>
                </a:solidFill>
              </a:defRPr>
            </a:lvl1pPr>
          </a:lstStyle>
          <a:p>
            <a:endParaRPr lang="en-GB" dirty="0"/>
          </a:p>
        </p:txBody>
      </p:sp>
      <p:sp>
        <p:nvSpPr>
          <p:cNvPr id="59" name="Espace réservé du texte 10">
            <a:extLst>
              <a:ext uri="{FF2B5EF4-FFF2-40B4-BE49-F238E27FC236}">
                <a16:creationId xmlns:a16="http://schemas.microsoft.com/office/drawing/2014/main" id="{F187A3F1-3295-464C-B4FB-63EC963ADF80}"/>
              </a:ext>
            </a:extLst>
          </p:cNvPr>
          <p:cNvSpPr>
            <a:spLocks noGrp="1"/>
          </p:cNvSpPr>
          <p:nvPr>
            <p:ph type="body" sz="quarter" idx="37" hasCustomPrompt="1"/>
          </p:nvPr>
        </p:nvSpPr>
        <p:spPr>
          <a:xfrm>
            <a:off x="5715384" y="3717486"/>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60" name="Espace réservé du texte 9">
            <a:extLst>
              <a:ext uri="{FF2B5EF4-FFF2-40B4-BE49-F238E27FC236}">
                <a16:creationId xmlns:a16="http://schemas.microsoft.com/office/drawing/2014/main" id="{9C672168-6EC3-464C-879E-DDA81CDA3E20}"/>
              </a:ext>
            </a:extLst>
          </p:cNvPr>
          <p:cNvSpPr>
            <a:spLocks noGrp="1"/>
          </p:cNvSpPr>
          <p:nvPr>
            <p:ph type="body" sz="quarter" idx="38"/>
          </p:nvPr>
        </p:nvSpPr>
        <p:spPr>
          <a:xfrm>
            <a:off x="5715299" y="3447163"/>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61" name="Espace réservé pour une image  6">
            <a:extLst>
              <a:ext uri="{FF2B5EF4-FFF2-40B4-BE49-F238E27FC236}">
                <a16:creationId xmlns:a16="http://schemas.microsoft.com/office/drawing/2014/main" id="{0B4DA4AF-1228-46AE-BDB0-0226FCD1EC37}"/>
              </a:ext>
            </a:extLst>
          </p:cNvPr>
          <p:cNvSpPr>
            <a:spLocks noGrp="1"/>
          </p:cNvSpPr>
          <p:nvPr>
            <p:ph type="pic" sz="quarter" idx="39"/>
          </p:nvPr>
        </p:nvSpPr>
        <p:spPr>
          <a:xfrm>
            <a:off x="4852131" y="3416309"/>
            <a:ext cx="666559" cy="774693"/>
          </a:xfrm>
        </p:spPr>
        <p:txBody>
          <a:bodyPr>
            <a:normAutofit/>
          </a:bodyPr>
          <a:lstStyle>
            <a:lvl1pPr algn="ctr">
              <a:defRPr sz="1100" b="1">
                <a:solidFill>
                  <a:schemeClr val="bg2"/>
                </a:solidFill>
              </a:defRPr>
            </a:lvl1pPr>
          </a:lstStyle>
          <a:p>
            <a:endParaRPr lang="en-GB" dirty="0"/>
          </a:p>
        </p:txBody>
      </p:sp>
    </p:spTree>
    <p:extLst>
      <p:ext uri="{BB962C8B-B14F-4D97-AF65-F5344CB8AC3E}">
        <p14:creationId xmlns:p14="http://schemas.microsoft.com/office/powerpoint/2010/main" val="7332134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_1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3661096"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7" y="1723857"/>
            <a:ext cx="3661093"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8" y="1261369"/>
            <a:ext cx="3661054"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404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0" y="-7695"/>
            <a:ext cx="9132811" cy="5158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0"/>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0" y="1104901"/>
            <a:ext cx="3483710" cy="1466849"/>
          </a:xfrm>
        </p:spPr>
        <p:txBody>
          <a:bodyPr anchor="b"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4" name="Espace réservé du texte 3">
            <a:extLst>
              <a:ext uri="{FF2B5EF4-FFF2-40B4-BE49-F238E27FC236}">
                <a16:creationId xmlns:a16="http://schemas.microsoft.com/office/drawing/2014/main" id="{95ECD6B1-18BC-49BD-AB68-B94FB9080627}"/>
              </a:ext>
            </a:extLst>
          </p:cNvPr>
          <p:cNvSpPr>
            <a:spLocks noGrp="1"/>
          </p:cNvSpPr>
          <p:nvPr>
            <p:ph type="body" sz="quarter" idx="14" hasCustomPrompt="1"/>
          </p:nvPr>
        </p:nvSpPr>
        <p:spPr>
          <a:xfrm>
            <a:off x="5181600" y="2646546"/>
            <a:ext cx="3482975" cy="1466849"/>
          </a:xfrm>
        </p:spPr>
        <p:txBody>
          <a:bodyPr/>
          <a:lstStyle>
            <a:lvl1pPr>
              <a:lnSpc>
                <a:spcPct val="100000"/>
              </a:lnSpc>
              <a:defRPr sz="1200">
                <a:solidFill>
                  <a:schemeClr val="accent3"/>
                </a:solidFill>
                <a:latin typeface="+mn-lt"/>
              </a:defRPr>
            </a:lvl1pPr>
            <a:lvl2pPr>
              <a:defRPr sz="1200"/>
            </a:lvl2pPr>
            <a:lvl3pPr>
              <a:defRPr sz="1200"/>
            </a:lvl3pPr>
            <a:lvl4pPr>
              <a:defRPr sz="1200"/>
            </a:lvl4pPr>
            <a:lvl5pPr>
              <a:defRPr sz="1200"/>
            </a:lvl5pPr>
          </a:lstStyle>
          <a:p>
            <a:pPr lvl="0"/>
            <a:r>
              <a:rPr lang="en-US" dirty="0"/>
              <a:t>Enter the descriptive text of this chapter in a few lines.</a:t>
            </a:r>
          </a:p>
        </p:txBody>
      </p:sp>
      <p:pic>
        <p:nvPicPr>
          <p:cNvPr id="10" name="Image 9">
            <a:extLst>
              <a:ext uri="{FF2B5EF4-FFF2-40B4-BE49-F238E27FC236}">
                <a16:creationId xmlns:a16="http://schemas.microsoft.com/office/drawing/2014/main" id="{96EF3A9A-11C3-4EF9-A56A-24CF7C103A6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280930" y="4666658"/>
            <a:ext cx="738761" cy="382981"/>
          </a:xfrm>
          <a:prstGeom prst="rect">
            <a:avLst/>
          </a:prstGeom>
        </p:spPr>
      </p:pic>
      <p:sp>
        <p:nvSpPr>
          <p:cNvPr id="12" name="Espace réservé pour une image  15">
            <a:extLst>
              <a:ext uri="{FF2B5EF4-FFF2-40B4-BE49-F238E27FC236}">
                <a16:creationId xmlns:a16="http://schemas.microsoft.com/office/drawing/2014/main" id="{77B9D155-BEF3-4A83-9AB0-980096AABFEC}"/>
              </a:ext>
            </a:extLst>
          </p:cNvPr>
          <p:cNvSpPr>
            <a:spLocks noGrp="1"/>
          </p:cNvSpPr>
          <p:nvPr>
            <p:ph type="pic" sz="quarter" idx="15"/>
          </p:nvPr>
        </p:nvSpPr>
        <p:spPr>
          <a:xfrm>
            <a:off x="252000" y="0"/>
            <a:ext cx="4584159" cy="5143499"/>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dirty="0"/>
          </a:p>
        </p:txBody>
      </p:sp>
      <p:sp>
        <p:nvSpPr>
          <p:cNvPr id="15" name="TextBox 14"/>
          <p:cNvSpPr txBox="1"/>
          <p:nvPr userDrawn="1"/>
        </p:nvSpPr>
        <p:spPr>
          <a:xfrm>
            <a:off x="0" y="4622110"/>
            <a:ext cx="876299" cy="530915"/>
          </a:xfrm>
          <a:prstGeom prst="rect">
            <a:avLst/>
          </a:prstGeom>
          <a:solidFill>
            <a:schemeClr val="bg1"/>
          </a:solidFill>
        </p:spPr>
        <p:txBody>
          <a:bodyPr wrap="square" rtlCol="0">
            <a:spAutoFit/>
          </a:bodyPr>
          <a:lstStyle/>
          <a:p>
            <a:endParaRPr lang="fr-FR" sz="1000" dirty="0"/>
          </a:p>
          <a:p>
            <a:endParaRPr lang="fr-FR" dirty="0"/>
          </a:p>
        </p:txBody>
      </p:sp>
      <p:sp>
        <p:nvSpPr>
          <p:cNvPr id="16" name="TextBox 15"/>
          <p:cNvSpPr txBox="1"/>
          <p:nvPr userDrawn="1"/>
        </p:nvSpPr>
        <p:spPr>
          <a:xfrm>
            <a:off x="876299" y="4612585"/>
            <a:ext cx="6982582" cy="538609"/>
          </a:xfrm>
          <a:prstGeom prst="rect">
            <a:avLst/>
          </a:prstGeom>
          <a:solidFill>
            <a:schemeClr val="bg1"/>
          </a:solidFill>
        </p:spPr>
        <p:txBody>
          <a:bodyPr wrap="square" rtlCol="0">
            <a:spAutoFit/>
          </a:bodyPr>
          <a:lstStyle/>
          <a:p>
            <a:endParaRPr lang="fr-FR" sz="400" dirty="0"/>
          </a:p>
          <a:p>
            <a:endParaRPr lang="fr-FR" sz="600" dirty="0"/>
          </a:p>
          <a:p>
            <a:endParaRPr lang="en-US" dirty="0"/>
          </a:p>
        </p:txBody>
      </p:sp>
      <p:sp>
        <p:nvSpPr>
          <p:cNvPr id="19"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20" name="Picture 19"/>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685629889"/>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_1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59451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8">
            <a:extLst>
              <a:ext uri="{FF2B5EF4-FFF2-40B4-BE49-F238E27FC236}">
                <a16:creationId xmlns:a16="http://schemas.microsoft.com/office/drawing/2014/main" id="{EE511D6E-8D75-49F5-8CB3-179A7E343040}"/>
              </a:ext>
            </a:extLst>
          </p:cNvPr>
          <p:cNvSpPr>
            <a:spLocks noGrp="1"/>
          </p:cNvSpPr>
          <p:nvPr>
            <p:ph type="body" sz="quarter" idx="19"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3" name="Espace réservé du texte 10">
            <a:extLst>
              <a:ext uri="{FF2B5EF4-FFF2-40B4-BE49-F238E27FC236}">
                <a16:creationId xmlns:a16="http://schemas.microsoft.com/office/drawing/2014/main" id="{D4096D08-EB32-4C41-A345-3911BCCF5141}"/>
              </a:ext>
            </a:extLst>
          </p:cNvPr>
          <p:cNvSpPr>
            <a:spLocks noGrp="1"/>
          </p:cNvSpPr>
          <p:nvPr>
            <p:ph type="body" sz="quarter" idx="25" hasCustomPrompt="1"/>
          </p:nvPr>
        </p:nvSpPr>
        <p:spPr>
          <a:xfrm>
            <a:off x="517610" y="1261369"/>
            <a:ext cx="3661096" cy="3118902"/>
          </a:xfrm>
        </p:spPr>
        <p:txBody>
          <a:bodyPr rIns="36000">
            <a:noAutofit/>
          </a:bodyPr>
          <a:lstStyle>
            <a:lvl1pPr>
              <a:defRPr sz="1100"/>
            </a:lvl1pPr>
            <a:lvl2pPr>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4" name="Espace réservé du texte 10">
            <a:extLst>
              <a:ext uri="{FF2B5EF4-FFF2-40B4-BE49-F238E27FC236}">
                <a16:creationId xmlns:a16="http://schemas.microsoft.com/office/drawing/2014/main" id="{AFC7ED14-9B25-4EFF-8B73-F6338D7B2720}"/>
              </a:ext>
            </a:extLst>
          </p:cNvPr>
          <p:cNvSpPr>
            <a:spLocks noGrp="1"/>
          </p:cNvSpPr>
          <p:nvPr>
            <p:ph type="body" sz="quarter" idx="26" hasCustomPrompt="1"/>
          </p:nvPr>
        </p:nvSpPr>
        <p:spPr>
          <a:xfrm>
            <a:off x="4675957" y="1261369"/>
            <a:ext cx="3661093" cy="3118902"/>
          </a:xfrm>
        </p:spPr>
        <p:txBody>
          <a:bodyPr rIns="36000">
            <a:noAutofit/>
          </a:bodyPr>
          <a:lstStyle>
            <a:lvl1pPr>
              <a:defRPr sz="1100"/>
            </a:lvl1pPr>
            <a:lvl2pPr>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Tree>
    <p:extLst>
      <p:ext uri="{BB962C8B-B14F-4D97-AF65-F5344CB8AC3E}">
        <p14:creationId xmlns:p14="http://schemas.microsoft.com/office/powerpoint/2010/main" val="30271639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_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375661"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10">
            <a:extLst>
              <a:ext uri="{FF2B5EF4-FFF2-40B4-BE49-F238E27FC236}">
                <a16:creationId xmlns:a16="http://schemas.microsoft.com/office/drawing/2014/main" id="{884ED785-1C5E-4F78-A275-F34C3AEAE06F}"/>
              </a:ext>
            </a:extLst>
          </p:cNvPr>
          <p:cNvSpPr>
            <a:spLocks noGrp="1"/>
          </p:cNvSpPr>
          <p:nvPr>
            <p:ph type="body" sz="quarter" idx="22" hasCustomPrompt="1"/>
          </p:nvPr>
        </p:nvSpPr>
        <p:spPr>
          <a:xfrm>
            <a:off x="517610"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9">
            <a:extLst>
              <a:ext uri="{FF2B5EF4-FFF2-40B4-BE49-F238E27FC236}">
                <a16:creationId xmlns:a16="http://schemas.microsoft.com/office/drawing/2014/main" id="{8992EC07-F579-4A40-AAD6-B8347D980B99}"/>
              </a:ext>
            </a:extLst>
          </p:cNvPr>
          <p:cNvSpPr>
            <a:spLocks noGrp="1"/>
          </p:cNvSpPr>
          <p:nvPr>
            <p:ph type="body" sz="quarter" idx="23"/>
          </p:nvPr>
        </p:nvSpPr>
        <p:spPr>
          <a:xfrm>
            <a:off x="517526"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14" name="Connecteur droit 13">
            <a:extLst>
              <a:ext uri="{FF2B5EF4-FFF2-40B4-BE49-F238E27FC236}">
                <a16:creationId xmlns:a16="http://schemas.microsoft.com/office/drawing/2014/main" id="{7C5E9985-FD1E-428E-A038-1833C2306C28}"/>
              </a:ext>
            </a:extLst>
          </p:cNvPr>
          <p:cNvCxnSpPr>
            <a:cxnSpLocks/>
          </p:cNvCxnSpPr>
          <p:nvPr userDrawn="1"/>
        </p:nvCxnSpPr>
        <p:spPr>
          <a:xfrm>
            <a:off x="375661"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texte 10">
            <a:extLst>
              <a:ext uri="{FF2B5EF4-FFF2-40B4-BE49-F238E27FC236}">
                <a16:creationId xmlns:a16="http://schemas.microsoft.com/office/drawing/2014/main" id="{B3933DBD-2D64-49E5-9665-2D4D428F0437}"/>
              </a:ext>
            </a:extLst>
          </p:cNvPr>
          <p:cNvSpPr>
            <a:spLocks noGrp="1"/>
          </p:cNvSpPr>
          <p:nvPr>
            <p:ph type="body" sz="quarter" idx="24" hasCustomPrompt="1"/>
          </p:nvPr>
        </p:nvSpPr>
        <p:spPr>
          <a:xfrm>
            <a:off x="4572084"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5" name="Espace réservé du texte 9">
            <a:extLst>
              <a:ext uri="{FF2B5EF4-FFF2-40B4-BE49-F238E27FC236}">
                <a16:creationId xmlns:a16="http://schemas.microsoft.com/office/drawing/2014/main" id="{6500DBB1-D65A-4FD5-9F9B-A5027F560FD1}"/>
              </a:ext>
            </a:extLst>
          </p:cNvPr>
          <p:cNvSpPr>
            <a:spLocks noGrp="1"/>
          </p:cNvSpPr>
          <p:nvPr>
            <p:ph type="body" sz="quarter" idx="25"/>
          </p:nvPr>
        </p:nvSpPr>
        <p:spPr>
          <a:xfrm>
            <a:off x="4572001"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6" name="Connecteur droit 25">
            <a:extLst>
              <a:ext uri="{FF2B5EF4-FFF2-40B4-BE49-F238E27FC236}">
                <a16:creationId xmlns:a16="http://schemas.microsoft.com/office/drawing/2014/main" id="{C778CDC4-5FA1-4048-9A78-5B42F7B95A26}"/>
              </a:ext>
            </a:extLst>
          </p:cNvPr>
          <p:cNvCxnSpPr>
            <a:cxnSpLocks/>
          </p:cNvCxnSpPr>
          <p:nvPr userDrawn="1"/>
        </p:nvCxnSpPr>
        <p:spPr>
          <a:xfrm>
            <a:off x="4430136"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Espace réservé du texte 10">
            <a:extLst>
              <a:ext uri="{FF2B5EF4-FFF2-40B4-BE49-F238E27FC236}">
                <a16:creationId xmlns:a16="http://schemas.microsoft.com/office/drawing/2014/main" id="{58300066-BB96-4C12-B605-19344574F918}"/>
              </a:ext>
            </a:extLst>
          </p:cNvPr>
          <p:cNvSpPr>
            <a:spLocks noGrp="1"/>
          </p:cNvSpPr>
          <p:nvPr>
            <p:ph type="body" sz="quarter" idx="26" hasCustomPrompt="1"/>
          </p:nvPr>
        </p:nvSpPr>
        <p:spPr>
          <a:xfrm>
            <a:off x="4572084"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9" name="Espace réservé du texte 9">
            <a:extLst>
              <a:ext uri="{FF2B5EF4-FFF2-40B4-BE49-F238E27FC236}">
                <a16:creationId xmlns:a16="http://schemas.microsoft.com/office/drawing/2014/main" id="{90E4005E-EE52-414F-9FD7-3E4E4439CC01}"/>
              </a:ext>
            </a:extLst>
          </p:cNvPr>
          <p:cNvSpPr>
            <a:spLocks noGrp="1"/>
          </p:cNvSpPr>
          <p:nvPr>
            <p:ph type="body" sz="quarter" idx="27"/>
          </p:nvPr>
        </p:nvSpPr>
        <p:spPr>
          <a:xfrm>
            <a:off x="4572001"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30" name="Connecteur droit 29">
            <a:extLst>
              <a:ext uri="{FF2B5EF4-FFF2-40B4-BE49-F238E27FC236}">
                <a16:creationId xmlns:a16="http://schemas.microsoft.com/office/drawing/2014/main" id="{920CA81A-996E-455B-A7A4-21D294E47153}"/>
              </a:ext>
            </a:extLst>
          </p:cNvPr>
          <p:cNvCxnSpPr>
            <a:cxnSpLocks/>
          </p:cNvCxnSpPr>
          <p:nvPr userDrawn="1"/>
        </p:nvCxnSpPr>
        <p:spPr>
          <a:xfrm>
            <a:off x="4430136"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4040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_1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35877"/>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375661"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10">
            <a:extLst>
              <a:ext uri="{FF2B5EF4-FFF2-40B4-BE49-F238E27FC236}">
                <a16:creationId xmlns:a16="http://schemas.microsoft.com/office/drawing/2014/main" id="{884ED785-1C5E-4F78-A275-F34C3AEAE06F}"/>
              </a:ext>
            </a:extLst>
          </p:cNvPr>
          <p:cNvSpPr>
            <a:spLocks noGrp="1"/>
          </p:cNvSpPr>
          <p:nvPr>
            <p:ph type="body" sz="quarter" idx="22" hasCustomPrompt="1"/>
          </p:nvPr>
        </p:nvSpPr>
        <p:spPr>
          <a:xfrm>
            <a:off x="517610"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9">
            <a:extLst>
              <a:ext uri="{FF2B5EF4-FFF2-40B4-BE49-F238E27FC236}">
                <a16:creationId xmlns:a16="http://schemas.microsoft.com/office/drawing/2014/main" id="{8992EC07-F579-4A40-AAD6-B8347D980B99}"/>
              </a:ext>
            </a:extLst>
          </p:cNvPr>
          <p:cNvSpPr>
            <a:spLocks noGrp="1"/>
          </p:cNvSpPr>
          <p:nvPr>
            <p:ph type="body" sz="quarter" idx="23"/>
          </p:nvPr>
        </p:nvSpPr>
        <p:spPr>
          <a:xfrm>
            <a:off x="517526"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14" name="Connecteur droit 13">
            <a:extLst>
              <a:ext uri="{FF2B5EF4-FFF2-40B4-BE49-F238E27FC236}">
                <a16:creationId xmlns:a16="http://schemas.microsoft.com/office/drawing/2014/main" id="{7C5E9985-FD1E-428E-A038-1833C2306C28}"/>
              </a:ext>
            </a:extLst>
          </p:cNvPr>
          <p:cNvCxnSpPr>
            <a:cxnSpLocks/>
          </p:cNvCxnSpPr>
          <p:nvPr userDrawn="1"/>
        </p:nvCxnSpPr>
        <p:spPr>
          <a:xfrm>
            <a:off x="375661"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texte 10">
            <a:extLst>
              <a:ext uri="{FF2B5EF4-FFF2-40B4-BE49-F238E27FC236}">
                <a16:creationId xmlns:a16="http://schemas.microsoft.com/office/drawing/2014/main" id="{B3933DBD-2D64-49E5-9665-2D4D428F0437}"/>
              </a:ext>
            </a:extLst>
          </p:cNvPr>
          <p:cNvSpPr>
            <a:spLocks noGrp="1"/>
          </p:cNvSpPr>
          <p:nvPr>
            <p:ph type="body" sz="quarter" idx="24" hasCustomPrompt="1"/>
          </p:nvPr>
        </p:nvSpPr>
        <p:spPr>
          <a:xfrm>
            <a:off x="4572084"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5" name="Espace réservé du texte 9">
            <a:extLst>
              <a:ext uri="{FF2B5EF4-FFF2-40B4-BE49-F238E27FC236}">
                <a16:creationId xmlns:a16="http://schemas.microsoft.com/office/drawing/2014/main" id="{6500DBB1-D65A-4FD5-9F9B-A5027F560FD1}"/>
              </a:ext>
            </a:extLst>
          </p:cNvPr>
          <p:cNvSpPr>
            <a:spLocks noGrp="1"/>
          </p:cNvSpPr>
          <p:nvPr>
            <p:ph type="body" sz="quarter" idx="25"/>
          </p:nvPr>
        </p:nvSpPr>
        <p:spPr>
          <a:xfrm>
            <a:off x="4572001"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6" name="Connecteur droit 25">
            <a:extLst>
              <a:ext uri="{FF2B5EF4-FFF2-40B4-BE49-F238E27FC236}">
                <a16:creationId xmlns:a16="http://schemas.microsoft.com/office/drawing/2014/main" id="{C778CDC4-5FA1-4048-9A78-5B42F7B95A26}"/>
              </a:ext>
            </a:extLst>
          </p:cNvPr>
          <p:cNvCxnSpPr>
            <a:cxnSpLocks/>
          </p:cNvCxnSpPr>
          <p:nvPr userDrawn="1"/>
        </p:nvCxnSpPr>
        <p:spPr>
          <a:xfrm>
            <a:off x="4430136"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Espace réservé du texte 10">
            <a:extLst>
              <a:ext uri="{FF2B5EF4-FFF2-40B4-BE49-F238E27FC236}">
                <a16:creationId xmlns:a16="http://schemas.microsoft.com/office/drawing/2014/main" id="{58300066-BB96-4C12-B605-19344574F918}"/>
              </a:ext>
            </a:extLst>
          </p:cNvPr>
          <p:cNvSpPr>
            <a:spLocks noGrp="1"/>
          </p:cNvSpPr>
          <p:nvPr>
            <p:ph type="body" sz="quarter" idx="26" hasCustomPrompt="1"/>
          </p:nvPr>
        </p:nvSpPr>
        <p:spPr>
          <a:xfrm>
            <a:off x="4572084"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9" name="Espace réservé du texte 9">
            <a:extLst>
              <a:ext uri="{FF2B5EF4-FFF2-40B4-BE49-F238E27FC236}">
                <a16:creationId xmlns:a16="http://schemas.microsoft.com/office/drawing/2014/main" id="{90E4005E-EE52-414F-9FD7-3E4E4439CC01}"/>
              </a:ext>
            </a:extLst>
          </p:cNvPr>
          <p:cNvSpPr>
            <a:spLocks noGrp="1"/>
          </p:cNvSpPr>
          <p:nvPr>
            <p:ph type="body" sz="quarter" idx="27"/>
          </p:nvPr>
        </p:nvSpPr>
        <p:spPr>
          <a:xfrm>
            <a:off x="4572001"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30" name="Connecteur droit 29">
            <a:extLst>
              <a:ext uri="{FF2B5EF4-FFF2-40B4-BE49-F238E27FC236}">
                <a16:creationId xmlns:a16="http://schemas.microsoft.com/office/drawing/2014/main" id="{920CA81A-996E-455B-A7A4-21D294E47153}"/>
              </a:ext>
            </a:extLst>
          </p:cNvPr>
          <p:cNvCxnSpPr>
            <a:cxnSpLocks/>
          </p:cNvCxnSpPr>
          <p:nvPr userDrawn="1"/>
        </p:nvCxnSpPr>
        <p:spPr>
          <a:xfrm>
            <a:off x="4430136"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8">
            <a:extLst>
              <a:ext uri="{FF2B5EF4-FFF2-40B4-BE49-F238E27FC236}">
                <a16:creationId xmlns:a16="http://schemas.microsoft.com/office/drawing/2014/main" id="{2CD24995-E0DC-4BC5-9CD6-9E2365DF84E6}"/>
              </a:ext>
            </a:extLst>
          </p:cNvPr>
          <p:cNvSpPr>
            <a:spLocks noGrp="1"/>
          </p:cNvSpPr>
          <p:nvPr>
            <p:ph type="body" sz="quarter" idx="19"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Tree>
    <p:extLst>
      <p:ext uri="{BB962C8B-B14F-4D97-AF65-F5344CB8AC3E}">
        <p14:creationId xmlns:p14="http://schemas.microsoft.com/office/powerpoint/2010/main" val="28828848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ank you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6522721" y="1724722"/>
            <a:ext cx="2142590" cy="1694054"/>
          </a:xfrm>
        </p:spPr>
        <p:txBody>
          <a:bodyPr anchor="ctr" anchorCtr="0"/>
          <a:lstStyle>
            <a:lvl1pPr>
              <a:lnSpc>
                <a:spcPct val="100000"/>
              </a:lnSpc>
              <a:defRPr sz="2600">
                <a:solidFill>
                  <a:schemeClr val="tx2"/>
                </a:solidFill>
                <a:latin typeface="+mj-lt"/>
              </a:defRPr>
            </a:lvl1pPr>
          </a:lstStyle>
          <a:p>
            <a:r>
              <a:rPr lang="en-US" dirty="0"/>
              <a:t>Thank you for your time.</a:t>
            </a:r>
            <a:endParaRPr lang="en-GB" dirty="0"/>
          </a:p>
        </p:txBody>
      </p:sp>
      <p:sp>
        <p:nvSpPr>
          <p:cNvPr id="5" name="Espace réservé du numéro de diapositive 4">
            <a:extLst>
              <a:ext uri="{FF2B5EF4-FFF2-40B4-BE49-F238E27FC236}">
                <a16:creationId xmlns:a16="http://schemas.microsoft.com/office/drawing/2014/main" id="{06E43FDB-370E-4FD7-BAB8-C9EDA7E050E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pic>
        <p:nvPicPr>
          <p:cNvPr id="10" name="Image 9">
            <a:extLst>
              <a:ext uri="{FF2B5EF4-FFF2-40B4-BE49-F238E27FC236}">
                <a16:creationId xmlns:a16="http://schemas.microsoft.com/office/drawing/2014/main" id="{1A3D8EE0-285A-4BE4-8AFD-3AA0313F25B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617835" y="4666659"/>
            <a:ext cx="738761" cy="382981"/>
          </a:xfrm>
          <a:prstGeom prst="rect">
            <a:avLst/>
          </a:prstGeom>
        </p:spPr>
      </p:pic>
      <p:sp>
        <p:nvSpPr>
          <p:cNvPr id="15" name="Espace réservé pour une image  15">
            <a:extLst>
              <a:ext uri="{FF2B5EF4-FFF2-40B4-BE49-F238E27FC236}">
                <a16:creationId xmlns:a16="http://schemas.microsoft.com/office/drawing/2014/main" id="{733DF233-71B1-4D15-B5DF-82B4314D44B2}"/>
              </a:ext>
            </a:extLst>
          </p:cNvPr>
          <p:cNvSpPr>
            <a:spLocks noGrp="1"/>
          </p:cNvSpPr>
          <p:nvPr>
            <p:ph type="pic" sz="quarter" idx="16"/>
          </p:nvPr>
        </p:nvSpPr>
        <p:spPr>
          <a:xfrm>
            <a:off x="252000" y="0"/>
            <a:ext cx="5925280" cy="5143500"/>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a:p>
        </p:txBody>
      </p:sp>
    </p:spTree>
    <p:extLst>
      <p:ext uri="{BB962C8B-B14F-4D97-AF65-F5344CB8AC3E}">
        <p14:creationId xmlns:p14="http://schemas.microsoft.com/office/powerpoint/2010/main" val="380134472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ank  you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4" name="Rectangle 3"/>
          <p:cNvSpPr/>
          <p:nvPr userDrawn="1"/>
        </p:nvSpPr>
        <p:spPr>
          <a:xfrm>
            <a:off x="251163" y="1"/>
            <a:ext cx="5926117" cy="5143499"/>
          </a:xfrm>
          <a:prstGeom prst="rect">
            <a:avLst/>
          </a:prstGeom>
          <a:blipFill dpi="0" rotWithShape="1">
            <a:blip r:embed="rId2"/>
            <a:srcRect/>
            <a:tile tx="0" ty="0" sx="100000" sy="100000" flip="x"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6522721" y="1724722"/>
            <a:ext cx="2142590" cy="1694054"/>
          </a:xfrm>
        </p:spPr>
        <p:txBody>
          <a:bodyPr anchor="ctr" anchorCtr="0"/>
          <a:lstStyle>
            <a:lvl1pPr>
              <a:lnSpc>
                <a:spcPct val="100000"/>
              </a:lnSpc>
              <a:defRPr sz="2600">
                <a:solidFill>
                  <a:schemeClr val="tx2"/>
                </a:solidFill>
                <a:latin typeface="+mj-lt"/>
              </a:defRPr>
            </a:lvl1pPr>
          </a:lstStyle>
          <a:p>
            <a:r>
              <a:rPr lang="en-US" dirty="0"/>
              <a:t>Thank you for your time.</a:t>
            </a:r>
            <a:endParaRPr lang="en-GB" dirty="0"/>
          </a:p>
        </p:txBody>
      </p:sp>
      <p:sp>
        <p:nvSpPr>
          <p:cNvPr id="5" name="Espace réservé du numéro de diapositive 4">
            <a:extLst>
              <a:ext uri="{FF2B5EF4-FFF2-40B4-BE49-F238E27FC236}">
                <a16:creationId xmlns:a16="http://schemas.microsoft.com/office/drawing/2014/main" id="{06E43FDB-370E-4FD7-BAB8-C9EDA7E050E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pic>
        <p:nvPicPr>
          <p:cNvPr id="9" name="Picture 8"/>
          <p:cNvPicPr>
            <a:picLocks noChangeAspect="1"/>
          </p:cNvPicPr>
          <p:nvPr userDrawn="1"/>
        </p:nvPicPr>
        <p:blipFill>
          <a:blip r:embed="rId3"/>
          <a:stretch>
            <a:fillRect/>
          </a:stretch>
        </p:blipFill>
        <p:spPr>
          <a:xfrm>
            <a:off x="7888627" y="4752975"/>
            <a:ext cx="719138" cy="398219"/>
          </a:xfrm>
          <a:prstGeom prst="rect">
            <a:avLst/>
          </a:prstGeom>
        </p:spPr>
      </p:pic>
    </p:spTree>
    <p:extLst>
      <p:ext uri="{BB962C8B-B14F-4D97-AF65-F5344CB8AC3E}">
        <p14:creationId xmlns:p14="http://schemas.microsoft.com/office/powerpoint/2010/main" val="336380318"/>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1_Derniere 1">
    <p:bg bwMode="gray">
      <p:bgPr>
        <a:solidFill>
          <a:schemeClr val="accent3"/>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5008500"/>
            <a:ext cx="180000" cy="135000"/>
          </a:xfrm>
          <a:ln>
            <a:solidFill>
              <a:schemeClr val="tx1">
                <a:alpha val="0"/>
              </a:schemeClr>
            </a:solidFill>
          </a:ln>
        </p:spPr>
        <p:txBody>
          <a:bodyPr/>
          <a:lstStyle>
            <a:lvl1pPr>
              <a:defRPr>
                <a:solidFill>
                  <a:schemeClr val="accent3">
                    <a:alpha val="0"/>
                  </a:schemeClr>
                </a:solidFill>
              </a:defRPr>
            </a:lvl1pPr>
          </a:lstStyle>
          <a:p>
            <a:r>
              <a:rPr lang="fr-FR"/>
              <a:t>26/11/2021</a:t>
            </a:r>
            <a:endParaRPr lang="fr-FR" dirty="0"/>
          </a:p>
        </p:txBody>
      </p:sp>
      <p:sp>
        <p:nvSpPr>
          <p:cNvPr id="5" name="Espace réservé du pied de page 4"/>
          <p:cNvSpPr>
            <a:spLocks noGrp="1"/>
          </p:cNvSpPr>
          <p:nvPr>
            <p:ph type="ftr" sz="quarter" idx="11"/>
          </p:nvPr>
        </p:nvSpPr>
        <p:spPr bwMode="gray">
          <a:xfrm>
            <a:off x="0" y="5008500"/>
            <a:ext cx="180000" cy="135000"/>
          </a:xfrm>
        </p:spPr>
        <p:txBody>
          <a:bodyPr/>
          <a:lstStyle/>
          <a:p>
            <a:endParaRPr lang="fr-FR"/>
          </a:p>
        </p:txBody>
      </p:sp>
      <p:sp>
        <p:nvSpPr>
          <p:cNvPr id="6" name="Espace réservé du numéro de diapositive 5"/>
          <p:cNvSpPr>
            <a:spLocks noGrp="1"/>
          </p:cNvSpPr>
          <p:nvPr>
            <p:ph type="sldNum" sz="quarter" idx="12"/>
          </p:nvPr>
        </p:nvSpPr>
        <p:spPr bwMode="gray">
          <a:xfrm>
            <a:off x="0" y="5008500"/>
            <a:ext cx="180000" cy="135000"/>
          </a:xfrm>
          <a:ln>
            <a:solidFill>
              <a:schemeClr val="tx1">
                <a:alpha val="0"/>
              </a:schemeClr>
            </a:solidFill>
          </a:ln>
        </p:spPr>
        <p:txBody>
          <a:bodyPr/>
          <a:lstStyle>
            <a:lvl1pPr>
              <a:defRPr>
                <a:solidFill>
                  <a:schemeClr val="accent3">
                    <a:alpha val="0"/>
                  </a:schemeClr>
                </a:solidFill>
              </a:defRPr>
            </a:lvl1pPr>
          </a:lstStyle>
          <a:p>
            <a:fld id="{65571E2A-2AE4-4AE9-A5FF-468BE27EC277}" type="slidenum">
              <a:rPr lang="fr-FR" smtClean="0"/>
              <a:pPr/>
              <a:t>‹N°›</a:t>
            </a:fld>
            <a:endParaRPr lang="fr-FR"/>
          </a:p>
        </p:txBody>
      </p:sp>
      <p:pic>
        <p:nvPicPr>
          <p:cNvPr id="8" name="Picture 2" descr="\\casnas100\dfs_root\COMMUN\Commun160\DCG-CM\Marque\Logos\Frise marques et Label groupe\Frise Groupe\Groupe\CA FRISE Blanc\CA FRISE 2L-BLANC EN\20151738E_CAGroup_F2L_BL_EN_RV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3529" y="3813889"/>
            <a:ext cx="8496944" cy="1167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2894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064EC0-F050-464F-9AF9-2BA432DCCA37}"/>
              </a:ext>
            </a:extLst>
          </p:cNvPr>
          <p:cNvGraphicFramePr>
            <a:graphicFrameLocks noChangeAspect="1"/>
          </p:cNvGraphicFramePr>
          <p:nvPr userDrawn="1">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73" name="Diapositive think-cell" r:id="rId5" imgW="327" imgH="327" progId="TCLayout.ActiveDocument.1">
                  <p:embed/>
                </p:oleObj>
              </mc:Choice>
              <mc:Fallback>
                <p:oleObj name="Diapositive think-cell" r:id="rId5" imgW="327" imgH="327" progId="TCLayout.ActiveDocument.1">
                  <p:embed/>
                  <p:pic>
                    <p:nvPicPr>
                      <p:cNvPr id="4" name="Object 3" hidden="1">
                        <a:extLst>
                          <a:ext uri="{FF2B5EF4-FFF2-40B4-BE49-F238E27FC236}">
                            <a16:creationId xmlns:a16="http://schemas.microsoft.com/office/drawing/2014/main" id="{2D064EC0-F050-464F-9AF9-2BA432DCCA37}"/>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278905-57C5-4A0B-8066-434E38B0AEEE}"/>
              </a:ext>
            </a:extLst>
          </p:cNvPr>
          <p:cNvSpPr/>
          <p:nvPr userDrawn="1">
            <p:custDataLst>
              <p:tags r:id="rId3"/>
            </p:custDataLst>
          </p:nvPr>
        </p:nvSpPr>
        <p:spPr>
          <a:xfrm>
            <a:off x="1" y="1"/>
            <a:ext cx="119063" cy="1190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1" y="467101"/>
            <a:ext cx="8200013" cy="332399"/>
          </a:xfrm>
        </p:spPr>
        <p:txBody>
          <a:bodyPr/>
          <a:lstStyle>
            <a:lvl1pPr>
              <a:defRPr sz="2400">
                <a:latin typeface="+mj-lt"/>
                <a:ea typeface="+mj-ea"/>
                <a:cs typeface="+mj-cs"/>
                <a:sym typeface="+mj-lt"/>
              </a:defRPr>
            </a:lvl1pPr>
          </a:lstStyle>
          <a:p>
            <a:r>
              <a:rPr lang="en-US" dirty="0"/>
              <a:t>Click to add title</a:t>
            </a:r>
          </a:p>
        </p:txBody>
      </p:sp>
      <p:sp>
        <p:nvSpPr>
          <p:cNvPr id="5" name="ZoneTexte 4">
            <a:extLst>
              <a:ext uri="{FF2B5EF4-FFF2-40B4-BE49-F238E27FC236}">
                <a16:creationId xmlns:a16="http://schemas.microsoft.com/office/drawing/2014/main" id="{347FE0E8-B19E-1E88-1F47-079ED4EE9E3A}"/>
              </a:ext>
            </a:extLst>
          </p:cNvPr>
          <p:cNvSpPr txBox="1"/>
          <p:nvPr userDrawn="1"/>
        </p:nvSpPr>
        <p:spPr>
          <a:xfrm>
            <a:off x="410135" y="488800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fr-FR" sz="1350" dirty="0" err="1">
              <a:solidFill>
                <a:schemeClr val="tx1"/>
              </a:solidFill>
            </a:endParaRPr>
          </a:p>
        </p:txBody>
      </p:sp>
    </p:spTree>
    <p:extLst>
      <p:ext uri="{BB962C8B-B14F-4D97-AF65-F5344CB8AC3E}">
        <p14:creationId xmlns:p14="http://schemas.microsoft.com/office/powerpoint/2010/main" val="1477822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7997742" cy="3240000"/>
          </a:xfrm>
        </p:spPr>
        <p:txBody>
          <a:bodyPr>
            <a:noAutofit/>
          </a:bodyPr>
          <a:lstStyle>
            <a:lvl1pPr>
              <a:defRPr lang="en-US" b="0" i="0" smtClean="0">
                <a:effectLs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8" name="TextBox 7"/>
          <p:cNvSpPr txBox="1"/>
          <p:nvPr userDrawn="1"/>
        </p:nvSpPr>
        <p:spPr>
          <a:xfrm>
            <a:off x="0" y="4622110"/>
            <a:ext cx="876300" cy="530915"/>
          </a:xfrm>
          <a:prstGeom prst="rect">
            <a:avLst/>
          </a:prstGeom>
          <a:solidFill>
            <a:schemeClr val="bg1"/>
          </a:solidFill>
        </p:spPr>
        <p:txBody>
          <a:bodyPr wrap="square" rtlCol="0">
            <a:spAutoFit/>
          </a:bodyPr>
          <a:lstStyle/>
          <a:p>
            <a:endParaRPr lang="fr-FR" sz="1000" dirty="0"/>
          </a:p>
          <a:p>
            <a:endParaRPr lang="fr-FR" dirty="0"/>
          </a:p>
        </p:txBody>
      </p:sp>
      <p:sp>
        <p:nvSpPr>
          <p:cNvPr id="9" name="TextBox 8"/>
          <p:cNvSpPr txBox="1"/>
          <p:nvPr userDrawn="1"/>
        </p:nvSpPr>
        <p:spPr>
          <a:xfrm>
            <a:off x="876299" y="4612585"/>
            <a:ext cx="7012328" cy="538609"/>
          </a:xfrm>
          <a:prstGeom prst="rect">
            <a:avLst/>
          </a:prstGeom>
          <a:solidFill>
            <a:schemeClr val="bg1"/>
          </a:solidFill>
        </p:spPr>
        <p:txBody>
          <a:bodyPr wrap="square" rtlCol="0">
            <a:spAutoFit/>
          </a:bodyPr>
          <a:lstStyle/>
          <a:p>
            <a:endParaRPr lang="fr-FR" sz="400" dirty="0"/>
          </a:p>
          <a:p>
            <a:endParaRPr lang="fr-FR" sz="600" dirty="0"/>
          </a:p>
          <a:p>
            <a:endParaRPr lang="en-US" dirty="0"/>
          </a:p>
        </p:txBody>
      </p:sp>
      <p:sp>
        <p:nvSpPr>
          <p:cNvPr id="11"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2" name="Picture 11"/>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559348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7997742" cy="424732"/>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7997742"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du texte 8">
            <a:extLst>
              <a:ext uri="{FF2B5EF4-FFF2-40B4-BE49-F238E27FC236}">
                <a16:creationId xmlns:a16="http://schemas.microsoft.com/office/drawing/2014/main" id="{50EF4B05-A641-4213-BED2-B2F8243CFA25}"/>
              </a:ext>
            </a:extLst>
          </p:cNvPr>
          <p:cNvSpPr>
            <a:spLocks noGrp="1"/>
          </p:cNvSpPr>
          <p:nvPr>
            <p:ph type="body" sz="quarter" idx="13" hasCustomPrompt="1"/>
          </p:nvPr>
        </p:nvSpPr>
        <p:spPr>
          <a:xfrm>
            <a:off x="517608" y="523145"/>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0" name="TextBox 9"/>
          <p:cNvSpPr txBox="1"/>
          <p:nvPr userDrawn="1"/>
        </p:nvSpPr>
        <p:spPr>
          <a:xfrm>
            <a:off x="60960" y="4612585"/>
            <a:ext cx="815339" cy="530915"/>
          </a:xfrm>
          <a:prstGeom prst="rect">
            <a:avLst/>
          </a:prstGeom>
          <a:solidFill>
            <a:schemeClr val="bg1"/>
          </a:solidFill>
        </p:spPr>
        <p:txBody>
          <a:bodyPr wrap="square" rtlCol="0">
            <a:spAutoFit/>
          </a:bodyPr>
          <a:lstStyle/>
          <a:p>
            <a:endParaRPr lang="fr-FR" sz="1000" dirty="0"/>
          </a:p>
          <a:p>
            <a:endParaRPr lang="fr-FR" dirty="0"/>
          </a:p>
        </p:txBody>
      </p:sp>
      <p:sp>
        <p:nvSpPr>
          <p:cNvPr id="16"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7" name="Picture 16"/>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4279682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_3">
    <p:spTree>
      <p:nvGrpSpPr>
        <p:cNvPr id="1" name=""/>
        <p:cNvGrpSpPr/>
        <p:nvPr/>
      </p:nvGrpSpPr>
      <p:grpSpPr>
        <a:xfrm>
          <a:off x="0" y="0"/>
          <a:ext cx="0" cy="0"/>
          <a:chOff x="0" y="0"/>
          <a:chExt cx="0" cy="0"/>
        </a:xfrm>
      </p:grpSpPr>
      <p:sp>
        <p:nvSpPr>
          <p:cNvPr id="7" name="Rectangle 6"/>
          <p:cNvSpPr/>
          <p:nvPr userDrawn="1"/>
        </p:nvSpPr>
        <p:spPr>
          <a:xfrm>
            <a:off x="5985791" y="0"/>
            <a:ext cx="2621973" cy="51435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824594"/>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35974078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824594"/>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pour une image  8">
            <a:extLst>
              <a:ext uri="{FF2B5EF4-FFF2-40B4-BE49-F238E27FC236}">
                <a16:creationId xmlns:a16="http://schemas.microsoft.com/office/drawing/2014/main" id="{175D6BA6-64F5-4D9C-84B9-AF8F4AAB8735}"/>
              </a:ext>
            </a:extLst>
          </p:cNvPr>
          <p:cNvSpPr>
            <a:spLocks noGrp="1"/>
          </p:cNvSpPr>
          <p:nvPr>
            <p:ph type="pic" sz="quarter" idx="13"/>
          </p:nvPr>
        </p:nvSpPr>
        <p:spPr>
          <a:xfrm>
            <a:off x="5992142" y="7693"/>
            <a:ext cx="2520950" cy="5143500"/>
          </a:xfrm>
        </p:spPr>
        <p:txBody>
          <a:bodyPr/>
          <a:lstStyle>
            <a:lvl1pPr>
              <a:defRPr b="1">
                <a:solidFill>
                  <a:schemeClr val="bg2"/>
                </a:solidFill>
              </a:defRPr>
            </a:lvl1pPr>
          </a:lstStyle>
          <a:p>
            <a:endParaRPr lang="en-GB" dirty="0"/>
          </a:p>
        </p:txBody>
      </p:sp>
      <p:sp>
        <p:nvSpPr>
          <p:cNvPr id="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25155185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5">
    <p:spTree>
      <p:nvGrpSpPr>
        <p:cNvPr id="1" name=""/>
        <p:cNvGrpSpPr/>
        <p:nvPr/>
      </p:nvGrpSpPr>
      <p:grpSpPr>
        <a:xfrm>
          <a:off x="0" y="0"/>
          <a:ext cx="0" cy="0"/>
          <a:chOff x="0" y="0"/>
          <a:chExt cx="0" cy="0"/>
        </a:xfrm>
      </p:grpSpPr>
      <p:sp>
        <p:nvSpPr>
          <p:cNvPr id="10" name="Rectangle 9"/>
          <p:cNvSpPr/>
          <p:nvPr userDrawn="1"/>
        </p:nvSpPr>
        <p:spPr>
          <a:xfrm>
            <a:off x="5985791" y="0"/>
            <a:ext cx="2621973" cy="51435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424733"/>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spcBef>
                <a:spcPts val="500"/>
              </a:spcBef>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6" name="Espace réservé du numéro de diapositive 5">
            <a:extLst>
              <a:ext uri="{FF2B5EF4-FFF2-40B4-BE49-F238E27FC236}">
                <a16:creationId xmlns:a16="http://schemas.microsoft.com/office/drawing/2014/main" id="{4708F2AE-7607-473E-97E5-003C4759704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a:p>
        </p:txBody>
      </p:sp>
      <p:sp>
        <p:nvSpPr>
          <p:cNvPr id="8" name="Espace réservé du texte 8">
            <a:extLst>
              <a:ext uri="{FF2B5EF4-FFF2-40B4-BE49-F238E27FC236}">
                <a16:creationId xmlns:a16="http://schemas.microsoft.com/office/drawing/2014/main" id="{BA2C6807-1B7A-4C3F-85F1-E39AC857CAB7}"/>
              </a:ext>
            </a:extLst>
          </p:cNvPr>
          <p:cNvSpPr>
            <a:spLocks noGrp="1"/>
          </p:cNvSpPr>
          <p:nvPr>
            <p:ph type="body" sz="quarter" idx="14" hasCustomPrompt="1"/>
          </p:nvPr>
        </p:nvSpPr>
        <p:spPr>
          <a:xfrm>
            <a:off x="517608" y="523145"/>
            <a:ext cx="5202000"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Tree>
    <p:extLst>
      <p:ext uri="{BB962C8B-B14F-4D97-AF65-F5344CB8AC3E}">
        <p14:creationId xmlns:p14="http://schemas.microsoft.com/office/powerpoint/2010/main" val="18054025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_6">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424733"/>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spcBef>
                <a:spcPts val="500"/>
              </a:spcBef>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pour une image  8">
            <a:extLst>
              <a:ext uri="{FF2B5EF4-FFF2-40B4-BE49-F238E27FC236}">
                <a16:creationId xmlns:a16="http://schemas.microsoft.com/office/drawing/2014/main" id="{175D6BA6-64F5-4D9C-84B9-AF8F4AAB8735}"/>
              </a:ext>
            </a:extLst>
          </p:cNvPr>
          <p:cNvSpPr>
            <a:spLocks noGrp="1"/>
          </p:cNvSpPr>
          <p:nvPr>
            <p:ph type="pic" sz="quarter" idx="13"/>
          </p:nvPr>
        </p:nvSpPr>
        <p:spPr>
          <a:xfrm>
            <a:off x="5985792" y="0"/>
            <a:ext cx="2520950" cy="5143500"/>
          </a:xfrm>
        </p:spPr>
        <p:txBody>
          <a:bodyPr/>
          <a:lstStyle>
            <a:lvl1pPr>
              <a:defRPr b="1">
                <a:solidFill>
                  <a:schemeClr val="bg2"/>
                </a:solidFill>
              </a:defRPr>
            </a:lvl1pPr>
          </a:lstStyle>
          <a:p>
            <a:endParaRPr lang="en-GB" dirty="0"/>
          </a:p>
        </p:txBody>
      </p:sp>
      <p:sp>
        <p:nvSpPr>
          <p:cNvPr id="8" name="Espace réservé du texte 8">
            <a:extLst>
              <a:ext uri="{FF2B5EF4-FFF2-40B4-BE49-F238E27FC236}">
                <a16:creationId xmlns:a16="http://schemas.microsoft.com/office/drawing/2014/main" id="{BA2C6807-1B7A-4C3F-85F1-E39AC857CAB7}"/>
              </a:ext>
            </a:extLst>
          </p:cNvPr>
          <p:cNvSpPr>
            <a:spLocks noGrp="1"/>
          </p:cNvSpPr>
          <p:nvPr>
            <p:ph type="body" sz="quarter" idx="14" hasCustomPrompt="1"/>
          </p:nvPr>
        </p:nvSpPr>
        <p:spPr>
          <a:xfrm>
            <a:off x="517608" y="523145"/>
            <a:ext cx="5202000"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17442257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8" name="TextBox 7"/>
          <p:cNvSpPr txBox="1"/>
          <p:nvPr userDrawn="1"/>
        </p:nvSpPr>
        <p:spPr>
          <a:xfrm>
            <a:off x="60960" y="4620278"/>
            <a:ext cx="815339" cy="530915"/>
          </a:xfrm>
          <a:prstGeom prst="rect">
            <a:avLst/>
          </a:prstGeom>
          <a:solidFill>
            <a:schemeClr val="bg1"/>
          </a:solidFill>
        </p:spPr>
        <p:txBody>
          <a:bodyPr wrap="square" rtlCol="0">
            <a:spAutoFit/>
          </a:bodyPr>
          <a:lstStyle/>
          <a:p>
            <a:endParaRPr lang="fr-FR" sz="1000" dirty="0"/>
          </a:p>
          <a:p>
            <a:endParaRPr lang="fr-FR" dirty="0"/>
          </a:p>
        </p:txBody>
      </p:sp>
      <p:sp>
        <p:nvSpPr>
          <p:cNvPr id="9" name="TextBox 8"/>
          <p:cNvSpPr txBox="1"/>
          <p:nvPr userDrawn="1"/>
        </p:nvSpPr>
        <p:spPr>
          <a:xfrm>
            <a:off x="876299" y="4612585"/>
            <a:ext cx="7012328" cy="538609"/>
          </a:xfrm>
          <a:prstGeom prst="rect">
            <a:avLst/>
          </a:prstGeom>
          <a:solidFill>
            <a:schemeClr val="bg1"/>
          </a:solidFill>
        </p:spPr>
        <p:txBody>
          <a:bodyPr wrap="square" rtlCol="0">
            <a:spAutoFit/>
          </a:bodyPr>
          <a:lstStyle/>
          <a:p>
            <a:endParaRPr lang="fr-FR" sz="400" dirty="0"/>
          </a:p>
          <a:p>
            <a:endParaRPr lang="fr-FR" sz="600" dirty="0"/>
          </a:p>
          <a:p>
            <a:endParaRPr lang="en-US" dirty="0"/>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1" name="Picture 10"/>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638241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page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2" name="Espace réservé pour une image  11">
            <a:extLst>
              <a:ext uri="{FF2B5EF4-FFF2-40B4-BE49-F238E27FC236}">
                <a16:creationId xmlns:a16="http://schemas.microsoft.com/office/drawing/2014/main" id="{8BF4F207-E709-42A4-9B4C-9D25C5BF97B5}"/>
              </a:ext>
            </a:extLst>
          </p:cNvPr>
          <p:cNvSpPr>
            <a:spLocks noGrp="1"/>
          </p:cNvSpPr>
          <p:nvPr>
            <p:ph type="pic" sz="quarter" idx="10"/>
          </p:nvPr>
        </p:nvSpPr>
        <p:spPr>
          <a:xfrm>
            <a:off x="5120640" y="2"/>
            <a:ext cx="3763616" cy="5143499"/>
          </a:xfrm>
          <a:custGeom>
            <a:avLst/>
            <a:gdLst>
              <a:gd name="connsiteX0" fmla="*/ 2013644 w 3763616"/>
              <a:gd name="connsiteY0" fmla="*/ 954192 h 5143499"/>
              <a:gd name="connsiteX1" fmla="*/ 3763616 w 3763616"/>
              <a:gd name="connsiteY1" fmla="*/ 954192 h 5143499"/>
              <a:gd name="connsiteX2" fmla="*/ 3763616 w 3763616"/>
              <a:gd name="connsiteY2" fmla="*/ 5143499 h 5143499"/>
              <a:gd name="connsiteX3" fmla="*/ 2013644 w 3763616"/>
              <a:gd name="connsiteY3" fmla="*/ 5143499 h 5143499"/>
              <a:gd name="connsiteX4" fmla="*/ 0 w 3763616"/>
              <a:gd name="connsiteY4" fmla="*/ 0 h 5143499"/>
              <a:gd name="connsiteX5" fmla="*/ 1749972 w 3763616"/>
              <a:gd name="connsiteY5" fmla="*/ 0 h 5143499"/>
              <a:gd name="connsiteX6" fmla="*/ 1749972 w 3763616"/>
              <a:gd name="connsiteY6" fmla="*/ 4067882 h 5143499"/>
              <a:gd name="connsiteX7" fmla="*/ 0 w 3763616"/>
              <a:gd name="connsiteY7" fmla="*/ 406788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3616" h="5143499">
                <a:moveTo>
                  <a:pt x="2013644" y="954192"/>
                </a:moveTo>
                <a:lnTo>
                  <a:pt x="3763616" y="954192"/>
                </a:lnTo>
                <a:lnTo>
                  <a:pt x="3763616" y="5143499"/>
                </a:lnTo>
                <a:lnTo>
                  <a:pt x="2013644" y="5143499"/>
                </a:lnTo>
                <a:close/>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0"/>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pic>
        <p:nvPicPr>
          <p:cNvPr id="8"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36198032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_7">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08"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2" name="Espace réservé du texte 10">
            <a:extLst>
              <a:ext uri="{FF2B5EF4-FFF2-40B4-BE49-F238E27FC236}">
                <a16:creationId xmlns:a16="http://schemas.microsoft.com/office/drawing/2014/main" id="{3F288438-6568-4129-AFEC-A45C6AF8B116}"/>
              </a:ext>
            </a:extLst>
          </p:cNvPr>
          <p:cNvSpPr>
            <a:spLocks noGrp="1"/>
          </p:cNvSpPr>
          <p:nvPr>
            <p:ph type="body" sz="quarter" idx="17" hasCustomPrompt="1"/>
          </p:nvPr>
        </p:nvSpPr>
        <p:spPr>
          <a:xfrm>
            <a:off x="3332044"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10">
            <a:extLst>
              <a:ext uri="{FF2B5EF4-FFF2-40B4-BE49-F238E27FC236}">
                <a16:creationId xmlns:a16="http://schemas.microsoft.com/office/drawing/2014/main" id="{6E7B0411-6395-42FD-95F1-E02232864B3D}"/>
              </a:ext>
            </a:extLst>
          </p:cNvPr>
          <p:cNvSpPr>
            <a:spLocks noGrp="1"/>
          </p:cNvSpPr>
          <p:nvPr>
            <p:ph type="body" sz="quarter" idx="18" hasCustomPrompt="1"/>
          </p:nvPr>
        </p:nvSpPr>
        <p:spPr>
          <a:xfrm>
            <a:off x="6146481"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pour une image  9"/>
          <p:cNvSpPr>
            <a:spLocks noGrp="1"/>
          </p:cNvSpPr>
          <p:nvPr>
            <p:ph type="pic" sz="quarter" idx="19"/>
          </p:nvPr>
        </p:nvSpPr>
        <p:spPr>
          <a:xfrm>
            <a:off x="517608" y="1416237"/>
            <a:ext cx="654050" cy="631825"/>
          </a:xfrm>
        </p:spPr>
        <p:txBody>
          <a:bodyPr/>
          <a:lstStyle>
            <a:lvl1pPr>
              <a:defRPr b="1">
                <a:solidFill>
                  <a:schemeClr val="bg2"/>
                </a:solidFill>
              </a:defRPr>
            </a:lvl1pPr>
          </a:lstStyle>
          <a:p>
            <a:endParaRPr lang="fr-FR" dirty="0"/>
          </a:p>
        </p:txBody>
      </p:sp>
      <p:sp>
        <p:nvSpPr>
          <p:cNvPr id="14" name="Espace réservé pour une image  9"/>
          <p:cNvSpPr>
            <a:spLocks noGrp="1"/>
          </p:cNvSpPr>
          <p:nvPr>
            <p:ph type="pic" sz="quarter" idx="20"/>
          </p:nvPr>
        </p:nvSpPr>
        <p:spPr>
          <a:xfrm>
            <a:off x="3332044" y="1410074"/>
            <a:ext cx="654050" cy="631825"/>
          </a:xfrm>
        </p:spPr>
        <p:txBody>
          <a:bodyPr/>
          <a:lstStyle>
            <a:lvl1pPr>
              <a:defRPr b="1">
                <a:solidFill>
                  <a:schemeClr val="bg2"/>
                </a:solidFill>
              </a:defRPr>
            </a:lvl1pPr>
          </a:lstStyle>
          <a:p>
            <a:endParaRPr lang="fr-FR" dirty="0"/>
          </a:p>
        </p:txBody>
      </p:sp>
      <p:sp>
        <p:nvSpPr>
          <p:cNvPr id="15" name="Espace réservé pour une image  9"/>
          <p:cNvSpPr>
            <a:spLocks noGrp="1"/>
          </p:cNvSpPr>
          <p:nvPr>
            <p:ph type="pic" sz="quarter" idx="21"/>
          </p:nvPr>
        </p:nvSpPr>
        <p:spPr>
          <a:xfrm>
            <a:off x="6146480" y="1405004"/>
            <a:ext cx="654050" cy="631825"/>
          </a:xfrm>
        </p:spPr>
        <p:txBody>
          <a:bodyPr/>
          <a:lstStyle>
            <a:lvl1pPr>
              <a:defRPr b="1">
                <a:solidFill>
                  <a:schemeClr val="bg2"/>
                </a:solidFill>
              </a:defRPr>
            </a:lvl1pPr>
          </a:lstStyle>
          <a:p>
            <a:endParaRPr lang="fr-FR" dirty="0"/>
          </a:p>
        </p:txBody>
      </p:sp>
      <p:sp>
        <p:nvSpPr>
          <p:cNvPr id="16"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2"/>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35294235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_8">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73626"/>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4" name="Espace réservé du texte 8">
            <a:extLst>
              <a:ext uri="{FF2B5EF4-FFF2-40B4-BE49-F238E27FC236}">
                <a16:creationId xmlns:a16="http://schemas.microsoft.com/office/drawing/2014/main" id="{18A0D1FC-C71E-45A6-9B74-BD3AE833B0BB}"/>
              </a:ext>
            </a:extLst>
          </p:cNvPr>
          <p:cNvSpPr>
            <a:spLocks noGrp="1"/>
          </p:cNvSpPr>
          <p:nvPr>
            <p:ph type="body" sz="quarter" idx="19" hasCustomPrompt="1"/>
          </p:nvPr>
        </p:nvSpPr>
        <p:spPr>
          <a:xfrm>
            <a:off x="517608" y="523145"/>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21" name="Espace réservé du texte 10">
            <a:extLst>
              <a:ext uri="{FF2B5EF4-FFF2-40B4-BE49-F238E27FC236}">
                <a16:creationId xmlns:a16="http://schemas.microsoft.com/office/drawing/2014/main" id="{09E85E61-A3D4-4628-A6F0-EC9023CAFCF5}"/>
              </a:ext>
            </a:extLst>
          </p:cNvPr>
          <p:cNvSpPr>
            <a:spLocks noGrp="1"/>
          </p:cNvSpPr>
          <p:nvPr>
            <p:ph type="body" sz="quarter" idx="16" hasCustomPrompt="1"/>
          </p:nvPr>
        </p:nvSpPr>
        <p:spPr>
          <a:xfrm>
            <a:off x="517608"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2" name="Espace réservé du texte 10">
            <a:extLst>
              <a:ext uri="{FF2B5EF4-FFF2-40B4-BE49-F238E27FC236}">
                <a16:creationId xmlns:a16="http://schemas.microsoft.com/office/drawing/2014/main" id="{5C1EBBD4-A615-4893-9F04-99AE2CBB30EC}"/>
              </a:ext>
            </a:extLst>
          </p:cNvPr>
          <p:cNvSpPr>
            <a:spLocks noGrp="1"/>
          </p:cNvSpPr>
          <p:nvPr>
            <p:ph type="body" sz="quarter" idx="17" hasCustomPrompt="1"/>
          </p:nvPr>
        </p:nvSpPr>
        <p:spPr>
          <a:xfrm>
            <a:off x="3332044"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10">
            <a:extLst>
              <a:ext uri="{FF2B5EF4-FFF2-40B4-BE49-F238E27FC236}">
                <a16:creationId xmlns:a16="http://schemas.microsoft.com/office/drawing/2014/main" id="{124CD343-3513-4F06-BFC3-7441F2D45867}"/>
              </a:ext>
            </a:extLst>
          </p:cNvPr>
          <p:cNvSpPr>
            <a:spLocks noGrp="1"/>
          </p:cNvSpPr>
          <p:nvPr>
            <p:ph type="body" sz="quarter" idx="18" hasCustomPrompt="1"/>
          </p:nvPr>
        </p:nvSpPr>
        <p:spPr>
          <a:xfrm>
            <a:off x="6146481"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pour une image  9"/>
          <p:cNvSpPr>
            <a:spLocks noGrp="1"/>
          </p:cNvSpPr>
          <p:nvPr>
            <p:ph type="pic" sz="quarter" idx="20" hasCustomPrompt="1"/>
          </p:nvPr>
        </p:nvSpPr>
        <p:spPr>
          <a:xfrm>
            <a:off x="517608" y="1432560"/>
            <a:ext cx="654050" cy="631825"/>
          </a:xfrm>
        </p:spPr>
        <p:txBody>
          <a:bodyPr/>
          <a:lstStyle>
            <a:lvl1pPr>
              <a:defRPr b="1">
                <a:solidFill>
                  <a:schemeClr val="bg2"/>
                </a:solidFill>
              </a:defRPr>
            </a:lvl1pPr>
          </a:lstStyle>
          <a:p>
            <a:r>
              <a:rPr lang="fr-FR" dirty="0" err="1"/>
              <a:t>Picto</a:t>
            </a:r>
            <a:endParaRPr lang="fr-FR" dirty="0"/>
          </a:p>
        </p:txBody>
      </p:sp>
      <p:sp>
        <p:nvSpPr>
          <p:cNvPr id="15" name="Espace réservé pour une image  9"/>
          <p:cNvSpPr>
            <a:spLocks noGrp="1"/>
          </p:cNvSpPr>
          <p:nvPr>
            <p:ph type="pic" sz="quarter" idx="21" hasCustomPrompt="1"/>
          </p:nvPr>
        </p:nvSpPr>
        <p:spPr>
          <a:xfrm>
            <a:off x="3332044" y="1432560"/>
            <a:ext cx="654050" cy="631825"/>
          </a:xfrm>
        </p:spPr>
        <p:txBody>
          <a:bodyPr/>
          <a:lstStyle>
            <a:lvl1pPr>
              <a:defRPr b="1">
                <a:solidFill>
                  <a:schemeClr val="bg2"/>
                </a:solidFill>
              </a:defRPr>
            </a:lvl1pPr>
          </a:lstStyle>
          <a:p>
            <a:r>
              <a:rPr lang="fr-FR" dirty="0" err="1"/>
              <a:t>Picto</a:t>
            </a:r>
            <a:endParaRPr lang="fr-FR" dirty="0"/>
          </a:p>
        </p:txBody>
      </p:sp>
      <p:sp>
        <p:nvSpPr>
          <p:cNvPr id="16" name="Espace réservé pour une image  9"/>
          <p:cNvSpPr>
            <a:spLocks noGrp="1"/>
          </p:cNvSpPr>
          <p:nvPr>
            <p:ph type="pic" sz="quarter" idx="22" hasCustomPrompt="1"/>
          </p:nvPr>
        </p:nvSpPr>
        <p:spPr>
          <a:xfrm>
            <a:off x="6140692" y="1432559"/>
            <a:ext cx="654050" cy="631825"/>
          </a:xfrm>
        </p:spPr>
        <p:txBody>
          <a:bodyPr/>
          <a:lstStyle>
            <a:lvl1pPr>
              <a:defRPr b="1">
                <a:solidFill>
                  <a:schemeClr val="bg2"/>
                </a:solidFill>
              </a:defRPr>
            </a:lvl1pPr>
          </a:lstStyle>
          <a:p>
            <a:r>
              <a:rPr lang="fr-FR" dirty="0" err="1"/>
              <a:t>Picto</a:t>
            </a:r>
            <a:endParaRPr lang="fr-FR" dirty="0"/>
          </a:p>
        </p:txBody>
      </p:sp>
      <p:sp>
        <p:nvSpPr>
          <p:cNvPr id="17"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3"/>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7805855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_9">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09" y="1723856"/>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5"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18" name="Espace réservé du texte 10">
            <a:extLst>
              <a:ext uri="{FF2B5EF4-FFF2-40B4-BE49-F238E27FC236}">
                <a16:creationId xmlns:a16="http://schemas.microsoft.com/office/drawing/2014/main" id="{83870F8E-71D8-4A4E-BF73-1BDA4B584A07}"/>
              </a:ext>
            </a:extLst>
          </p:cNvPr>
          <p:cNvSpPr>
            <a:spLocks noGrp="1"/>
          </p:cNvSpPr>
          <p:nvPr>
            <p:ph type="body" sz="quarter" idx="18" hasCustomPrompt="1"/>
          </p:nvPr>
        </p:nvSpPr>
        <p:spPr>
          <a:xfrm>
            <a:off x="2596783" y="1723856"/>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9" name="Espace réservé du texte 9">
            <a:extLst>
              <a:ext uri="{FF2B5EF4-FFF2-40B4-BE49-F238E27FC236}">
                <a16:creationId xmlns:a16="http://schemas.microsoft.com/office/drawing/2014/main" id="{BEAE223B-A4B3-40C0-9C1B-8AE4EB5BCDA1}"/>
              </a:ext>
            </a:extLst>
          </p:cNvPr>
          <p:cNvSpPr>
            <a:spLocks noGrp="1"/>
          </p:cNvSpPr>
          <p:nvPr>
            <p:ph type="body" sz="quarter" idx="19"/>
          </p:nvPr>
        </p:nvSpPr>
        <p:spPr>
          <a:xfrm>
            <a:off x="2596783"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7" y="1723856"/>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7"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2" name="Espace réservé du texte 10">
            <a:extLst>
              <a:ext uri="{FF2B5EF4-FFF2-40B4-BE49-F238E27FC236}">
                <a16:creationId xmlns:a16="http://schemas.microsoft.com/office/drawing/2014/main" id="{B890002F-81F9-4778-93CB-9221C7910BED}"/>
              </a:ext>
            </a:extLst>
          </p:cNvPr>
          <p:cNvSpPr>
            <a:spLocks noGrp="1"/>
          </p:cNvSpPr>
          <p:nvPr>
            <p:ph type="body" sz="quarter" idx="22" hasCustomPrompt="1"/>
          </p:nvPr>
        </p:nvSpPr>
        <p:spPr>
          <a:xfrm>
            <a:off x="6755045" y="1723856"/>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9">
            <a:extLst>
              <a:ext uri="{FF2B5EF4-FFF2-40B4-BE49-F238E27FC236}">
                <a16:creationId xmlns:a16="http://schemas.microsoft.com/office/drawing/2014/main" id="{69BBDEAD-028C-4010-8649-60E520717AE7}"/>
              </a:ext>
            </a:extLst>
          </p:cNvPr>
          <p:cNvSpPr>
            <a:spLocks noGrp="1"/>
          </p:cNvSpPr>
          <p:nvPr>
            <p:ph type="body" sz="quarter" idx="23"/>
          </p:nvPr>
        </p:nvSpPr>
        <p:spPr>
          <a:xfrm>
            <a:off x="6755045"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2348097"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2ABFFF35-EF37-48CB-BD5C-B26D9053EB85}"/>
              </a:ext>
            </a:extLst>
          </p:cNvPr>
          <p:cNvCxnSpPr>
            <a:cxnSpLocks/>
          </p:cNvCxnSpPr>
          <p:nvPr userDrawn="1"/>
        </p:nvCxnSpPr>
        <p:spPr>
          <a:xfrm>
            <a:off x="6506445"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4"/>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2535659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_10">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73626"/>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09" y="1723856"/>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5"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18" name="Espace réservé du texte 10">
            <a:extLst>
              <a:ext uri="{FF2B5EF4-FFF2-40B4-BE49-F238E27FC236}">
                <a16:creationId xmlns:a16="http://schemas.microsoft.com/office/drawing/2014/main" id="{83870F8E-71D8-4A4E-BF73-1BDA4B584A07}"/>
              </a:ext>
            </a:extLst>
          </p:cNvPr>
          <p:cNvSpPr>
            <a:spLocks noGrp="1"/>
          </p:cNvSpPr>
          <p:nvPr>
            <p:ph type="body" sz="quarter" idx="18" hasCustomPrompt="1"/>
          </p:nvPr>
        </p:nvSpPr>
        <p:spPr>
          <a:xfrm>
            <a:off x="2596783" y="1723856"/>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9" name="Espace réservé du texte 9">
            <a:extLst>
              <a:ext uri="{FF2B5EF4-FFF2-40B4-BE49-F238E27FC236}">
                <a16:creationId xmlns:a16="http://schemas.microsoft.com/office/drawing/2014/main" id="{BEAE223B-A4B3-40C0-9C1B-8AE4EB5BCDA1}"/>
              </a:ext>
            </a:extLst>
          </p:cNvPr>
          <p:cNvSpPr>
            <a:spLocks noGrp="1"/>
          </p:cNvSpPr>
          <p:nvPr>
            <p:ph type="body" sz="quarter" idx="19"/>
          </p:nvPr>
        </p:nvSpPr>
        <p:spPr>
          <a:xfrm>
            <a:off x="2596783"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7" y="1723856"/>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7"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2" name="Espace réservé du texte 10">
            <a:extLst>
              <a:ext uri="{FF2B5EF4-FFF2-40B4-BE49-F238E27FC236}">
                <a16:creationId xmlns:a16="http://schemas.microsoft.com/office/drawing/2014/main" id="{B890002F-81F9-4778-93CB-9221C7910BED}"/>
              </a:ext>
            </a:extLst>
          </p:cNvPr>
          <p:cNvSpPr>
            <a:spLocks noGrp="1"/>
          </p:cNvSpPr>
          <p:nvPr>
            <p:ph type="body" sz="quarter" idx="22" hasCustomPrompt="1"/>
          </p:nvPr>
        </p:nvSpPr>
        <p:spPr>
          <a:xfrm>
            <a:off x="6755045" y="1723856"/>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9">
            <a:extLst>
              <a:ext uri="{FF2B5EF4-FFF2-40B4-BE49-F238E27FC236}">
                <a16:creationId xmlns:a16="http://schemas.microsoft.com/office/drawing/2014/main" id="{69BBDEAD-028C-4010-8649-60E520717AE7}"/>
              </a:ext>
            </a:extLst>
          </p:cNvPr>
          <p:cNvSpPr>
            <a:spLocks noGrp="1"/>
          </p:cNvSpPr>
          <p:nvPr>
            <p:ph type="body" sz="quarter" idx="23"/>
          </p:nvPr>
        </p:nvSpPr>
        <p:spPr>
          <a:xfrm>
            <a:off x="6755045"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2348097"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2ABFFF35-EF37-48CB-BD5C-B26D9053EB85}"/>
              </a:ext>
            </a:extLst>
          </p:cNvPr>
          <p:cNvCxnSpPr>
            <a:cxnSpLocks/>
          </p:cNvCxnSpPr>
          <p:nvPr userDrawn="1"/>
        </p:nvCxnSpPr>
        <p:spPr>
          <a:xfrm>
            <a:off x="6506445"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Espace réservé du texte 8">
            <a:extLst>
              <a:ext uri="{FF2B5EF4-FFF2-40B4-BE49-F238E27FC236}">
                <a16:creationId xmlns:a16="http://schemas.microsoft.com/office/drawing/2014/main" id="{B4A93AB5-24BE-4651-BF5E-2BE5557AB514}"/>
              </a:ext>
            </a:extLst>
          </p:cNvPr>
          <p:cNvSpPr>
            <a:spLocks noGrp="1"/>
          </p:cNvSpPr>
          <p:nvPr>
            <p:ph type="body" sz="quarter" idx="24" hasCustomPrompt="1"/>
          </p:nvPr>
        </p:nvSpPr>
        <p:spPr>
          <a:xfrm>
            <a:off x="517608" y="523145"/>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24"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5"/>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8322183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_1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73626"/>
            <a:ext cx="7247171" cy="824594"/>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382137" y="1363980"/>
            <a:ext cx="0" cy="432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Espace réservé du texte 10">
            <a:extLst>
              <a:ext uri="{FF2B5EF4-FFF2-40B4-BE49-F238E27FC236}">
                <a16:creationId xmlns:a16="http://schemas.microsoft.com/office/drawing/2014/main" id="{656FE585-A0DF-4FA9-A891-1E894E475181}"/>
              </a:ext>
            </a:extLst>
          </p:cNvPr>
          <p:cNvSpPr>
            <a:spLocks noGrp="1"/>
          </p:cNvSpPr>
          <p:nvPr>
            <p:ph type="body" sz="quarter" idx="24" hasCustomPrompt="1"/>
          </p:nvPr>
        </p:nvSpPr>
        <p:spPr>
          <a:xfrm>
            <a:off x="517609" y="2820482"/>
            <a:ext cx="3541433" cy="262784"/>
          </a:xfrm>
        </p:spPr>
        <p:txBody>
          <a:bodyPr rIns="36000">
            <a:normAutofit/>
          </a:bodyPr>
          <a:lstStyle>
            <a:lvl1pPr>
              <a:defRPr sz="1200"/>
            </a:lvl1pPr>
            <a:lvl2pPr>
              <a:defRPr sz="1100"/>
            </a:lvl2pPr>
            <a:lvl3pPr>
              <a:defRPr sz="1050"/>
            </a:lvl3pPr>
            <a:lvl4pPr>
              <a:defRPr sz="1000"/>
            </a:lvl4pPr>
          </a:lstStyle>
          <a:p>
            <a:pPr lvl="2"/>
            <a:r>
              <a:rPr lang="en-US" dirty="0"/>
              <a:t>Click to change the text styles of the mask</a:t>
            </a:r>
          </a:p>
        </p:txBody>
      </p:sp>
      <p:sp>
        <p:nvSpPr>
          <p:cNvPr id="24" name="Espace réservé du texte 9">
            <a:extLst>
              <a:ext uri="{FF2B5EF4-FFF2-40B4-BE49-F238E27FC236}">
                <a16:creationId xmlns:a16="http://schemas.microsoft.com/office/drawing/2014/main" id="{84B33C97-F803-4123-8549-06640E0548E0}"/>
              </a:ext>
            </a:extLst>
          </p:cNvPr>
          <p:cNvSpPr>
            <a:spLocks noGrp="1"/>
          </p:cNvSpPr>
          <p:nvPr>
            <p:ph type="body" sz="quarter" idx="25"/>
          </p:nvPr>
        </p:nvSpPr>
        <p:spPr>
          <a:xfrm>
            <a:off x="517525" y="3083265"/>
            <a:ext cx="3541395" cy="419100"/>
          </a:xfrm>
        </p:spPr>
        <p:txBody>
          <a:bodyPr rIns="36000" anchor="t"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1" name="Espace réservé du texte 10">
            <a:extLst>
              <a:ext uri="{FF2B5EF4-FFF2-40B4-BE49-F238E27FC236}">
                <a16:creationId xmlns:a16="http://schemas.microsoft.com/office/drawing/2014/main" id="{B3F9CF99-F963-43B8-A2A1-CAB1943B9348}"/>
              </a:ext>
            </a:extLst>
          </p:cNvPr>
          <p:cNvSpPr>
            <a:spLocks noGrp="1"/>
          </p:cNvSpPr>
          <p:nvPr>
            <p:ph type="body" sz="quarter" idx="26" hasCustomPrompt="1"/>
          </p:nvPr>
        </p:nvSpPr>
        <p:spPr>
          <a:xfrm>
            <a:off x="4666971" y="1363980"/>
            <a:ext cx="3749327" cy="2989020"/>
          </a:xfrm>
        </p:spPr>
        <p:txBody>
          <a:bodyPr rIns="36000">
            <a:noAutofit/>
          </a:bodyPr>
          <a:lstStyle>
            <a:lvl1pPr>
              <a:defRPr sz="1100"/>
            </a:lvl1pPr>
            <a:lvl2pPr>
              <a:spcBef>
                <a:spcPts val="500"/>
              </a:spcBef>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pour une image  12">
            <a:extLst>
              <a:ext uri="{FF2B5EF4-FFF2-40B4-BE49-F238E27FC236}">
                <a16:creationId xmlns:a16="http://schemas.microsoft.com/office/drawing/2014/main" id="{EEFD0060-2F48-4F68-94DD-1ABE6EBC8827}"/>
              </a:ext>
            </a:extLst>
          </p:cNvPr>
          <p:cNvSpPr>
            <a:spLocks noGrp="1"/>
          </p:cNvSpPr>
          <p:nvPr>
            <p:ph type="pic" sz="quarter" idx="30"/>
          </p:nvPr>
        </p:nvSpPr>
        <p:spPr>
          <a:xfrm>
            <a:off x="615995" y="1325220"/>
            <a:ext cx="1539908" cy="497256"/>
          </a:xfrm>
        </p:spPr>
        <p:txBody>
          <a:bodyPr anchor="ctr" anchorCtr="0"/>
          <a:lstStyle>
            <a:lvl1pPr algn="ctr">
              <a:defRPr b="1">
                <a:solidFill>
                  <a:schemeClr val="bg2"/>
                </a:solidFill>
              </a:defRPr>
            </a:lvl1pPr>
          </a:lstStyle>
          <a:p>
            <a:endParaRPr lang="en-GB" dirty="0"/>
          </a:p>
        </p:txBody>
      </p:sp>
      <p:sp>
        <p:nvSpPr>
          <p:cNvPr id="37" name="Espace réservé pour une image  12">
            <a:extLst>
              <a:ext uri="{FF2B5EF4-FFF2-40B4-BE49-F238E27FC236}">
                <a16:creationId xmlns:a16="http://schemas.microsoft.com/office/drawing/2014/main" id="{96D1A85D-69E6-4D91-8D22-9A15DDD6792A}"/>
              </a:ext>
            </a:extLst>
          </p:cNvPr>
          <p:cNvSpPr>
            <a:spLocks noGrp="1"/>
          </p:cNvSpPr>
          <p:nvPr>
            <p:ph type="pic" sz="quarter" idx="31"/>
          </p:nvPr>
        </p:nvSpPr>
        <p:spPr>
          <a:xfrm>
            <a:off x="2389760" y="1326936"/>
            <a:ext cx="1539908" cy="495540"/>
          </a:xfrm>
        </p:spPr>
        <p:txBody>
          <a:bodyPr anchor="ctr" anchorCtr="0"/>
          <a:lstStyle>
            <a:lvl1pPr algn="ctr">
              <a:defRPr b="1">
                <a:solidFill>
                  <a:schemeClr val="bg2"/>
                </a:solidFill>
              </a:defRPr>
            </a:lvl1pPr>
          </a:lstStyle>
          <a:p>
            <a:endParaRPr lang="en-GB" dirty="0"/>
          </a:p>
        </p:txBody>
      </p:sp>
      <p:sp>
        <p:nvSpPr>
          <p:cNvPr id="38" name="Espace réservé du texte 9">
            <a:extLst>
              <a:ext uri="{FF2B5EF4-FFF2-40B4-BE49-F238E27FC236}">
                <a16:creationId xmlns:a16="http://schemas.microsoft.com/office/drawing/2014/main" id="{22BDD468-9552-4038-837E-C07ACB70286B}"/>
              </a:ext>
            </a:extLst>
          </p:cNvPr>
          <p:cNvSpPr>
            <a:spLocks noGrp="1"/>
          </p:cNvSpPr>
          <p:nvPr>
            <p:ph type="body" sz="quarter" idx="32"/>
          </p:nvPr>
        </p:nvSpPr>
        <p:spPr>
          <a:xfrm>
            <a:off x="517525" y="2030306"/>
            <a:ext cx="3541395" cy="541444"/>
          </a:xfrm>
        </p:spPr>
        <p:txBody>
          <a:bodyPr rIns="36000" anchor="t" anchorCtr="0">
            <a:noAutofit/>
          </a:bodyPr>
          <a:lstStyle>
            <a:lvl1pPr>
              <a:defRPr sz="16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9" name="Espace réservé pour une image  12">
            <a:extLst>
              <a:ext uri="{FF2B5EF4-FFF2-40B4-BE49-F238E27FC236}">
                <a16:creationId xmlns:a16="http://schemas.microsoft.com/office/drawing/2014/main" id="{73951113-5A32-4C3E-967B-F90F357B7AD4}"/>
              </a:ext>
            </a:extLst>
          </p:cNvPr>
          <p:cNvSpPr>
            <a:spLocks noGrp="1"/>
          </p:cNvSpPr>
          <p:nvPr>
            <p:ph type="pic" sz="quarter" idx="33" hasCustomPrompt="1"/>
          </p:nvPr>
        </p:nvSpPr>
        <p:spPr>
          <a:xfrm>
            <a:off x="7940040" y="173626"/>
            <a:ext cx="575311" cy="584564"/>
          </a:xfrm>
        </p:spPr>
        <p:txBody>
          <a:bodyPr lIns="0" rIns="0" anchor="ctr" anchorCtr="0">
            <a:noAutofit/>
          </a:bodyPr>
          <a:lstStyle>
            <a:lvl1pPr algn="ctr">
              <a:defRPr sz="1000" b="1">
                <a:solidFill>
                  <a:schemeClr val="accent3"/>
                </a:solidFill>
              </a:defRPr>
            </a:lvl1pPr>
          </a:lstStyle>
          <a:p>
            <a:r>
              <a:rPr lang="fr-FR" dirty="0"/>
              <a:t>drapeau</a:t>
            </a:r>
            <a:endParaRPr lang="en-GB" dirty="0"/>
          </a:p>
        </p:txBody>
      </p:sp>
      <p:sp>
        <p:nvSpPr>
          <p:cNvPr id="40" name="Espace réservé du texte 10">
            <a:extLst>
              <a:ext uri="{FF2B5EF4-FFF2-40B4-BE49-F238E27FC236}">
                <a16:creationId xmlns:a16="http://schemas.microsoft.com/office/drawing/2014/main" id="{D62D1879-CBC7-4272-98C5-F9939033470C}"/>
              </a:ext>
            </a:extLst>
          </p:cNvPr>
          <p:cNvSpPr>
            <a:spLocks noGrp="1"/>
          </p:cNvSpPr>
          <p:nvPr>
            <p:ph type="body" sz="quarter" idx="34" hasCustomPrompt="1"/>
          </p:nvPr>
        </p:nvSpPr>
        <p:spPr>
          <a:xfrm>
            <a:off x="517609" y="3671117"/>
            <a:ext cx="3541433" cy="262784"/>
          </a:xfrm>
        </p:spPr>
        <p:txBody>
          <a:bodyPr rIns="36000">
            <a:normAutofit/>
          </a:bodyPr>
          <a:lstStyle>
            <a:lvl1pPr>
              <a:defRPr sz="1200"/>
            </a:lvl1pPr>
            <a:lvl2pPr>
              <a:defRPr sz="1100"/>
            </a:lvl2pPr>
            <a:lvl3pPr>
              <a:defRPr sz="1050"/>
            </a:lvl3pPr>
            <a:lvl4pPr>
              <a:defRPr sz="1000"/>
            </a:lvl4pPr>
          </a:lstStyle>
          <a:p>
            <a:pPr lvl="2"/>
            <a:r>
              <a:rPr lang="en-US" dirty="0"/>
              <a:t>Click to change the text styles of the mask</a:t>
            </a:r>
          </a:p>
        </p:txBody>
      </p:sp>
      <p:sp>
        <p:nvSpPr>
          <p:cNvPr id="41" name="Espace réservé du texte 9">
            <a:extLst>
              <a:ext uri="{FF2B5EF4-FFF2-40B4-BE49-F238E27FC236}">
                <a16:creationId xmlns:a16="http://schemas.microsoft.com/office/drawing/2014/main" id="{26D7FA52-02B0-4C4B-8A8C-774E1467174D}"/>
              </a:ext>
            </a:extLst>
          </p:cNvPr>
          <p:cNvSpPr>
            <a:spLocks noGrp="1"/>
          </p:cNvSpPr>
          <p:nvPr>
            <p:ph type="body" sz="quarter" idx="35"/>
          </p:nvPr>
        </p:nvSpPr>
        <p:spPr>
          <a:xfrm>
            <a:off x="517525" y="3933900"/>
            <a:ext cx="3541395" cy="419100"/>
          </a:xfrm>
        </p:spPr>
        <p:txBody>
          <a:bodyPr rIns="36000" anchor="t"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42" name="Connecteur droit 41">
            <a:extLst>
              <a:ext uri="{FF2B5EF4-FFF2-40B4-BE49-F238E27FC236}">
                <a16:creationId xmlns:a16="http://schemas.microsoft.com/office/drawing/2014/main" id="{6DCF3C66-EB4E-4D42-8B2C-0E5335280658}"/>
              </a:ext>
            </a:extLst>
          </p:cNvPr>
          <p:cNvCxnSpPr>
            <a:cxnSpLocks/>
          </p:cNvCxnSpPr>
          <p:nvPr userDrawn="1"/>
        </p:nvCxnSpPr>
        <p:spPr>
          <a:xfrm>
            <a:off x="4399219" y="1363980"/>
            <a:ext cx="0" cy="298902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447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_1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1485666" y="1558484"/>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1485581" y="1288160"/>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7" name="Espace réservé pour une image  6">
            <a:extLst>
              <a:ext uri="{FF2B5EF4-FFF2-40B4-BE49-F238E27FC236}">
                <a16:creationId xmlns:a16="http://schemas.microsoft.com/office/drawing/2014/main" id="{505CD692-332B-45D3-8814-4099035C34D9}"/>
              </a:ext>
            </a:extLst>
          </p:cNvPr>
          <p:cNvSpPr>
            <a:spLocks noGrp="1"/>
          </p:cNvSpPr>
          <p:nvPr>
            <p:ph type="pic" sz="quarter" idx="24"/>
          </p:nvPr>
        </p:nvSpPr>
        <p:spPr>
          <a:xfrm>
            <a:off x="622412" y="1257307"/>
            <a:ext cx="666559" cy="774693"/>
          </a:xfrm>
        </p:spPr>
        <p:txBody>
          <a:bodyPr>
            <a:normAutofit/>
          </a:bodyPr>
          <a:lstStyle>
            <a:lvl1pPr algn="ctr">
              <a:defRPr sz="1100" b="1">
                <a:solidFill>
                  <a:schemeClr val="bg2"/>
                </a:solidFill>
              </a:defRPr>
            </a:lvl1pPr>
          </a:lstStyle>
          <a:p>
            <a:endParaRPr lang="en-GB" dirty="0"/>
          </a:p>
        </p:txBody>
      </p:sp>
      <p:sp>
        <p:nvSpPr>
          <p:cNvPr id="36" name="Espace réservé du texte 10">
            <a:extLst>
              <a:ext uri="{FF2B5EF4-FFF2-40B4-BE49-F238E27FC236}">
                <a16:creationId xmlns:a16="http://schemas.microsoft.com/office/drawing/2014/main" id="{399A5DFA-0B9D-4A82-8AF2-980A5BB762D8}"/>
              </a:ext>
            </a:extLst>
          </p:cNvPr>
          <p:cNvSpPr>
            <a:spLocks noGrp="1"/>
          </p:cNvSpPr>
          <p:nvPr>
            <p:ph type="body" sz="quarter" idx="25" hasCustomPrompt="1"/>
          </p:nvPr>
        </p:nvSpPr>
        <p:spPr>
          <a:xfrm>
            <a:off x="1485666" y="2637985"/>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37" name="Espace réservé du texte 9">
            <a:extLst>
              <a:ext uri="{FF2B5EF4-FFF2-40B4-BE49-F238E27FC236}">
                <a16:creationId xmlns:a16="http://schemas.microsoft.com/office/drawing/2014/main" id="{F7500000-C125-4CAC-B8B3-49BCB3E6B43B}"/>
              </a:ext>
            </a:extLst>
          </p:cNvPr>
          <p:cNvSpPr>
            <a:spLocks noGrp="1"/>
          </p:cNvSpPr>
          <p:nvPr>
            <p:ph type="body" sz="quarter" idx="26"/>
          </p:nvPr>
        </p:nvSpPr>
        <p:spPr>
          <a:xfrm>
            <a:off x="1485581" y="2367661"/>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8" name="Espace réservé pour une image  6">
            <a:extLst>
              <a:ext uri="{FF2B5EF4-FFF2-40B4-BE49-F238E27FC236}">
                <a16:creationId xmlns:a16="http://schemas.microsoft.com/office/drawing/2014/main" id="{EA6CEE02-FA37-41F8-B077-5BD93DC8E97F}"/>
              </a:ext>
            </a:extLst>
          </p:cNvPr>
          <p:cNvSpPr>
            <a:spLocks noGrp="1"/>
          </p:cNvSpPr>
          <p:nvPr>
            <p:ph type="pic" sz="quarter" idx="27"/>
          </p:nvPr>
        </p:nvSpPr>
        <p:spPr>
          <a:xfrm>
            <a:off x="622412" y="2336808"/>
            <a:ext cx="666559" cy="774693"/>
          </a:xfrm>
        </p:spPr>
        <p:txBody>
          <a:bodyPr>
            <a:normAutofit/>
          </a:bodyPr>
          <a:lstStyle>
            <a:lvl1pPr algn="ctr">
              <a:defRPr sz="1100" b="1">
                <a:solidFill>
                  <a:schemeClr val="bg2"/>
                </a:solidFill>
              </a:defRPr>
            </a:lvl1pPr>
          </a:lstStyle>
          <a:p>
            <a:endParaRPr lang="en-GB" dirty="0"/>
          </a:p>
        </p:txBody>
      </p:sp>
      <p:sp>
        <p:nvSpPr>
          <p:cNvPr id="39" name="Espace réservé du texte 10">
            <a:extLst>
              <a:ext uri="{FF2B5EF4-FFF2-40B4-BE49-F238E27FC236}">
                <a16:creationId xmlns:a16="http://schemas.microsoft.com/office/drawing/2014/main" id="{81F04FE6-AA5A-4003-BC56-01F0945724D9}"/>
              </a:ext>
            </a:extLst>
          </p:cNvPr>
          <p:cNvSpPr>
            <a:spLocks noGrp="1"/>
          </p:cNvSpPr>
          <p:nvPr>
            <p:ph type="body" sz="quarter" idx="28" hasCustomPrompt="1"/>
          </p:nvPr>
        </p:nvSpPr>
        <p:spPr>
          <a:xfrm>
            <a:off x="1485666" y="3717486"/>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40" name="Espace réservé du texte 9">
            <a:extLst>
              <a:ext uri="{FF2B5EF4-FFF2-40B4-BE49-F238E27FC236}">
                <a16:creationId xmlns:a16="http://schemas.microsoft.com/office/drawing/2014/main" id="{7FCA421D-6292-442C-B5AD-E9F0CEB3173B}"/>
              </a:ext>
            </a:extLst>
          </p:cNvPr>
          <p:cNvSpPr>
            <a:spLocks noGrp="1"/>
          </p:cNvSpPr>
          <p:nvPr>
            <p:ph type="body" sz="quarter" idx="29"/>
          </p:nvPr>
        </p:nvSpPr>
        <p:spPr>
          <a:xfrm>
            <a:off x="1485581" y="3447162"/>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41" name="Espace réservé pour une image  6">
            <a:extLst>
              <a:ext uri="{FF2B5EF4-FFF2-40B4-BE49-F238E27FC236}">
                <a16:creationId xmlns:a16="http://schemas.microsoft.com/office/drawing/2014/main" id="{E6ED6256-27CC-49AA-8A38-B3FB2DBA9500}"/>
              </a:ext>
            </a:extLst>
          </p:cNvPr>
          <p:cNvSpPr>
            <a:spLocks noGrp="1"/>
          </p:cNvSpPr>
          <p:nvPr>
            <p:ph type="pic" sz="quarter" idx="30"/>
          </p:nvPr>
        </p:nvSpPr>
        <p:spPr>
          <a:xfrm>
            <a:off x="622412" y="3416309"/>
            <a:ext cx="666559" cy="774693"/>
          </a:xfrm>
        </p:spPr>
        <p:txBody>
          <a:bodyPr>
            <a:normAutofit/>
          </a:bodyPr>
          <a:lstStyle>
            <a:lvl1pPr algn="ctr">
              <a:defRPr sz="1100" b="1">
                <a:solidFill>
                  <a:schemeClr val="bg2"/>
                </a:solidFill>
              </a:defRPr>
            </a:lvl1pPr>
          </a:lstStyle>
          <a:p>
            <a:endParaRPr lang="en-GB" dirty="0"/>
          </a:p>
        </p:txBody>
      </p:sp>
      <p:sp>
        <p:nvSpPr>
          <p:cNvPr id="53" name="Espace réservé du texte 10">
            <a:extLst>
              <a:ext uri="{FF2B5EF4-FFF2-40B4-BE49-F238E27FC236}">
                <a16:creationId xmlns:a16="http://schemas.microsoft.com/office/drawing/2014/main" id="{41A9A72B-4D43-402D-AC02-49EBF9C8DA75}"/>
              </a:ext>
            </a:extLst>
          </p:cNvPr>
          <p:cNvSpPr>
            <a:spLocks noGrp="1"/>
          </p:cNvSpPr>
          <p:nvPr>
            <p:ph type="body" sz="quarter" idx="31" hasCustomPrompt="1"/>
          </p:nvPr>
        </p:nvSpPr>
        <p:spPr>
          <a:xfrm>
            <a:off x="5715384" y="1558484"/>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54" name="Espace réservé du texte 9">
            <a:extLst>
              <a:ext uri="{FF2B5EF4-FFF2-40B4-BE49-F238E27FC236}">
                <a16:creationId xmlns:a16="http://schemas.microsoft.com/office/drawing/2014/main" id="{E32611A7-F8B8-41E0-A9B5-CC45B3265D09}"/>
              </a:ext>
            </a:extLst>
          </p:cNvPr>
          <p:cNvSpPr>
            <a:spLocks noGrp="1"/>
          </p:cNvSpPr>
          <p:nvPr>
            <p:ph type="body" sz="quarter" idx="32"/>
          </p:nvPr>
        </p:nvSpPr>
        <p:spPr>
          <a:xfrm>
            <a:off x="5715299" y="1288160"/>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55" name="Espace réservé pour une image  6">
            <a:extLst>
              <a:ext uri="{FF2B5EF4-FFF2-40B4-BE49-F238E27FC236}">
                <a16:creationId xmlns:a16="http://schemas.microsoft.com/office/drawing/2014/main" id="{B01C242D-F8CD-4877-B097-C386CB9BC948}"/>
              </a:ext>
            </a:extLst>
          </p:cNvPr>
          <p:cNvSpPr>
            <a:spLocks noGrp="1"/>
          </p:cNvSpPr>
          <p:nvPr>
            <p:ph type="pic" sz="quarter" idx="33"/>
          </p:nvPr>
        </p:nvSpPr>
        <p:spPr>
          <a:xfrm>
            <a:off x="4852130" y="1257307"/>
            <a:ext cx="666559" cy="774693"/>
          </a:xfrm>
        </p:spPr>
        <p:txBody>
          <a:bodyPr>
            <a:normAutofit/>
          </a:bodyPr>
          <a:lstStyle>
            <a:lvl1pPr algn="ctr">
              <a:defRPr sz="1100" b="1">
                <a:solidFill>
                  <a:schemeClr val="bg2"/>
                </a:solidFill>
              </a:defRPr>
            </a:lvl1pPr>
          </a:lstStyle>
          <a:p>
            <a:endParaRPr lang="en-GB" dirty="0"/>
          </a:p>
        </p:txBody>
      </p:sp>
      <p:sp>
        <p:nvSpPr>
          <p:cNvPr id="56" name="Espace réservé du texte 10">
            <a:extLst>
              <a:ext uri="{FF2B5EF4-FFF2-40B4-BE49-F238E27FC236}">
                <a16:creationId xmlns:a16="http://schemas.microsoft.com/office/drawing/2014/main" id="{987D6271-73C2-43B7-9B70-FC65E23BA099}"/>
              </a:ext>
            </a:extLst>
          </p:cNvPr>
          <p:cNvSpPr>
            <a:spLocks noGrp="1"/>
          </p:cNvSpPr>
          <p:nvPr>
            <p:ph type="body" sz="quarter" idx="34" hasCustomPrompt="1"/>
          </p:nvPr>
        </p:nvSpPr>
        <p:spPr>
          <a:xfrm>
            <a:off x="5715384" y="2637985"/>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57" name="Espace réservé du texte 9">
            <a:extLst>
              <a:ext uri="{FF2B5EF4-FFF2-40B4-BE49-F238E27FC236}">
                <a16:creationId xmlns:a16="http://schemas.microsoft.com/office/drawing/2014/main" id="{2E7001AC-A342-4DC7-A318-0EA93FC10D98}"/>
              </a:ext>
            </a:extLst>
          </p:cNvPr>
          <p:cNvSpPr>
            <a:spLocks noGrp="1"/>
          </p:cNvSpPr>
          <p:nvPr>
            <p:ph type="body" sz="quarter" idx="35"/>
          </p:nvPr>
        </p:nvSpPr>
        <p:spPr>
          <a:xfrm>
            <a:off x="5715299" y="2367661"/>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58" name="Espace réservé pour une image  6">
            <a:extLst>
              <a:ext uri="{FF2B5EF4-FFF2-40B4-BE49-F238E27FC236}">
                <a16:creationId xmlns:a16="http://schemas.microsoft.com/office/drawing/2014/main" id="{D8866A67-5141-4156-8DBF-847D982135A2}"/>
              </a:ext>
            </a:extLst>
          </p:cNvPr>
          <p:cNvSpPr>
            <a:spLocks noGrp="1"/>
          </p:cNvSpPr>
          <p:nvPr>
            <p:ph type="pic" sz="quarter" idx="36"/>
          </p:nvPr>
        </p:nvSpPr>
        <p:spPr>
          <a:xfrm>
            <a:off x="4852130" y="2336808"/>
            <a:ext cx="666559" cy="774693"/>
          </a:xfrm>
        </p:spPr>
        <p:txBody>
          <a:bodyPr>
            <a:normAutofit/>
          </a:bodyPr>
          <a:lstStyle>
            <a:lvl1pPr algn="ctr">
              <a:defRPr sz="1100" b="1">
                <a:solidFill>
                  <a:schemeClr val="bg2"/>
                </a:solidFill>
              </a:defRPr>
            </a:lvl1pPr>
          </a:lstStyle>
          <a:p>
            <a:endParaRPr lang="en-GB" dirty="0"/>
          </a:p>
        </p:txBody>
      </p:sp>
      <p:sp>
        <p:nvSpPr>
          <p:cNvPr id="59" name="Espace réservé du texte 10">
            <a:extLst>
              <a:ext uri="{FF2B5EF4-FFF2-40B4-BE49-F238E27FC236}">
                <a16:creationId xmlns:a16="http://schemas.microsoft.com/office/drawing/2014/main" id="{F187A3F1-3295-464C-B4FB-63EC963ADF80}"/>
              </a:ext>
            </a:extLst>
          </p:cNvPr>
          <p:cNvSpPr>
            <a:spLocks noGrp="1"/>
          </p:cNvSpPr>
          <p:nvPr>
            <p:ph type="body" sz="quarter" idx="37" hasCustomPrompt="1"/>
          </p:nvPr>
        </p:nvSpPr>
        <p:spPr>
          <a:xfrm>
            <a:off x="5715384" y="3717486"/>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60" name="Espace réservé du texte 9">
            <a:extLst>
              <a:ext uri="{FF2B5EF4-FFF2-40B4-BE49-F238E27FC236}">
                <a16:creationId xmlns:a16="http://schemas.microsoft.com/office/drawing/2014/main" id="{9C672168-6EC3-464C-879E-DDA81CDA3E20}"/>
              </a:ext>
            </a:extLst>
          </p:cNvPr>
          <p:cNvSpPr>
            <a:spLocks noGrp="1"/>
          </p:cNvSpPr>
          <p:nvPr>
            <p:ph type="body" sz="quarter" idx="38"/>
          </p:nvPr>
        </p:nvSpPr>
        <p:spPr>
          <a:xfrm>
            <a:off x="5715299" y="3447162"/>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61" name="Espace réservé pour une image  6">
            <a:extLst>
              <a:ext uri="{FF2B5EF4-FFF2-40B4-BE49-F238E27FC236}">
                <a16:creationId xmlns:a16="http://schemas.microsoft.com/office/drawing/2014/main" id="{0B4DA4AF-1228-46AE-BDB0-0226FCD1EC37}"/>
              </a:ext>
            </a:extLst>
          </p:cNvPr>
          <p:cNvSpPr>
            <a:spLocks noGrp="1"/>
          </p:cNvSpPr>
          <p:nvPr>
            <p:ph type="pic" sz="quarter" idx="39"/>
          </p:nvPr>
        </p:nvSpPr>
        <p:spPr>
          <a:xfrm>
            <a:off x="4852130" y="3416309"/>
            <a:ext cx="666559" cy="774693"/>
          </a:xfrm>
        </p:spPr>
        <p:txBody>
          <a:bodyPr>
            <a:normAutofit/>
          </a:bodyPr>
          <a:lstStyle>
            <a:lvl1pPr algn="ctr">
              <a:defRPr sz="1100" b="1">
                <a:solidFill>
                  <a:schemeClr val="bg2"/>
                </a:solidFill>
              </a:defRPr>
            </a:lvl1pPr>
          </a:lstStyle>
          <a:p>
            <a:endParaRPr lang="en-GB" dirty="0"/>
          </a:p>
        </p:txBody>
      </p:sp>
    </p:spTree>
    <p:extLst>
      <p:ext uri="{BB962C8B-B14F-4D97-AF65-F5344CB8AC3E}">
        <p14:creationId xmlns:p14="http://schemas.microsoft.com/office/powerpoint/2010/main" val="36829559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_1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09" y="1723856"/>
            <a:ext cx="3661096"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5"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6" y="1723856"/>
            <a:ext cx="3661093"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7" y="1261369"/>
            <a:ext cx="3661054"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7600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_1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59451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8">
            <a:extLst>
              <a:ext uri="{FF2B5EF4-FFF2-40B4-BE49-F238E27FC236}">
                <a16:creationId xmlns:a16="http://schemas.microsoft.com/office/drawing/2014/main" id="{EE511D6E-8D75-49F5-8CB3-179A7E343040}"/>
              </a:ext>
            </a:extLst>
          </p:cNvPr>
          <p:cNvSpPr>
            <a:spLocks noGrp="1"/>
          </p:cNvSpPr>
          <p:nvPr>
            <p:ph type="body" sz="quarter" idx="19" hasCustomPrompt="1"/>
          </p:nvPr>
        </p:nvSpPr>
        <p:spPr>
          <a:xfrm>
            <a:off x="517608" y="523145"/>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3" name="Espace réservé du texte 10">
            <a:extLst>
              <a:ext uri="{FF2B5EF4-FFF2-40B4-BE49-F238E27FC236}">
                <a16:creationId xmlns:a16="http://schemas.microsoft.com/office/drawing/2014/main" id="{D4096D08-EB32-4C41-A345-3911BCCF5141}"/>
              </a:ext>
            </a:extLst>
          </p:cNvPr>
          <p:cNvSpPr>
            <a:spLocks noGrp="1"/>
          </p:cNvSpPr>
          <p:nvPr>
            <p:ph type="body" sz="quarter" idx="25" hasCustomPrompt="1"/>
          </p:nvPr>
        </p:nvSpPr>
        <p:spPr>
          <a:xfrm>
            <a:off x="517609" y="1261369"/>
            <a:ext cx="3661096" cy="3118902"/>
          </a:xfrm>
        </p:spPr>
        <p:txBody>
          <a:bodyPr rIns="36000">
            <a:noAutofit/>
          </a:bodyPr>
          <a:lstStyle>
            <a:lvl1pPr>
              <a:defRPr sz="1100"/>
            </a:lvl1pPr>
            <a:lvl2pPr>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4" name="Espace réservé du texte 10">
            <a:extLst>
              <a:ext uri="{FF2B5EF4-FFF2-40B4-BE49-F238E27FC236}">
                <a16:creationId xmlns:a16="http://schemas.microsoft.com/office/drawing/2014/main" id="{AFC7ED14-9B25-4EFF-8B73-F6338D7B2720}"/>
              </a:ext>
            </a:extLst>
          </p:cNvPr>
          <p:cNvSpPr>
            <a:spLocks noGrp="1"/>
          </p:cNvSpPr>
          <p:nvPr>
            <p:ph type="body" sz="quarter" idx="26" hasCustomPrompt="1"/>
          </p:nvPr>
        </p:nvSpPr>
        <p:spPr>
          <a:xfrm>
            <a:off x="4675956" y="1261369"/>
            <a:ext cx="3661093" cy="3118902"/>
          </a:xfrm>
        </p:spPr>
        <p:txBody>
          <a:bodyPr rIns="36000">
            <a:noAutofit/>
          </a:bodyPr>
          <a:lstStyle>
            <a:lvl1pPr>
              <a:defRPr sz="1100"/>
            </a:lvl1pPr>
            <a:lvl2pPr>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Tree>
    <p:extLst>
      <p:ext uri="{BB962C8B-B14F-4D97-AF65-F5344CB8AC3E}">
        <p14:creationId xmlns:p14="http://schemas.microsoft.com/office/powerpoint/2010/main" val="19418011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09"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5"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375661"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10">
            <a:extLst>
              <a:ext uri="{FF2B5EF4-FFF2-40B4-BE49-F238E27FC236}">
                <a16:creationId xmlns:a16="http://schemas.microsoft.com/office/drawing/2014/main" id="{884ED785-1C5E-4F78-A275-F34C3AEAE06F}"/>
              </a:ext>
            </a:extLst>
          </p:cNvPr>
          <p:cNvSpPr>
            <a:spLocks noGrp="1"/>
          </p:cNvSpPr>
          <p:nvPr>
            <p:ph type="body" sz="quarter" idx="22" hasCustomPrompt="1"/>
          </p:nvPr>
        </p:nvSpPr>
        <p:spPr>
          <a:xfrm>
            <a:off x="517609"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9">
            <a:extLst>
              <a:ext uri="{FF2B5EF4-FFF2-40B4-BE49-F238E27FC236}">
                <a16:creationId xmlns:a16="http://schemas.microsoft.com/office/drawing/2014/main" id="{8992EC07-F579-4A40-AAD6-B8347D980B99}"/>
              </a:ext>
            </a:extLst>
          </p:cNvPr>
          <p:cNvSpPr>
            <a:spLocks noGrp="1"/>
          </p:cNvSpPr>
          <p:nvPr>
            <p:ph type="body" sz="quarter" idx="23"/>
          </p:nvPr>
        </p:nvSpPr>
        <p:spPr>
          <a:xfrm>
            <a:off x="517525"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14" name="Connecteur droit 13">
            <a:extLst>
              <a:ext uri="{FF2B5EF4-FFF2-40B4-BE49-F238E27FC236}">
                <a16:creationId xmlns:a16="http://schemas.microsoft.com/office/drawing/2014/main" id="{7C5E9985-FD1E-428E-A038-1833C2306C28}"/>
              </a:ext>
            </a:extLst>
          </p:cNvPr>
          <p:cNvCxnSpPr>
            <a:cxnSpLocks/>
          </p:cNvCxnSpPr>
          <p:nvPr userDrawn="1"/>
        </p:nvCxnSpPr>
        <p:spPr>
          <a:xfrm>
            <a:off x="375661"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texte 10">
            <a:extLst>
              <a:ext uri="{FF2B5EF4-FFF2-40B4-BE49-F238E27FC236}">
                <a16:creationId xmlns:a16="http://schemas.microsoft.com/office/drawing/2014/main" id="{B3933DBD-2D64-49E5-9665-2D4D428F0437}"/>
              </a:ext>
            </a:extLst>
          </p:cNvPr>
          <p:cNvSpPr>
            <a:spLocks noGrp="1"/>
          </p:cNvSpPr>
          <p:nvPr>
            <p:ph type="body" sz="quarter" idx="24" hasCustomPrompt="1"/>
          </p:nvPr>
        </p:nvSpPr>
        <p:spPr>
          <a:xfrm>
            <a:off x="4572084"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5" name="Espace réservé du texte 9">
            <a:extLst>
              <a:ext uri="{FF2B5EF4-FFF2-40B4-BE49-F238E27FC236}">
                <a16:creationId xmlns:a16="http://schemas.microsoft.com/office/drawing/2014/main" id="{6500DBB1-D65A-4FD5-9F9B-A5027F560FD1}"/>
              </a:ext>
            </a:extLst>
          </p:cNvPr>
          <p:cNvSpPr>
            <a:spLocks noGrp="1"/>
          </p:cNvSpPr>
          <p:nvPr>
            <p:ph type="body" sz="quarter" idx="25"/>
          </p:nvPr>
        </p:nvSpPr>
        <p:spPr>
          <a:xfrm>
            <a:off x="4572000"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6" name="Connecteur droit 25">
            <a:extLst>
              <a:ext uri="{FF2B5EF4-FFF2-40B4-BE49-F238E27FC236}">
                <a16:creationId xmlns:a16="http://schemas.microsoft.com/office/drawing/2014/main" id="{C778CDC4-5FA1-4048-9A78-5B42F7B95A26}"/>
              </a:ext>
            </a:extLst>
          </p:cNvPr>
          <p:cNvCxnSpPr>
            <a:cxnSpLocks/>
          </p:cNvCxnSpPr>
          <p:nvPr userDrawn="1"/>
        </p:nvCxnSpPr>
        <p:spPr>
          <a:xfrm>
            <a:off x="4430136"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Espace réservé du texte 10">
            <a:extLst>
              <a:ext uri="{FF2B5EF4-FFF2-40B4-BE49-F238E27FC236}">
                <a16:creationId xmlns:a16="http://schemas.microsoft.com/office/drawing/2014/main" id="{58300066-BB96-4C12-B605-19344574F918}"/>
              </a:ext>
            </a:extLst>
          </p:cNvPr>
          <p:cNvSpPr>
            <a:spLocks noGrp="1"/>
          </p:cNvSpPr>
          <p:nvPr>
            <p:ph type="body" sz="quarter" idx="26" hasCustomPrompt="1"/>
          </p:nvPr>
        </p:nvSpPr>
        <p:spPr>
          <a:xfrm>
            <a:off x="4572084"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9" name="Espace réservé du texte 9">
            <a:extLst>
              <a:ext uri="{FF2B5EF4-FFF2-40B4-BE49-F238E27FC236}">
                <a16:creationId xmlns:a16="http://schemas.microsoft.com/office/drawing/2014/main" id="{90E4005E-EE52-414F-9FD7-3E4E4439CC01}"/>
              </a:ext>
            </a:extLst>
          </p:cNvPr>
          <p:cNvSpPr>
            <a:spLocks noGrp="1"/>
          </p:cNvSpPr>
          <p:nvPr>
            <p:ph type="body" sz="quarter" idx="27"/>
          </p:nvPr>
        </p:nvSpPr>
        <p:spPr>
          <a:xfrm>
            <a:off x="4572000"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30" name="Connecteur droit 29">
            <a:extLst>
              <a:ext uri="{FF2B5EF4-FFF2-40B4-BE49-F238E27FC236}">
                <a16:creationId xmlns:a16="http://schemas.microsoft.com/office/drawing/2014/main" id="{920CA81A-996E-455B-A7A4-21D294E47153}"/>
              </a:ext>
            </a:extLst>
          </p:cNvPr>
          <p:cNvCxnSpPr>
            <a:cxnSpLocks/>
          </p:cNvCxnSpPr>
          <p:nvPr userDrawn="1"/>
        </p:nvCxnSpPr>
        <p:spPr>
          <a:xfrm>
            <a:off x="4430136"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15296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_1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35876"/>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09"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5"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375661"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10">
            <a:extLst>
              <a:ext uri="{FF2B5EF4-FFF2-40B4-BE49-F238E27FC236}">
                <a16:creationId xmlns:a16="http://schemas.microsoft.com/office/drawing/2014/main" id="{884ED785-1C5E-4F78-A275-F34C3AEAE06F}"/>
              </a:ext>
            </a:extLst>
          </p:cNvPr>
          <p:cNvSpPr>
            <a:spLocks noGrp="1"/>
          </p:cNvSpPr>
          <p:nvPr>
            <p:ph type="body" sz="quarter" idx="22" hasCustomPrompt="1"/>
          </p:nvPr>
        </p:nvSpPr>
        <p:spPr>
          <a:xfrm>
            <a:off x="517609"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9">
            <a:extLst>
              <a:ext uri="{FF2B5EF4-FFF2-40B4-BE49-F238E27FC236}">
                <a16:creationId xmlns:a16="http://schemas.microsoft.com/office/drawing/2014/main" id="{8992EC07-F579-4A40-AAD6-B8347D980B99}"/>
              </a:ext>
            </a:extLst>
          </p:cNvPr>
          <p:cNvSpPr>
            <a:spLocks noGrp="1"/>
          </p:cNvSpPr>
          <p:nvPr>
            <p:ph type="body" sz="quarter" idx="23"/>
          </p:nvPr>
        </p:nvSpPr>
        <p:spPr>
          <a:xfrm>
            <a:off x="517525"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14" name="Connecteur droit 13">
            <a:extLst>
              <a:ext uri="{FF2B5EF4-FFF2-40B4-BE49-F238E27FC236}">
                <a16:creationId xmlns:a16="http://schemas.microsoft.com/office/drawing/2014/main" id="{7C5E9985-FD1E-428E-A038-1833C2306C28}"/>
              </a:ext>
            </a:extLst>
          </p:cNvPr>
          <p:cNvCxnSpPr>
            <a:cxnSpLocks/>
          </p:cNvCxnSpPr>
          <p:nvPr userDrawn="1"/>
        </p:nvCxnSpPr>
        <p:spPr>
          <a:xfrm>
            <a:off x="375661"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texte 10">
            <a:extLst>
              <a:ext uri="{FF2B5EF4-FFF2-40B4-BE49-F238E27FC236}">
                <a16:creationId xmlns:a16="http://schemas.microsoft.com/office/drawing/2014/main" id="{B3933DBD-2D64-49E5-9665-2D4D428F0437}"/>
              </a:ext>
            </a:extLst>
          </p:cNvPr>
          <p:cNvSpPr>
            <a:spLocks noGrp="1"/>
          </p:cNvSpPr>
          <p:nvPr>
            <p:ph type="body" sz="quarter" idx="24" hasCustomPrompt="1"/>
          </p:nvPr>
        </p:nvSpPr>
        <p:spPr>
          <a:xfrm>
            <a:off x="4572084"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5" name="Espace réservé du texte 9">
            <a:extLst>
              <a:ext uri="{FF2B5EF4-FFF2-40B4-BE49-F238E27FC236}">
                <a16:creationId xmlns:a16="http://schemas.microsoft.com/office/drawing/2014/main" id="{6500DBB1-D65A-4FD5-9F9B-A5027F560FD1}"/>
              </a:ext>
            </a:extLst>
          </p:cNvPr>
          <p:cNvSpPr>
            <a:spLocks noGrp="1"/>
          </p:cNvSpPr>
          <p:nvPr>
            <p:ph type="body" sz="quarter" idx="25"/>
          </p:nvPr>
        </p:nvSpPr>
        <p:spPr>
          <a:xfrm>
            <a:off x="4572000"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6" name="Connecteur droit 25">
            <a:extLst>
              <a:ext uri="{FF2B5EF4-FFF2-40B4-BE49-F238E27FC236}">
                <a16:creationId xmlns:a16="http://schemas.microsoft.com/office/drawing/2014/main" id="{C778CDC4-5FA1-4048-9A78-5B42F7B95A26}"/>
              </a:ext>
            </a:extLst>
          </p:cNvPr>
          <p:cNvCxnSpPr>
            <a:cxnSpLocks/>
          </p:cNvCxnSpPr>
          <p:nvPr userDrawn="1"/>
        </p:nvCxnSpPr>
        <p:spPr>
          <a:xfrm>
            <a:off x="4430136"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Espace réservé du texte 10">
            <a:extLst>
              <a:ext uri="{FF2B5EF4-FFF2-40B4-BE49-F238E27FC236}">
                <a16:creationId xmlns:a16="http://schemas.microsoft.com/office/drawing/2014/main" id="{58300066-BB96-4C12-B605-19344574F918}"/>
              </a:ext>
            </a:extLst>
          </p:cNvPr>
          <p:cNvSpPr>
            <a:spLocks noGrp="1"/>
          </p:cNvSpPr>
          <p:nvPr>
            <p:ph type="body" sz="quarter" idx="26" hasCustomPrompt="1"/>
          </p:nvPr>
        </p:nvSpPr>
        <p:spPr>
          <a:xfrm>
            <a:off x="4572084"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9" name="Espace réservé du texte 9">
            <a:extLst>
              <a:ext uri="{FF2B5EF4-FFF2-40B4-BE49-F238E27FC236}">
                <a16:creationId xmlns:a16="http://schemas.microsoft.com/office/drawing/2014/main" id="{90E4005E-EE52-414F-9FD7-3E4E4439CC01}"/>
              </a:ext>
            </a:extLst>
          </p:cNvPr>
          <p:cNvSpPr>
            <a:spLocks noGrp="1"/>
          </p:cNvSpPr>
          <p:nvPr>
            <p:ph type="body" sz="quarter" idx="27"/>
          </p:nvPr>
        </p:nvSpPr>
        <p:spPr>
          <a:xfrm>
            <a:off x="4572000"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30" name="Connecteur droit 29">
            <a:extLst>
              <a:ext uri="{FF2B5EF4-FFF2-40B4-BE49-F238E27FC236}">
                <a16:creationId xmlns:a16="http://schemas.microsoft.com/office/drawing/2014/main" id="{920CA81A-996E-455B-A7A4-21D294E47153}"/>
              </a:ext>
            </a:extLst>
          </p:cNvPr>
          <p:cNvCxnSpPr>
            <a:cxnSpLocks/>
          </p:cNvCxnSpPr>
          <p:nvPr userDrawn="1"/>
        </p:nvCxnSpPr>
        <p:spPr>
          <a:xfrm>
            <a:off x="4430136"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8">
            <a:extLst>
              <a:ext uri="{FF2B5EF4-FFF2-40B4-BE49-F238E27FC236}">
                <a16:creationId xmlns:a16="http://schemas.microsoft.com/office/drawing/2014/main" id="{2CD24995-E0DC-4BC5-9CD6-9E2365DF84E6}"/>
              </a:ext>
            </a:extLst>
          </p:cNvPr>
          <p:cNvSpPr>
            <a:spLocks noGrp="1"/>
          </p:cNvSpPr>
          <p:nvPr>
            <p:ph type="body" sz="quarter" idx="19" hasCustomPrompt="1"/>
          </p:nvPr>
        </p:nvSpPr>
        <p:spPr>
          <a:xfrm>
            <a:off x="517608" y="523145"/>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Tree>
    <p:extLst>
      <p:ext uri="{BB962C8B-B14F-4D97-AF65-F5344CB8AC3E}">
        <p14:creationId xmlns:p14="http://schemas.microsoft.com/office/powerpoint/2010/main" val="5579164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ont page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0"/>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sp>
        <p:nvSpPr>
          <p:cNvPr id="8" name="Espace réservé du texte 3">
            <a:extLst>
              <a:ext uri="{FF2B5EF4-FFF2-40B4-BE49-F238E27FC236}">
                <a16:creationId xmlns:a16="http://schemas.microsoft.com/office/drawing/2014/main" id="{382570B0-A940-4837-AF85-EB90947594C7}"/>
              </a:ext>
            </a:extLst>
          </p:cNvPr>
          <p:cNvSpPr>
            <a:spLocks noGrp="1"/>
          </p:cNvSpPr>
          <p:nvPr>
            <p:ph type="body" sz="quarter" idx="14" hasCustomPrompt="1"/>
          </p:nvPr>
        </p:nvSpPr>
        <p:spPr>
          <a:xfrm>
            <a:off x="335280" y="3157325"/>
            <a:ext cx="4785360" cy="462800"/>
          </a:xfrm>
          <a:solidFill>
            <a:schemeClr val="bg1"/>
          </a:solidFill>
        </p:spPr>
        <p:txBody>
          <a:bodyPr lIns="180000" rIns="180000">
            <a:normAutofit/>
          </a:bodyPr>
          <a:lstStyle>
            <a:lvl1pPr>
              <a:lnSpc>
                <a:spcPct val="100000"/>
              </a:lnSpc>
              <a:defRPr sz="1400">
                <a:solidFill>
                  <a:schemeClr val="accent3"/>
                </a:solidFill>
                <a:latin typeface="+mn-lt"/>
              </a:defRPr>
            </a:lvl1pPr>
            <a:lvl2pPr>
              <a:defRPr sz="1200"/>
            </a:lvl2pPr>
            <a:lvl3pPr>
              <a:defRPr sz="1200"/>
            </a:lvl3pPr>
            <a:lvl4pPr>
              <a:defRPr sz="1200"/>
            </a:lvl4pPr>
            <a:lvl5pPr>
              <a:defRPr sz="1200"/>
            </a:lvl5pPr>
          </a:lstStyle>
          <a:p>
            <a:pPr lvl="0"/>
            <a:r>
              <a:rPr lang="en-US" dirty="0"/>
              <a:t>Enter the subtitle of your presentation</a:t>
            </a:r>
          </a:p>
        </p:txBody>
      </p:sp>
      <p:grpSp>
        <p:nvGrpSpPr>
          <p:cNvPr id="13" name="Groupe 12"/>
          <p:cNvGrpSpPr/>
          <p:nvPr userDrawn="1"/>
        </p:nvGrpSpPr>
        <p:grpSpPr>
          <a:xfrm>
            <a:off x="5120640" y="0"/>
            <a:ext cx="3760807" cy="5143499"/>
            <a:chOff x="5120640" y="0"/>
            <a:chExt cx="3760807" cy="5143499"/>
          </a:xfrm>
          <a:blipFill dpi="0" rotWithShape="1">
            <a:blip r:embed="rId2"/>
            <a:srcRect/>
            <a:stretch>
              <a:fillRect l="-20000" t="-2000"/>
            </a:stretch>
          </a:blipFill>
        </p:grpSpPr>
        <p:sp>
          <p:nvSpPr>
            <p:cNvPr id="16" name="Rectangle 15"/>
            <p:cNvSpPr/>
            <p:nvPr userDrawn="1"/>
          </p:nvSpPr>
          <p:spPr>
            <a:xfrm>
              <a:off x="5120640" y="0"/>
              <a:ext cx="1754722" cy="40644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p:cNvSpPr/>
            <p:nvPr userDrawn="1"/>
          </p:nvSpPr>
          <p:spPr>
            <a:xfrm>
              <a:off x="7134837" y="952150"/>
              <a:ext cx="1746610" cy="41913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12"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7035331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0"/>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6522720" y="1724722"/>
            <a:ext cx="2142590" cy="1694054"/>
          </a:xfrm>
        </p:spPr>
        <p:txBody>
          <a:bodyPr anchor="ctr" anchorCtr="0"/>
          <a:lstStyle>
            <a:lvl1pPr>
              <a:lnSpc>
                <a:spcPct val="100000"/>
              </a:lnSpc>
              <a:defRPr sz="2600">
                <a:solidFill>
                  <a:schemeClr val="tx2"/>
                </a:solidFill>
                <a:latin typeface="+mj-lt"/>
              </a:defRPr>
            </a:lvl1pPr>
          </a:lstStyle>
          <a:p>
            <a:r>
              <a:rPr lang="en-US" dirty="0"/>
              <a:t>Thank you for your time.</a:t>
            </a:r>
            <a:endParaRPr lang="en-GB" dirty="0"/>
          </a:p>
        </p:txBody>
      </p:sp>
      <p:sp>
        <p:nvSpPr>
          <p:cNvPr id="5" name="Espace réservé du numéro de diapositive 4">
            <a:extLst>
              <a:ext uri="{FF2B5EF4-FFF2-40B4-BE49-F238E27FC236}">
                <a16:creationId xmlns:a16="http://schemas.microsoft.com/office/drawing/2014/main" id="{06E43FDB-370E-4FD7-BAB8-C9EDA7E050E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pic>
        <p:nvPicPr>
          <p:cNvPr id="10" name="Image 9">
            <a:extLst>
              <a:ext uri="{FF2B5EF4-FFF2-40B4-BE49-F238E27FC236}">
                <a16:creationId xmlns:a16="http://schemas.microsoft.com/office/drawing/2014/main" id="{1A3D8EE0-285A-4BE4-8AFD-3AA0313F25B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617834" y="4666658"/>
            <a:ext cx="738761" cy="382981"/>
          </a:xfrm>
          <a:prstGeom prst="rect">
            <a:avLst/>
          </a:prstGeom>
        </p:spPr>
      </p:pic>
      <p:sp>
        <p:nvSpPr>
          <p:cNvPr id="15" name="Espace réservé pour une image  15">
            <a:extLst>
              <a:ext uri="{FF2B5EF4-FFF2-40B4-BE49-F238E27FC236}">
                <a16:creationId xmlns:a16="http://schemas.microsoft.com/office/drawing/2014/main" id="{733DF233-71B1-4D15-B5DF-82B4314D44B2}"/>
              </a:ext>
            </a:extLst>
          </p:cNvPr>
          <p:cNvSpPr>
            <a:spLocks noGrp="1"/>
          </p:cNvSpPr>
          <p:nvPr>
            <p:ph type="pic" sz="quarter" idx="16"/>
          </p:nvPr>
        </p:nvSpPr>
        <p:spPr>
          <a:xfrm>
            <a:off x="252000" y="0"/>
            <a:ext cx="5925280" cy="5143500"/>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a:p>
        </p:txBody>
      </p:sp>
    </p:spTree>
    <p:extLst>
      <p:ext uri="{BB962C8B-B14F-4D97-AF65-F5344CB8AC3E}">
        <p14:creationId xmlns:p14="http://schemas.microsoft.com/office/powerpoint/2010/main" val="159996142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4" name="Rectangle 3"/>
          <p:cNvSpPr/>
          <p:nvPr userDrawn="1"/>
        </p:nvSpPr>
        <p:spPr>
          <a:xfrm>
            <a:off x="251162" y="0"/>
            <a:ext cx="5926117" cy="5143499"/>
          </a:xfrm>
          <a:prstGeom prst="rect">
            <a:avLst/>
          </a:prstGeom>
          <a:blipFill dpi="0" rotWithShape="1">
            <a:blip r:embed="rId2"/>
            <a:srcRect/>
            <a:tile tx="0" ty="0" sx="100000" sy="100000" flip="x"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0"/>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6522720" y="1724722"/>
            <a:ext cx="2142590" cy="1694054"/>
          </a:xfrm>
        </p:spPr>
        <p:txBody>
          <a:bodyPr anchor="ctr" anchorCtr="0"/>
          <a:lstStyle>
            <a:lvl1pPr>
              <a:lnSpc>
                <a:spcPct val="100000"/>
              </a:lnSpc>
              <a:defRPr sz="2600">
                <a:solidFill>
                  <a:schemeClr val="tx2"/>
                </a:solidFill>
                <a:latin typeface="+mj-lt"/>
              </a:defRPr>
            </a:lvl1pPr>
          </a:lstStyle>
          <a:p>
            <a:r>
              <a:rPr lang="en-US" dirty="0"/>
              <a:t>Thank you for your time.</a:t>
            </a:r>
            <a:endParaRPr lang="en-GB" dirty="0"/>
          </a:p>
        </p:txBody>
      </p:sp>
      <p:sp>
        <p:nvSpPr>
          <p:cNvPr id="5" name="Espace réservé du numéro de diapositive 4">
            <a:extLst>
              <a:ext uri="{FF2B5EF4-FFF2-40B4-BE49-F238E27FC236}">
                <a16:creationId xmlns:a16="http://schemas.microsoft.com/office/drawing/2014/main" id="{06E43FDB-370E-4FD7-BAB8-C9EDA7E050E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pic>
        <p:nvPicPr>
          <p:cNvPr id="9" name="Picture 8"/>
          <p:cNvPicPr>
            <a:picLocks noChangeAspect="1"/>
          </p:cNvPicPr>
          <p:nvPr userDrawn="1"/>
        </p:nvPicPr>
        <p:blipFill>
          <a:blip r:embed="rId3"/>
          <a:stretch>
            <a:fillRect/>
          </a:stretch>
        </p:blipFill>
        <p:spPr>
          <a:xfrm>
            <a:off x="7888627" y="4752974"/>
            <a:ext cx="719138" cy="398219"/>
          </a:xfrm>
          <a:prstGeom prst="rect">
            <a:avLst/>
          </a:prstGeom>
        </p:spPr>
      </p:pic>
    </p:spTree>
    <p:extLst>
      <p:ext uri="{BB962C8B-B14F-4D97-AF65-F5344CB8AC3E}">
        <p14:creationId xmlns:p14="http://schemas.microsoft.com/office/powerpoint/2010/main" val="326280730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ront page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grpSp>
        <p:nvGrpSpPr>
          <p:cNvPr id="12" name="Groupe 11"/>
          <p:cNvGrpSpPr/>
          <p:nvPr userDrawn="1"/>
        </p:nvGrpSpPr>
        <p:grpSpPr>
          <a:xfrm>
            <a:off x="5120641" y="1"/>
            <a:ext cx="3760807" cy="5143499"/>
            <a:chOff x="5120640" y="0"/>
            <a:chExt cx="3760807" cy="5143499"/>
          </a:xfrm>
          <a:blipFill dpi="0" rotWithShape="1">
            <a:blip r:embed="rId2"/>
            <a:srcRect/>
            <a:stretch>
              <a:fillRect l="-20000" t="-2000"/>
            </a:stretch>
          </a:blipFill>
        </p:grpSpPr>
        <p:sp>
          <p:nvSpPr>
            <p:cNvPr id="16" name="Rectangle 15"/>
            <p:cNvSpPr/>
            <p:nvPr userDrawn="1"/>
          </p:nvSpPr>
          <p:spPr>
            <a:xfrm>
              <a:off x="5120640" y="0"/>
              <a:ext cx="1754722" cy="40644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p:cNvSpPr/>
            <p:nvPr userDrawn="1"/>
          </p:nvSpPr>
          <p:spPr>
            <a:xfrm>
              <a:off x="7134837" y="952150"/>
              <a:ext cx="1746610" cy="41913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gr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pic>
        <p:nvPicPr>
          <p:cNvPr id="15"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2671873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ont page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2" name="Espace réservé pour une image  11">
            <a:extLst>
              <a:ext uri="{FF2B5EF4-FFF2-40B4-BE49-F238E27FC236}">
                <a16:creationId xmlns:a16="http://schemas.microsoft.com/office/drawing/2014/main" id="{8BF4F207-E709-42A4-9B4C-9D25C5BF97B5}"/>
              </a:ext>
            </a:extLst>
          </p:cNvPr>
          <p:cNvSpPr>
            <a:spLocks noGrp="1"/>
          </p:cNvSpPr>
          <p:nvPr>
            <p:ph type="pic" sz="quarter" idx="10"/>
          </p:nvPr>
        </p:nvSpPr>
        <p:spPr>
          <a:xfrm>
            <a:off x="5120641" y="3"/>
            <a:ext cx="3763616" cy="5143499"/>
          </a:xfrm>
          <a:custGeom>
            <a:avLst/>
            <a:gdLst>
              <a:gd name="connsiteX0" fmla="*/ 2013644 w 3763616"/>
              <a:gd name="connsiteY0" fmla="*/ 954192 h 5143499"/>
              <a:gd name="connsiteX1" fmla="*/ 3763616 w 3763616"/>
              <a:gd name="connsiteY1" fmla="*/ 954192 h 5143499"/>
              <a:gd name="connsiteX2" fmla="*/ 3763616 w 3763616"/>
              <a:gd name="connsiteY2" fmla="*/ 5143499 h 5143499"/>
              <a:gd name="connsiteX3" fmla="*/ 2013644 w 3763616"/>
              <a:gd name="connsiteY3" fmla="*/ 5143499 h 5143499"/>
              <a:gd name="connsiteX4" fmla="*/ 0 w 3763616"/>
              <a:gd name="connsiteY4" fmla="*/ 0 h 5143499"/>
              <a:gd name="connsiteX5" fmla="*/ 1749972 w 3763616"/>
              <a:gd name="connsiteY5" fmla="*/ 0 h 5143499"/>
              <a:gd name="connsiteX6" fmla="*/ 1749972 w 3763616"/>
              <a:gd name="connsiteY6" fmla="*/ 4067882 h 5143499"/>
              <a:gd name="connsiteX7" fmla="*/ 0 w 3763616"/>
              <a:gd name="connsiteY7" fmla="*/ 406788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3616" h="5143499">
                <a:moveTo>
                  <a:pt x="2013644" y="954192"/>
                </a:moveTo>
                <a:lnTo>
                  <a:pt x="3763616" y="954192"/>
                </a:lnTo>
                <a:lnTo>
                  <a:pt x="3763616" y="5143499"/>
                </a:lnTo>
                <a:lnTo>
                  <a:pt x="2013644" y="5143499"/>
                </a:lnTo>
                <a:close/>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pic>
        <p:nvPicPr>
          <p:cNvPr id="8"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36354012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ont page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sp>
        <p:nvSpPr>
          <p:cNvPr id="8" name="Espace réservé du texte 3">
            <a:extLst>
              <a:ext uri="{FF2B5EF4-FFF2-40B4-BE49-F238E27FC236}">
                <a16:creationId xmlns:a16="http://schemas.microsoft.com/office/drawing/2014/main" id="{382570B0-A940-4837-AF85-EB90947594C7}"/>
              </a:ext>
            </a:extLst>
          </p:cNvPr>
          <p:cNvSpPr>
            <a:spLocks noGrp="1"/>
          </p:cNvSpPr>
          <p:nvPr>
            <p:ph type="body" sz="quarter" idx="14" hasCustomPrompt="1"/>
          </p:nvPr>
        </p:nvSpPr>
        <p:spPr>
          <a:xfrm>
            <a:off x="335280" y="3157326"/>
            <a:ext cx="4785360" cy="462800"/>
          </a:xfrm>
          <a:solidFill>
            <a:schemeClr val="bg1"/>
          </a:solidFill>
        </p:spPr>
        <p:txBody>
          <a:bodyPr lIns="180000" rIns="180000">
            <a:normAutofit/>
          </a:bodyPr>
          <a:lstStyle>
            <a:lvl1pPr>
              <a:lnSpc>
                <a:spcPct val="100000"/>
              </a:lnSpc>
              <a:defRPr sz="1400">
                <a:solidFill>
                  <a:schemeClr val="accent3"/>
                </a:solidFill>
                <a:latin typeface="+mn-lt"/>
              </a:defRPr>
            </a:lvl1pPr>
            <a:lvl2pPr>
              <a:defRPr sz="1200"/>
            </a:lvl2pPr>
            <a:lvl3pPr>
              <a:defRPr sz="1200"/>
            </a:lvl3pPr>
            <a:lvl4pPr>
              <a:defRPr sz="1200"/>
            </a:lvl4pPr>
            <a:lvl5pPr>
              <a:defRPr sz="1200"/>
            </a:lvl5pPr>
          </a:lstStyle>
          <a:p>
            <a:pPr lvl="0"/>
            <a:r>
              <a:rPr lang="en-US" dirty="0"/>
              <a:t>Enter the subtitle of your presentation</a:t>
            </a:r>
          </a:p>
        </p:txBody>
      </p:sp>
      <p:grpSp>
        <p:nvGrpSpPr>
          <p:cNvPr id="13" name="Groupe 12"/>
          <p:cNvGrpSpPr/>
          <p:nvPr userDrawn="1"/>
        </p:nvGrpSpPr>
        <p:grpSpPr>
          <a:xfrm>
            <a:off x="5120641" y="1"/>
            <a:ext cx="3760807" cy="5143499"/>
            <a:chOff x="5120640" y="0"/>
            <a:chExt cx="3760807" cy="5143499"/>
          </a:xfrm>
          <a:blipFill dpi="0" rotWithShape="1">
            <a:blip r:embed="rId2"/>
            <a:srcRect/>
            <a:stretch>
              <a:fillRect l="-20000" t="-2000"/>
            </a:stretch>
          </a:blipFill>
        </p:grpSpPr>
        <p:sp>
          <p:nvSpPr>
            <p:cNvPr id="16" name="Rectangle 15"/>
            <p:cNvSpPr/>
            <p:nvPr userDrawn="1"/>
          </p:nvSpPr>
          <p:spPr>
            <a:xfrm>
              <a:off x="5120640" y="0"/>
              <a:ext cx="1754722" cy="40644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7" name="Rectangle 16"/>
            <p:cNvSpPr/>
            <p:nvPr userDrawn="1"/>
          </p:nvSpPr>
          <p:spPr>
            <a:xfrm>
              <a:off x="7134837" y="952150"/>
              <a:ext cx="1746610" cy="41913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grpSp>
      <p:pic>
        <p:nvPicPr>
          <p:cNvPr id="12"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32388226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ront page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2" name="Espace réservé pour une image  11">
            <a:extLst>
              <a:ext uri="{FF2B5EF4-FFF2-40B4-BE49-F238E27FC236}">
                <a16:creationId xmlns:a16="http://schemas.microsoft.com/office/drawing/2014/main" id="{8BF4F207-E709-42A4-9B4C-9D25C5BF97B5}"/>
              </a:ext>
            </a:extLst>
          </p:cNvPr>
          <p:cNvSpPr>
            <a:spLocks noGrp="1"/>
          </p:cNvSpPr>
          <p:nvPr>
            <p:ph type="pic" sz="quarter" idx="10"/>
          </p:nvPr>
        </p:nvSpPr>
        <p:spPr>
          <a:xfrm>
            <a:off x="5120641" y="3"/>
            <a:ext cx="3763616" cy="5143499"/>
          </a:xfrm>
          <a:custGeom>
            <a:avLst/>
            <a:gdLst>
              <a:gd name="connsiteX0" fmla="*/ 2013644 w 3763616"/>
              <a:gd name="connsiteY0" fmla="*/ 954192 h 5143499"/>
              <a:gd name="connsiteX1" fmla="*/ 3763616 w 3763616"/>
              <a:gd name="connsiteY1" fmla="*/ 954192 h 5143499"/>
              <a:gd name="connsiteX2" fmla="*/ 3763616 w 3763616"/>
              <a:gd name="connsiteY2" fmla="*/ 5143499 h 5143499"/>
              <a:gd name="connsiteX3" fmla="*/ 2013644 w 3763616"/>
              <a:gd name="connsiteY3" fmla="*/ 5143499 h 5143499"/>
              <a:gd name="connsiteX4" fmla="*/ 0 w 3763616"/>
              <a:gd name="connsiteY4" fmla="*/ 0 h 5143499"/>
              <a:gd name="connsiteX5" fmla="*/ 1749972 w 3763616"/>
              <a:gd name="connsiteY5" fmla="*/ 0 h 5143499"/>
              <a:gd name="connsiteX6" fmla="*/ 1749972 w 3763616"/>
              <a:gd name="connsiteY6" fmla="*/ 4067882 h 5143499"/>
              <a:gd name="connsiteX7" fmla="*/ 0 w 3763616"/>
              <a:gd name="connsiteY7" fmla="*/ 406788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3616" h="5143499">
                <a:moveTo>
                  <a:pt x="2013644" y="954192"/>
                </a:moveTo>
                <a:lnTo>
                  <a:pt x="3763616" y="954192"/>
                </a:lnTo>
                <a:lnTo>
                  <a:pt x="3763616" y="5143499"/>
                </a:lnTo>
                <a:lnTo>
                  <a:pt x="2013644" y="5143499"/>
                </a:lnTo>
                <a:close/>
                <a:moveTo>
                  <a:pt x="0" y="0"/>
                </a:moveTo>
                <a:lnTo>
                  <a:pt x="1749972" y="0"/>
                </a:lnTo>
                <a:lnTo>
                  <a:pt x="1749972" y="4067882"/>
                </a:lnTo>
                <a:lnTo>
                  <a:pt x="0" y="4067882"/>
                </a:lnTo>
                <a:close/>
              </a:path>
            </a:pathLst>
          </a:custGeom>
          <a:ln>
            <a:noFill/>
          </a:ln>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sp>
        <p:nvSpPr>
          <p:cNvPr id="8" name="Espace réservé du texte 3">
            <a:extLst>
              <a:ext uri="{FF2B5EF4-FFF2-40B4-BE49-F238E27FC236}">
                <a16:creationId xmlns:a16="http://schemas.microsoft.com/office/drawing/2014/main" id="{382570B0-A940-4837-AF85-EB90947594C7}"/>
              </a:ext>
            </a:extLst>
          </p:cNvPr>
          <p:cNvSpPr>
            <a:spLocks noGrp="1"/>
          </p:cNvSpPr>
          <p:nvPr>
            <p:ph type="body" sz="quarter" idx="14" hasCustomPrompt="1"/>
          </p:nvPr>
        </p:nvSpPr>
        <p:spPr>
          <a:xfrm>
            <a:off x="335280" y="3157326"/>
            <a:ext cx="4785360" cy="462800"/>
          </a:xfrm>
          <a:solidFill>
            <a:schemeClr val="bg1"/>
          </a:solidFill>
        </p:spPr>
        <p:txBody>
          <a:bodyPr lIns="180000" rIns="180000">
            <a:normAutofit/>
          </a:bodyPr>
          <a:lstStyle>
            <a:lvl1pPr>
              <a:lnSpc>
                <a:spcPct val="100000"/>
              </a:lnSpc>
              <a:defRPr sz="1400">
                <a:solidFill>
                  <a:schemeClr val="accent3"/>
                </a:solidFill>
                <a:latin typeface="+mn-lt"/>
              </a:defRPr>
            </a:lvl1pPr>
            <a:lvl2pPr>
              <a:defRPr sz="1200"/>
            </a:lvl2pPr>
            <a:lvl3pPr>
              <a:defRPr sz="1200"/>
            </a:lvl3pPr>
            <a:lvl4pPr>
              <a:defRPr sz="1200"/>
            </a:lvl4pPr>
            <a:lvl5pPr>
              <a:defRPr sz="1200"/>
            </a:lvl5pPr>
          </a:lstStyle>
          <a:p>
            <a:pPr lvl="0"/>
            <a:r>
              <a:rPr lang="en-US" dirty="0"/>
              <a:t>Enter the subtitle of your presentation</a:t>
            </a:r>
          </a:p>
        </p:txBody>
      </p:sp>
      <p:pic>
        <p:nvPicPr>
          <p:cNvPr id="10"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15762231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ummary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Rectangle 1"/>
          <p:cNvSpPr/>
          <p:nvPr userDrawn="1"/>
        </p:nvSpPr>
        <p:spPr>
          <a:xfrm>
            <a:off x="133744" y="0"/>
            <a:ext cx="1749972" cy="4067884"/>
          </a:xfrm>
          <a:prstGeom prst="rect">
            <a:avLst/>
          </a:prstGeom>
          <a:blipFill dpi="0" rotWithShape="1">
            <a:blip r:embed="rId2"/>
            <a:srcRect/>
            <a:tile tx="-1524000" ty="-1016000" sx="100000" sy="100000" flip="y"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07304" y="1104901"/>
            <a:ext cx="653672" cy="689175"/>
          </a:xfrm>
        </p:spPr>
        <p:txBody>
          <a:bodyPr anchor="ctr" anchorCtr="0">
            <a:noAutofit/>
          </a:bodyPr>
          <a:lstStyle>
            <a:lvl1pPr algn="r">
              <a:defRPr sz="44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322638" y="110490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07304" y="2016092"/>
            <a:ext cx="653672" cy="689175"/>
          </a:xfrm>
        </p:spPr>
        <p:txBody>
          <a:bodyPr anchor="ctr" anchorCtr="0">
            <a:noAutofit/>
          </a:bodyPr>
          <a:lstStyle>
            <a:lvl1pPr algn="r">
              <a:defRPr sz="44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322638" y="201609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07304" y="2927083"/>
            <a:ext cx="653672" cy="689175"/>
          </a:xfrm>
        </p:spPr>
        <p:txBody>
          <a:bodyPr anchor="ctr" anchorCtr="0">
            <a:noAutofit/>
          </a:bodyPr>
          <a:lstStyle>
            <a:lvl1pPr algn="r">
              <a:defRPr sz="44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322638" y="292708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07304" y="3837872"/>
            <a:ext cx="653672" cy="689175"/>
          </a:xfrm>
        </p:spPr>
        <p:txBody>
          <a:bodyPr anchor="ctr" anchorCtr="0">
            <a:noAutofit/>
          </a:bodyPr>
          <a:lstStyle>
            <a:lvl1pPr algn="r">
              <a:defRPr sz="44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322638" y="383787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25"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19" name="Picture 18"/>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5381498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ummary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10" name="Espace réservé pour une image  9">
            <a:extLst>
              <a:ext uri="{FF2B5EF4-FFF2-40B4-BE49-F238E27FC236}">
                <a16:creationId xmlns:a16="http://schemas.microsoft.com/office/drawing/2014/main" id="{2481741F-42DC-4FF8-AD9C-1FB7F7BE9822}"/>
              </a:ext>
            </a:extLst>
          </p:cNvPr>
          <p:cNvSpPr>
            <a:spLocks noGrp="1"/>
          </p:cNvSpPr>
          <p:nvPr>
            <p:ph type="pic" sz="quarter" idx="10"/>
          </p:nvPr>
        </p:nvSpPr>
        <p:spPr>
          <a:xfrm>
            <a:off x="133744" y="3"/>
            <a:ext cx="1749972" cy="4067882"/>
          </a:xfrm>
          <a:custGeom>
            <a:avLst/>
            <a:gdLst>
              <a:gd name="connsiteX0" fmla="*/ 0 w 1749972"/>
              <a:gd name="connsiteY0" fmla="*/ 0 h 4067882"/>
              <a:gd name="connsiteX1" fmla="*/ 1749972 w 1749972"/>
              <a:gd name="connsiteY1" fmla="*/ 0 h 4067882"/>
              <a:gd name="connsiteX2" fmla="*/ 1749972 w 1749972"/>
              <a:gd name="connsiteY2" fmla="*/ 4067882 h 4067882"/>
              <a:gd name="connsiteX3" fmla="*/ 0 w 1749972"/>
              <a:gd name="connsiteY3" fmla="*/ 4067882 h 4067882"/>
            </a:gdLst>
            <a:ahLst/>
            <a:cxnLst>
              <a:cxn ang="0">
                <a:pos x="connsiteX0" y="connsiteY0"/>
              </a:cxn>
              <a:cxn ang="0">
                <a:pos x="connsiteX1" y="connsiteY1"/>
              </a:cxn>
              <a:cxn ang="0">
                <a:pos x="connsiteX2" y="connsiteY2"/>
              </a:cxn>
              <a:cxn ang="0">
                <a:pos x="connsiteX3" y="connsiteY3"/>
              </a:cxn>
            </a:cxnLst>
            <a:rect l="l" t="t" r="r" b="b"/>
            <a:pathLst>
              <a:path w="1749972" h="4067882">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07304" y="1104901"/>
            <a:ext cx="653672" cy="689175"/>
          </a:xfrm>
        </p:spPr>
        <p:txBody>
          <a:bodyPr anchor="ctr" anchorCtr="0">
            <a:noAutofit/>
          </a:bodyPr>
          <a:lstStyle>
            <a:lvl1pPr algn="r">
              <a:defRPr sz="44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322638" y="110490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07304" y="2016092"/>
            <a:ext cx="653672" cy="689175"/>
          </a:xfrm>
        </p:spPr>
        <p:txBody>
          <a:bodyPr anchor="ctr" anchorCtr="0">
            <a:noAutofit/>
          </a:bodyPr>
          <a:lstStyle>
            <a:lvl1pPr algn="r">
              <a:defRPr sz="44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322638" y="201609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07304" y="2927083"/>
            <a:ext cx="653672" cy="689175"/>
          </a:xfrm>
        </p:spPr>
        <p:txBody>
          <a:bodyPr anchor="ctr" anchorCtr="0">
            <a:noAutofit/>
          </a:bodyPr>
          <a:lstStyle>
            <a:lvl1pPr algn="r">
              <a:defRPr sz="44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322638" y="292708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07304" y="3837872"/>
            <a:ext cx="653672" cy="689175"/>
          </a:xfrm>
        </p:spPr>
        <p:txBody>
          <a:bodyPr anchor="ctr" anchorCtr="0">
            <a:noAutofit/>
          </a:bodyPr>
          <a:lstStyle>
            <a:lvl1pPr algn="r">
              <a:defRPr sz="44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322638" y="383787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9"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20" name="Picture 19"/>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7382730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ummary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Rectangle 1"/>
          <p:cNvSpPr/>
          <p:nvPr userDrawn="1"/>
        </p:nvSpPr>
        <p:spPr>
          <a:xfrm>
            <a:off x="133744" y="0"/>
            <a:ext cx="1749972" cy="4067884"/>
          </a:xfrm>
          <a:prstGeom prst="rect">
            <a:avLst/>
          </a:prstGeom>
          <a:blipFill>
            <a:blip r:embed="rId2"/>
            <a:tile tx="-1524000" ty="-1016000" sx="100000" sy="100000" flip="y"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37784" y="1104901"/>
            <a:ext cx="593415" cy="689175"/>
          </a:xfrm>
        </p:spPr>
        <p:txBody>
          <a:bodyPr anchor="ctr" anchorCtr="0">
            <a:noAutofit/>
          </a:bodyPr>
          <a:lstStyle>
            <a:lvl1pPr algn="r">
              <a:defRPr sz="36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261677"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37784" y="2016092"/>
            <a:ext cx="593415" cy="689175"/>
          </a:xfrm>
        </p:spPr>
        <p:txBody>
          <a:bodyPr anchor="ctr" anchorCtr="0">
            <a:noAutofit/>
          </a:bodyPr>
          <a:lstStyle>
            <a:lvl1pPr algn="r">
              <a:defRPr sz="36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261677"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37784" y="2927083"/>
            <a:ext cx="593415" cy="689175"/>
          </a:xfrm>
        </p:spPr>
        <p:txBody>
          <a:bodyPr anchor="ctr" anchorCtr="0">
            <a:noAutofit/>
          </a:bodyPr>
          <a:lstStyle>
            <a:lvl1pPr algn="r">
              <a:defRPr sz="36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261677"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37784" y="3837872"/>
            <a:ext cx="593415" cy="689175"/>
          </a:xfrm>
        </p:spPr>
        <p:txBody>
          <a:bodyPr anchor="ctr" anchorCtr="0">
            <a:noAutofit/>
          </a:bodyPr>
          <a:lstStyle>
            <a:lvl1pPr algn="r">
              <a:defRPr sz="36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261677"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8" name="Espace réservé du texte 3">
            <a:extLst>
              <a:ext uri="{FF2B5EF4-FFF2-40B4-BE49-F238E27FC236}">
                <a16:creationId xmlns:a16="http://schemas.microsoft.com/office/drawing/2014/main" id="{8C8C9E17-5906-4CF2-8294-4730AFFE67B1}"/>
              </a:ext>
            </a:extLst>
          </p:cNvPr>
          <p:cNvSpPr>
            <a:spLocks noGrp="1"/>
          </p:cNvSpPr>
          <p:nvPr>
            <p:ph type="body" sz="quarter" idx="19" hasCustomPrompt="1"/>
          </p:nvPr>
        </p:nvSpPr>
        <p:spPr>
          <a:xfrm>
            <a:off x="5961901" y="1104901"/>
            <a:ext cx="593415" cy="689175"/>
          </a:xfrm>
        </p:spPr>
        <p:txBody>
          <a:bodyPr anchor="ctr" anchorCtr="0">
            <a:noAutofit/>
          </a:bodyPr>
          <a:lstStyle>
            <a:lvl1pPr algn="r">
              <a:defRPr sz="3600" b="1">
                <a:latin typeface="+mj-lt"/>
              </a:defRPr>
            </a:lvl1pPr>
          </a:lstStyle>
          <a:p>
            <a:pPr lvl="0"/>
            <a:r>
              <a:rPr lang="fr-FR" dirty="0"/>
              <a:t>5</a:t>
            </a:r>
            <a:endParaRPr lang="en-GB" dirty="0"/>
          </a:p>
        </p:txBody>
      </p:sp>
      <p:sp>
        <p:nvSpPr>
          <p:cNvPr id="19" name="Espace réservé du texte 7">
            <a:extLst>
              <a:ext uri="{FF2B5EF4-FFF2-40B4-BE49-F238E27FC236}">
                <a16:creationId xmlns:a16="http://schemas.microsoft.com/office/drawing/2014/main" id="{6BC88C6A-B62E-4E4C-963C-A1CD87DCCD76}"/>
              </a:ext>
            </a:extLst>
          </p:cNvPr>
          <p:cNvSpPr>
            <a:spLocks noGrp="1"/>
          </p:cNvSpPr>
          <p:nvPr>
            <p:ph type="body" sz="quarter" idx="20" hasCustomPrompt="1"/>
          </p:nvPr>
        </p:nvSpPr>
        <p:spPr>
          <a:xfrm>
            <a:off x="6585794"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fth chapter</a:t>
            </a:r>
            <a:endParaRPr lang="fr-FR" dirty="0"/>
          </a:p>
        </p:txBody>
      </p:sp>
      <p:sp>
        <p:nvSpPr>
          <p:cNvPr id="20" name="Espace réservé du texte 3">
            <a:extLst>
              <a:ext uri="{FF2B5EF4-FFF2-40B4-BE49-F238E27FC236}">
                <a16:creationId xmlns:a16="http://schemas.microsoft.com/office/drawing/2014/main" id="{88F0C468-DD31-49F0-A3A5-29ACF01F68AA}"/>
              </a:ext>
            </a:extLst>
          </p:cNvPr>
          <p:cNvSpPr>
            <a:spLocks noGrp="1"/>
          </p:cNvSpPr>
          <p:nvPr>
            <p:ph type="body" sz="quarter" idx="21" hasCustomPrompt="1"/>
          </p:nvPr>
        </p:nvSpPr>
        <p:spPr>
          <a:xfrm>
            <a:off x="5961901" y="2016092"/>
            <a:ext cx="593415" cy="689175"/>
          </a:xfrm>
        </p:spPr>
        <p:txBody>
          <a:bodyPr anchor="ctr" anchorCtr="0">
            <a:noAutofit/>
          </a:bodyPr>
          <a:lstStyle>
            <a:lvl1pPr algn="r">
              <a:defRPr sz="3600" b="1">
                <a:latin typeface="+mj-lt"/>
              </a:defRPr>
            </a:lvl1pPr>
          </a:lstStyle>
          <a:p>
            <a:pPr lvl="0"/>
            <a:r>
              <a:rPr lang="fr-FR" dirty="0"/>
              <a:t>6</a:t>
            </a:r>
            <a:endParaRPr lang="en-GB" dirty="0"/>
          </a:p>
        </p:txBody>
      </p:sp>
      <p:sp>
        <p:nvSpPr>
          <p:cNvPr id="25" name="Espace réservé du texte 7">
            <a:extLst>
              <a:ext uri="{FF2B5EF4-FFF2-40B4-BE49-F238E27FC236}">
                <a16:creationId xmlns:a16="http://schemas.microsoft.com/office/drawing/2014/main" id="{373FFC4E-CC0C-45E8-A9F4-D8CEEF6BB7C1}"/>
              </a:ext>
            </a:extLst>
          </p:cNvPr>
          <p:cNvSpPr>
            <a:spLocks noGrp="1"/>
          </p:cNvSpPr>
          <p:nvPr>
            <p:ph type="body" sz="quarter" idx="22" hasCustomPrompt="1"/>
          </p:nvPr>
        </p:nvSpPr>
        <p:spPr>
          <a:xfrm>
            <a:off x="6585794"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ixth chapter</a:t>
            </a:r>
            <a:endParaRPr lang="fr-FR" dirty="0"/>
          </a:p>
        </p:txBody>
      </p:sp>
      <p:sp>
        <p:nvSpPr>
          <p:cNvPr id="26" name="Espace réservé du texte 3">
            <a:extLst>
              <a:ext uri="{FF2B5EF4-FFF2-40B4-BE49-F238E27FC236}">
                <a16:creationId xmlns:a16="http://schemas.microsoft.com/office/drawing/2014/main" id="{1938E8D1-6787-407C-AAE7-4E4DFEEC3CAB}"/>
              </a:ext>
            </a:extLst>
          </p:cNvPr>
          <p:cNvSpPr>
            <a:spLocks noGrp="1"/>
          </p:cNvSpPr>
          <p:nvPr>
            <p:ph type="body" sz="quarter" idx="23" hasCustomPrompt="1"/>
          </p:nvPr>
        </p:nvSpPr>
        <p:spPr>
          <a:xfrm>
            <a:off x="5961901" y="2927083"/>
            <a:ext cx="593415" cy="689175"/>
          </a:xfrm>
        </p:spPr>
        <p:txBody>
          <a:bodyPr anchor="ctr" anchorCtr="0">
            <a:noAutofit/>
          </a:bodyPr>
          <a:lstStyle>
            <a:lvl1pPr algn="r">
              <a:defRPr sz="3600" b="1">
                <a:latin typeface="+mj-lt"/>
              </a:defRPr>
            </a:lvl1pPr>
          </a:lstStyle>
          <a:p>
            <a:pPr lvl="0"/>
            <a:r>
              <a:rPr lang="fr-FR" dirty="0"/>
              <a:t>7</a:t>
            </a:r>
            <a:endParaRPr lang="en-GB" dirty="0"/>
          </a:p>
        </p:txBody>
      </p:sp>
      <p:sp>
        <p:nvSpPr>
          <p:cNvPr id="27" name="Espace réservé du texte 7">
            <a:extLst>
              <a:ext uri="{FF2B5EF4-FFF2-40B4-BE49-F238E27FC236}">
                <a16:creationId xmlns:a16="http://schemas.microsoft.com/office/drawing/2014/main" id="{1357C87F-8625-4D55-BAE7-D6A9FDDD340D}"/>
              </a:ext>
            </a:extLst>
          </p:cNvPr>
          <p:cNvSpPr>
            <a:spLocks noGrp="1"/>
          </p:cNvSpPr>
          <p:nvPr>
            <p:ph type="body" sz="quarter" idx="24" hasCustomPrompt="1"/>
          </p:nvPr>
        </p:nvSpPr>
        <p:spPr>
          <a:xfrm>
            <a:off x="6585794"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venth chapter</a:t>
            </a:r>
            <a:endParaRPr lang="fr-FR" dirty="0"/>
          </a:p>
        </p:txBody>
      </p:sp>
      <p:sp>
        <p:nvSpPr>
          <p:cNvPr id="28" name="Espace réservé du texte 3">
            <a:extLst>
              <a:ext uri="{FF2B5EF4-FFF2-40B4-BE49-F238E27FC236}">
                <a16:creationId xmlns:a16="http://schemas.microsoft.com/office/drawing/2014/main" id="{D89999BC-251E-4F61-9201-37E475009391}"/>
              </a:ext>
            </a:extLst>
          </p:cNvPr>
          <p:cNvSpPr>
            <a:spLocks noGrp="1"/>
          </p:cNvSpPr>
          <p:nvPr>
            <p:ph type="body" sz="quarter" idx="25" hasCustomPrompt="1"/>
          </p:nvPr>
        </p:nvSpPr>
        <p:spPr>
          <a:xfrm>
            <a:off x="5961901" y="3837872"/>
            <a:ext cx="593415" cy="689175"/>
          </a:xfrm>
        </p:spPr>
        <p:txBody>
          <a:bodyPr anchor="ctr" anchorCtr="0">
            <a:noAutofit/>
          </a:bodyPr>
          <a:lstStyle>
            <a:lvl1pPr algn="r">
              <a:defRPr sz="3600" b="1">
                <a:latin typeface="+mj-lt"/>
              </a:defRPr>
            </a:lvl1pPr>
          </a:lstStyle>
          <a:p>
            <a:pPr lvl="0"/>
            <a:r>
              <a:rPr lang="fr-FR" dirty="0"/>
              <a:t>8</a:t>
            </a:r>
            <a:endParaRPr lang="en-GB" dirty="0"/>
          </a:p>
        </p:txBody>
      </p:sp>
      <p:sp>
        <p:nvSpPr>
          <p:cNvPr id="29" name="Espace réservé du texte 7">
            <a:extLst>
              <a:ext uri="{FF2B5EF4-FFF2-40B4-BE49-F238E27FC236}">
                <a16:creationId xmlns:a16="http://schemas.microsoft.com/office/drawing/2014/main" id="{8D124088-5A10-4B10-8C05-A7342239E11E}"/>
              </a:ext>
            </a:extLst>
          </p:cNvPr>
          <p:cNvSpPr>
            <a:spLocks noGrp="1"/>
          </p:cNvSpPr>
          <p:nvPr>
            <p:ph type="body" sz="quarter" idx="26" hasCustomPrompt="1"/>
          </p:nvPr>
        </p:nvSpPr>
        <p:spPr>
          <a:xfrm>
            <a:off x="6585794"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eighth chapter</a:t>
            </a:r>
          </a:p>
        </p:txBody>
      </p:sp>
      <p:sp>
        <p:nvSpPr>
          <p:cNvPr id="32"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7"/>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33" name="Picture 32"/>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9835339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ummary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10" name="Espace réservé pour une image  9">
            <a:extLst>
              <a:ext uri="{FF2B5EF4-FFF2-40B4-BE49-F238E27FC236}">
                <a16:creationId xmlns:a16="http://schemas.microsoft.com/office/drawing/2014/main" id="{2481741F-42DC-4FF8-AD9C-1FB7F7BE9822}"/>
              </a:ext>
            </a:extLst>
          </p:cNvPr>
          <p:cNvSpPr>
            <a:spLocks noGrp="1"/>
          </p:cNvSpPr>
          <p:nvPr>
            <p:ph type="pic" sz="quarter" idx="10"/>
          </p:nvPr>
        </p:nvSpPr>
        <p:spPr>
          <a:xfrm>
            <a:off x="133744" y="3"/>
            <a:ext cx="1749972" cy="4067882"/>
          </a:xfrm>
          <a:custGeom>
            <a:avLst/>
            <a:gdLst>
              <a:gd name="connsiteX0" fmla="*/ 0 w 1749972"/>
              <a:gd name="connsiteY0" fmla="*/ 0 h 4067882"/>
              <a:gd name="connsiteX1" fmla="*/ 1749972 w 1749972"/>
              <a:gd name="connsiteY1" fmla="*/ 0 h 4067882"/>
              <a:gd name="connsiteX2" fmla="*/ 1749972 w 1749972"/>
              <a:gd name="connsiteY2" fmla="*/ 4067882 h 4067882"/>
              <a:gd name="connsiteX3" fmla="*/ 0 w 1749972"/>
              <a:gd name="connsiteY3" fmla="*/ 4067882 h 4067882"/>
            </a:gdLst>
            <a:ahLst/>
            <a:cxnLst>
              <a:cxn ang="0">
                <a:pos x="connsiteX0" y="connsiteY0"/>
              </a:cxn>
              <a:cxn ang="0">
                <a:pos x="connsiteX1" y="connsiteY1"/>
              </a:cxn>
              <a:cxn ang="0">
                <a:pos x="connsiteX2" y="connsiteY2"/>
              </a:cxn>
              <a:cxn ang="0">
                <a:pos x="connsiteX3" y="connsiteY3"/>
              </a:cxn>
            </a:cxnLst>
            <a:rect l="l" t="t" r="r" b="b"/>
            <a:pathLst>
              <a:path w="1749972" h="4067882">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37784" y="1104901"/>
            <a:ext cx="593415" cy="689175"/>
          </a:xfrm>
        </p:spPr>
        <p:txBody>
          <a:bodyPr anchor="ctr" anchorCtr="0">
            <a:noAutofit/>
          </a:bodyPr>
          <a:lstStyle>
            <a:lvl1pPr algn="r">
              <a:defRPr sz="36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261677"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37784" y="2016092"/>
            <a:ext cx="593415" cy="689175"/>
          </a:xfrm>
        </p:spPr>
        <p:txBody>
          <a:bodyPr anchor="ctr" anchorCtr="0">
            <a:noAutofit/>
          </a:bodyPr>
          <a:lstStyle>
            <a:lvl1pPr algn="r">
              <a:defRPr sz="36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261677"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37784" y="2927083"/>
            <a:ext cx="593415" cy="689175"/>
          </a:xfrm>
        </p:spPr>
        <p:txBody>
          <a:bodyPr anchor="ctr" anchorCtr="0">
            <a:noAutofit/>
          </a:bodyPr>
          <a:lstStyle>
            <a:lvl1pPr algn="r">
              <a:defRPr sz="36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261677"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37784" y="3837872"/>
            <a:ext cx="593415" cy="689175"/>
          </a:xfrm>
        </p:spPr>
        <p:txBody>
          <a:bodyPr anchor="ctr" anchorCtr="0">
            <a:noAutofit/>
          </a:bodyPr>
          <a:lstStyle>
            <a:lvl1pPr algn="r">
              <a:defRPr sz="36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261677"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8" name="Espace réservé du texte 3">
            <a:extLst>
              <a:ext uri="{FF2B5EF4-FFF2-40B4-BE49-F238E27FC236}">
                <a16:creationId xmlns:a16="http://schemas.microsoft.com/office/drawing/2014/main" id="{8C8C9E17-5906-4CF2-8294-4730AFFE67B1}"/>
              </a:ext>
            </a:extLst>
          </p:cNvPr>
          <p:cNvSpPr>
            <a:spLocks noGrp="1"/>
          </p:cNvSpPr>
          <p:nvPr>
            <p:ph type="body" sz="quarter" idx="19" hasCustomPrompt="1"/>
          </p:nvPr>
        </p:nvSpPr>
        <p:spPr>
          <a:xfrm>
            <a:off x="5961901" y="1104901"/>
            <a:ext cx="593415" cy="689175"/>
          </a:xfrm>
        </p:spPr>
        <p:txBody>
          <a:bodyPr anchor="ctr" anchorCtr="0">
            <a:noAutofit/>
          </a:bodyPr>
          <a:lstStyle>
            <a:lvl1pPr algn="r">
              <a:defRPr sz="3600" b="1">
                <a:latin typeface="+mj-lt"/>
              </a:defRPr>
            </a:lvl1pPr>
          </a:lstStyle>
          <a:p>
            <a:pPr lvl="0"/>
            <a:r>
              <a:rPr lang="fr-FR" dirty="0"/>
              <a:t>5</a:t>
            </a:r>
            <a:endParaRPr lang="en-GB" dirty="0"/>
          </a:p>
        </p:txBody>
      </p:sp>
      <p:sp>
        <p:nvSpPr>
          <p:cNvPr id="19" name="Espace réservé du texte 7">
            <a:extLst>
              <a:ext uri="{FF2B5EF4-FFF2-40B4-BE49-F238E27FC236}">
                <a16:creationId xmlns:a16="http://schemas.microsoft.com/office/drawing/2014/main" id="{6BC88C6A-B62E-4E4C-963C-A1CD87DCCD76}"/>
              </a:ext>
            </a:extLst>
          </p:cNvPr>
          <p:cNvSpPr>
            <a:spLocks noGrp="1"/>
          </p:cNvSpPr>
          <p:nvPr>
            <p:ph type="body" sz="quarter" idx="20" hasCustomPrompt="1"/>
          </p:nvPr>
        </p:nvSpPr>
        <p:spPr>
          <a:xfrm>
            <a:off x="6585794"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fth chapter</a:t>
            </a:r>
            <a:endParaRPr lang="fr-FR" dirty="0"/>
          </a:p>
        </p:txBody>
      </p:sp>
      <p:sp>
        <p:nvSpPr>
          <p:cNvPr id="20" name="Espace réservé du texte 3">
            <a:extLst>
              <a:ext uri="{FF2B5EF4-FFF2-40B4-BE49-F238E27FC236}">
                <a16:creationId xmlns:a16="http://schemas.microsoft.com/office/drawing/2014/main" id="{88F0C468-DD31-49F0-A3A5-29ACF01F68AA}"/>
              </a:ext>
            </a:extLst>
          </p:cNvPr>
          <p:cNvSpPr>
            <a:spLocks noGrp="1"/>
          </p:cNvSpPr>
          <p:nvPr>
            <p:ph type="body" sz="quarter" idx="21" hasCustomPrompt="1"/>
          </p:nvPr>
        </p:nvSpPr>
        <p:spPr>
          <a:xfrm>
            <a:off x="5961901" y="2016092"/>
            <a:ext cx="593415" cy="689175"/>
          </a:xfrm>
        </p:spPr>
        <p:txBody>
          <a:bodyPr anchor="ctr" anchorCtr="0">
            <a:noAutofit/>
          </a:bodyPr>
          <a:lstStyle>
            <a:lvl1pPr algn="r">
              <a:defRPr sz="3600" b="1">
                <a:latin typeface="+mj-lt"/>
              </a:defRPr>
            </a:lvl1pPr>
          </a:lstStyle>
          <a:p>
            <a:pPr lvl="0"/>
            <a:r>
              <a:rPr lang="fr-FR" dirty="0"/>
              <a:t>6</a:t>
            </a:r>
            <a:endParaRPr lang="en-GB" dirty="0"/>
          </a:p>
        </p:txBody>
      </p:sp>
      <p:sp>
        <p:nvSpPr>
          <p:cNvPr id="25" name="Espace réservé du texte 7">
            <a:extLst>
              <a:ext uri="{FF2B5EF4-FFF2-40B4-BE49-F238E27FC236}">
                <a16:creationId xmlns:a16="http://schemas.microsoft.com/office/drawing/2014/main" id="{373FFC4E-CC0C-45E8-A9F4-D8CEEF6BB7C1}"/>
              </a:ext>
            </a:extLst>
          </p:cNvPr>
          <p:cNvSpPr>
            <a:spLocks noGrp="1"/>
          </p:cNvSpPr>
          <p:nvPr>
            <p:ph type="body" sz="quarter" idx="22" hasCustomPrompt="1"/>
          </p:nvPr>
        </p:nvSpPr>
        <p:spPr>
          <a:xfrm>
            <a:off x="6585794"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ixth chapter</a:t>
            </a:r>
            <a:endParaRPr lang="fr-FR" dirty="0"/>
          </a:p>
        </p:txBody>
      </p:sp>
      <p:sp>
        <p:nvSpPr>
          <p:cNvPr id="26" name="Espace réservé du texte 3">
            <a:extLst>
              <a:ext uri="{FF2B5EF4-FFF2-40B4-BE49-F238E27FC236}">
                <a16:creationId xmlns:a16="http://schemas.microsoft.com/office/drawing/2014/main" id="{1938E8D1-6787-407C-AAE7-4E4DFEEC3CAB}"/>
              </a:ext>
            </a:extLst>
          </p:cNvPr>
          <p:cNvSpPr>
            <a:spLocks noGrp="1"/>
          </p:cNvSpPr>
          <p:nvPr>
            <p:ph type="body" sz="quarter" idx="23" hasCustomPrompt="1"/>
          </p:nvPr>
        </p:nvSpPr>
        <p:spPr>
          <a:xfrm>
            <a:off x="5961901" y="2927083"/>
            <a:ext cx="593415" cy="689175"/>
          </a:xfrm>
        </p:spPr>
        <p:txBody>
          <a:bodyPr anchor="ctr" anchorCtr="0">
            <a:noAutofit/>
          </a:bodyPr>
          <a:lstStyle>
            <a:lvl1pPr algn="r">
              <a:defRPr sz="3600" b="1">
                <a:latin typeface="+mj-lt"/>
              </a:defRPr>
            </a:lvl1pPr>
          </a:lstStyle>
          <a:p>
            <a:pPr lvl="0"/>
            <a:r>
              <a:rPr lang="fr-FR" dirty="0"/>
              <a:t>7</a:t>
            </a:r>
            <a:endParaRPr lang="en-GB" dirty="0"/>
          </a:p>
        </p:txBody>
      </p:sp>
      <p:sp>
        <p:nvSpPr>
          <p:cNvPr id="27" name="Espace réservé du texte 7">
            <a:extLst>
              <a:ext uri="{FF2B5EF4-FFF2-40B4-BE49-F238E27FC236}">
                <a16:creationId xmlns:a16="http://schemas.microsoft.com/office/drawing/2014/main" id="{1357C87F-8625-4D55-BAE7-D6A9FDDD340D}"/>
              </a:ext>
            </a:extLst>
          </p:cNvPr>
          <p:cNvSpPr>
            <a:spLocks noGrp="1"/>
          </p:cNvSpPr>
          <p:nvPr>
            <p:ph type="body" sz="quarter" idx="24" hasCustomPrompt="1"/>
          </p:nvPr>
        </p:nvSpPr>
        <p:spPr>
          <a:xfrm>
            <a:off x="6585794"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venth chapter</a:t>
            </a:r>
            <a:endParaRPr lang="fr-FR" dirty="0"/>
          </a:p>
        </p:txBody>
      </p:sp>
      <p:sp>
        <p:nvSpPr>
          <p:cNvPr id="28" name="Espace réservé du texte 3">
            <a:extLst>
              <a:ext uri="{FF2B5EF4-FFF2-40B4-BE49-F238E27FC236}">
                <a16:creationId xmlns:a16="http://schemas.microsoft.com/office/drawing/2014/main" id="{D89999BC-251E-4F61-9201-37E475009391}"/>
              </a:ext>
            </a:extLst>
          </p:cNvPr>
          <p:cNvSpPr>
            <a:spLocks noGrp="1"/>
          </p:cNvSpPr>
          <p:nvPr>
            <p:ph type="body" sz="quarter" idx="25" hasCustomPrompt="1"/>
          </p:nvPr>
        </p:nvSpPr>
        <p:spPr>
          <a:xfrm>
            <a:off x="5961901" y="3837872"/>
            <a:ext cx="593415" cy="689175"/>
          </a:xfrm>
        </p:spPr>
        <p:txBody>
          <a:bodyPr anchor="ctr" anchorCtr="0">
            <a:noAutofit/>
          </a:bodyPr>
          <a:lstStyle>
            <a:lvl1pPr algn="r">
              <a:defRPr sz="3600" b="1">
                <a:latin typeface="+mj-lt"/>
              </a:defRPr>
            </a:lvl1pPr>
          </a:lstStyle>
          <a:p>
            <a:pPr lvl="0"/>
            <a:r>
              <a:rPr lang="fr-FR" dirty="0"/>
              <a:t>8</a:t>
            </a:r>
            <a:endParaRPr lang="en-GB" dirty="0"/>
          </a:p>
        </p:txBody>
      </p:sp>
      <p:sp>
        <p:nvSpPr>
          <p:cNvPr id="29" name="Espace réservé du texte 7">
            <a:extLst>
              <a:ext uri="{FF2B5EF4-FFF2-40B4-BE49-F238E27FC236}">
                <a16:creationId xmlns:a16="http://schemas.microsoft.com/office/drawing/2014/main" id="{8D124088-5A10-4B10-8C05-A7342239E11E}"/>
              </a:ext>
            </a:extLst>
          </p:cNvPr>
          <p:cNvSpPr>
            <a:spLocks noGrp="1"/>
          </p:cNvSpPr>
          <p:nvPr>
            <p:ph type="body" sz="quarter" idx="26" hasCustomPrompt="1"/>
          </p:nvPr>
        </p:nvSpPr>
        <p:spPr>
          <a:xfrm>
            <a:off x="6585794"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eighth chapter</a:t>
            </a:r>
          </a:p>
        </p:txBody>
      </p:sp>
      <p:sp>
        <p:nvSpPr>
          <p:cNvPr id="32"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7"/>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33" name="Picture 32"/>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9701985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ront page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2" name="Espace réservé pour une image  11">
            <a:extLst>
              <a:ext uri="{FF2B5EF4-FFF2-40B4-BE49-F238E27FC236}">
                <a16:creationId xmlns:a16="http://schemas.microsoft.com/office/drawing/2014/main" id="{8BF4F207-E709-42A4-9B4C-9D25C5BF97B5}"/>
              </a:ext>
            </a:extLst>
          </p:cNvPr>
          <p:cNvSpPr>
            <a:spLocks noGrp="1"/>
          </p:cNvSpPr>
          <p:nvPr>
            <p:ph type="pic" sz="quarter" idx="10"/>
          </p:nvPr>
        </p:nvSpPr>
        <p:spPr>
          <a:xfrm>
            <a:off x="5120640" y="2"/>
            <a:ext cx="3763616" cy="5143499"/>
          </a:xfrm>
          <a:custGeom>
            <a:avLst/>
            <a:gdLst>
              <a:gd name="connsiteX0" fmla="*/ 2013644 w 3763616"/>
              <a:gd name="connsiteY0" fmla="*/ 954192 h 5143499"/>
              <a:gd name="connsiteX1" fmla="*/ 3763616 w 3763616"/>
              <a:gd name="connsiteY1" fmla="*/ 954192 h 5143499"/>
              <a:gd name="connsiteX2" fmla="*/ 3763616 w 3763616"/>
              <a:gd name="connsiteY2" fmla="*/ 5143499 h 5143499"/>
              <a:gd name="connsiteX3" fmla="*/ 2013644 w 3763616"/>
              <a:gd name="connsiteY3" fmla="*/ 5143499 h 5143499"/>
              <a:gd name="connsiteX4" fmla="*/ 0 w 3763616"/>
              <a:gd name="connsiteY4" fmla="*/ 0 h 5143499"/>
              <a:gd name="connsiteX5" fmla="*/ 1749972 w 3763616"/>
              <a:gd name="connsiteY5" fmla="*/ 0 h 5143499"/>
              <a:gd name="connsiteX6" fmla="*/ 1749972 w 3763616"/>
              <a:gd name="connsiteY6" fmla="*/ 4067882 h 5143499"/>
              <a:gd name="connsiteX7" fmla="*/ 0 w 3763616"/>
              <a:gd name="connsiteY7" fmla="*/ 406788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3616" h="5143499">
                <a:moveTo>
                  <a:pt x="2013644" y="954192"/>
                </a:moveTo>
                <a:lnTo>
                  <a:pt x="3763616" y="954192"/>
                </a:lnTo>
                <a:lnTo>
                  <a:pt x="3763616" y="5143499"/>
                </a:lnTo>
                <a:lnTo>
                  <a:pt x="2013644" y="5143499"/>
                </a:lnTo>
                <a:close/>
                <a:moveTo>
                  <a:pt x="0" y="0"/>
                </a:moveTo>
                <a:lnTo>
                  <a:pt x="1749972" y="0"/>
                </a:lnTo>
                <a:lnTo>
                  <a:pt x="1749972" y="4067882"/>
                </a:lnTo>
                <a:lnTo>
                  <a:pt x="0" y="4067882"/>
                </a:lnTo>
                <a:close/>
              </a:path>
            </a:pathLst>
          </a:custGeom>
          <a:ln>
            <a:noFill/>
          </a:ln>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0"/>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sp>
        <p:nvSpPr>
          <p:cNvPr id="8" name="Espace réservé du texte 3">
            <a:extLst>
              <a:ext uri="{FF2B5EF4-FFF2-40B4-BE49-F238E27FC236}">
                <a16:creationId xmlns:a16="http://schemas.microsoft.com/office/drawing/2014/main" id="{382570B0-A940-4837-AF85-EB90947594C7}"/>
              </a:ext>
            </a:extLst>
          </p:cNvPr>
          <p:cNvSpPr>
            <a:spLocks noGrp="1"/>
          </p:cNvSpPr>
          <p:nvPr>
            <p:ph type="body" sz="quarter" idx="14" hasCustomPrompt="1"/>
          </p:nvPr>
        </p:nvSpPr>
        <p:spPr>
          <a:xfrm>
            <a:off x="335280" y="3157325"/>
            <a:ext cx="4785360" cy="462800"/>
          </a:xfrm>
          <a:solidFill>
            <a:schemeClr val="bg1"/>
          </a:solidFill>
        </p:spPr>
        <p:txBody>
          <a:bodyPr lIns="180000" rIns="180000">
            <a:normAutofit/>
          </a:bodyPr>
          <a:lstStyle>
            <a:lvl1pPr>
              <a:lnSpc>
                <a:spcPct val="100000"/>
              </a:lnSpc>
              <a:defRPr sz="1400">
                <a:solidFill>
                  <a:schemeClr val="accent3"/>
                </a:solidFill>
                <a:latin typeface="+mn-lt"/>
              </a:defRPr>
            </a:lvl1pPr>
            <a:lvl2pPr>
              <a:defRPr sz="1200"/>
            </a:lvl2pPr>
            <a:lvl3pPr>
              <a:defRPr sz="1200"/>
            </a:lvl3pPr>
            <a:lvl4pPr>
              <a:defRPr sz="1200"/>
            </a:lvl4pPr>
            <a:lvl5pPr>
              <a:defRPr sz="1200"/>
            </a:lvl5pPr>
          </a:lstStyle>
          <a:p>
            <a:pPr lvl="0"/>
            <a:r>
              <a:rPr lang="en-US" dirty="0"/>
              <a:t>Enter the subtitle of your presentation</a:t>
            </a:r>
          </a:p>
        </p:txBody>
      </p:sp>
      <p:pic>
        <p:nvPicPr>
          <p:cNvPr id="10"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11175287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3" name="Rectangle 2"/>
          <p:cNvSpPr/>
          <p:nvPr userDrawn="1"/>
        </p:nvSpPr>
        <p:spPr>
          <a:xfrm>
            <a:off x="252001" y="1"/>
            <a:ext cx="4584159" cy="5143499"/>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724722"/>
            <a:ext cx="3483710" cy="1694054"/>
          </a:xfrm>
        </p:spPr>
        <p:txBody>
          <a:bodyPr anchor="ctr"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5" name="Picture 14"/>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02117195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724722"/>
            <a:ext cx="3483710" cy="1694054"/>
          </a:xfrm>
        </p:spPr>
        <p:txBody>
          <a:bodyPr anchor="ctr"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6" name="Espace réservé pour une image  15">
            <a:extLst>
              <a:ext uri="{FF2B5EF4-FFF2-40B4-BE49-F238E27FC236}">
                <a16:creationId xmlns:a16="http://schemas.microsoft.com/office/drawing/2014/main" id="{D287F594-9B00-4191-9FE6-F8D67CE6B450}"/>
              </a:ext>
            </a:extLst>
          </p:cNvPr>
          <p:cNvSpPr>
            <a:spLocks noGrp="1"/>
          </p:cNvSpPr>
          <p:nvPr>
            <p:ph type="pic" sz="quarter" idx="15"/>
          </p:nvPr>
        </p:nvSpPr>
        <p:spPr>
          <a:xfrm>
            <a:off x="252001" y="1"/>
            <a:ext cx="4584159" cy="5143499"/>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dirty="0"/>
          </a:p>
        </p:txBody>
      </p:sp>
      <p:sp>
        <p:nvSpPr>
          <p:cNvPr id="1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9" name="Picture 18"/>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65301128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4" name="Rectangle 13"/>
          <p:cNvSpPr/>
          <p:nvPr userDrawn="1"/>
        </p:nvSpPr>
        <p:spPr>
          <a:xfrm>
            <a:off x="249380" y="2"/>
            <a:ext cx="4584159" cy="5143499"/>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104902"/>
            <a:ext cx="3483710" cy="1466849"/>
          </a:xfrm>
        </p:spPr>
        <p:txBody>
          <a:bodyPr anchor="b"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95ECD6B1-18BC-49BD-AB68-B94FB9080627}"/>
              </a:ext>
            </a:extLst>
          </p:cNvPr>
          <p:cNvSpPr>
            <a:spLocks noGrp="1"/>
          </p:cNvSpPr>
          <p:nvPr>
            <p:ph type="body" sz="quarter" idx="14" hasCustomPrompt="1"/>
          </p:nvPr>
        </p:nvSpPr>
        <p:spPr>
          <a:xfrm>
            <a:off x="5181601" y="2646547"/>
            <a:ext cx="3482975" cy="1466849"/>
          </a:xfrm>
        </p:spPr>
        <p:txBody>
          <a:bodyPr/>
          <a:lstStyle>
            <a:lvl1pPr>
              <a:lnSpc>
                <a:spcPct val="100000"/>
              </a:lnSpc>
              <a:defRPr sz="1200">
                <a:solidFill>
                  <a:schemeClr val="accent3"/>
                </a:solidFill>
                <a:latin typeface="+mn-lt"/>
              </a:defRPr>
            </a:lvl1pPr>
            <a:lvl2pPr>
              <a:defRPr sz="1200"/>
            </a:lvl2pPr>
            <a:lvl3pPr>
              <a:defRPr sz="1200"/>
            </a:lvl3pPr>
            <a:lvl4pPr>
              <a:defRPr sz="1200"/>
            </a:lvl4pPr>
            <a:lvl5pPr>
              <a:defRPr sz="1200"/>
            </a:lvl5pPr>
          </a:lstStyle>
          <a:p>
            <a:pPr lvl="0"/>
            <a:r>
              <a:rPr lang="en-US" dirty="0"/>
              <a:t>Enter the descriptive text of this chapter in a few lines.</a:t>
            </a:r>
          </a:p>
        </p:txBody>
      </p:sp>
      <p:pic>
        <p:nvPicPr>
          <p:cNvPr id="10" name="Image 9">
            <a:extLst>
              <a:ext uri="{FF2B5EF4-FFF2-40B4-BE49-F238E27FC236}">
                <a16:creationId xmlns:a16="http://schemas.microsoft.com/office/drawing/2014/main" id="{96EF3A9A-11C3-4EF9-A56A-24CF7C103A6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280931" y="4666659"/>
            <a:ext cx="738761" cy="382981"/>
          </a:xfrm>
          <a:prstGeom prst="rect">
            <a:avLst/>
          </a:prstGeom>
        </p:spPr>
      </p:pic>
      <p:sp>
        <p:nvSpPr>
          <p:cNvPr id="15" name="TextBox 14"/>
          <p:cNvSpPr txBox="1"/>
          <p:nvPr userDrawn="1"/>
        </p:nvSpPr>
        <p:spPr>
          <a:xfrm>
            <a:off x="1" y="4622110"/>
            <a:ext cx="876299" cy="523220"/>
          </a:xfrm>
          <a:prstGeom prst="rect">
            <a:avLst/>
          </a:prstGeom>
          <a:solidFill>
            <a:schemeClr val="bg1"/>
          </a:solidFill>
        </p:spPr>
        <p:txBody>
          <a:bodyPr wrap="square" rtlCol="0">
            <a:spAutoFit/>
          </a:bodyPr>
          <a:lstStyle/>
          <a:p>
            <a:endParaRPr lang="fr-FR" sz="1000" dirty="0"/>
          </a:p>
          <a:p>
            <a:endParaRPr lang="fr-FR" sz="1800" dirty="0"/>
          </a:p>
        </p:txBody>
      </p:sp>
      <p:sp>
        <p:nvSpPr>
          <p:cNvPr id="16" name="TextBox 15"/>
          <p:cNvSpPr txBox="1"/>
          <p:nvPr userDrawn="1"/>
        </p:nvSpPr>
        <p:spPr>
          <a:xfrm>
            <a:off x="876300" y="4612585"/>
            <a:ext cx="6982582"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21" name="Picture 20"/>
          <p:cNvPicPr>
            <a:picLocks noChangeAspect="1"/>
          </p:cNvPicPr>
          <p:nvPr userDrawn="1"/>
        </p:nvPicPr>
        <p:blipFill>
          <a:blip r:embed="rId4"/>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71959069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7695"/>
            <a:ext cx="9132811" cy="5158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104902"/>
            <a:ext cx="3483710" cy="1466849"/>
          </a:xfrm>
        </p:spPr>
        <p:txBody>
          <a:bodyPr anchor="b"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95ECD6B1-18BC-49BD-AB68-B94FB9080627}"/>
              </a:ext>
            </a:extLst>
          </p:cNvPr>
          <p:cNvSpPr>
            <a:spLocks noGrp="1"/>
          </p:cNvSpPr>
          <p:nvPr>
            <p:ph type="body" sz="quarter" idx="14" hasCustomPrompt="1"/>
          </p:nvPr>
        </p:nvSpPr>
        <p:spPr>
          <a:xfrm>
            <a:off x="5181601" y="2646547"/>
            <a:ext cx="3482975" cy="1466849"/>
          </a:xfrm>
        </p:spPr>
        <p:txBody>
          <a:bodyPr/>
          <a:lstStyle>
            <a:lvl1pPr>
              <a:lnSpc>
                <a:spcPct val="100000"/>
              </a:lnSpc>
              <a:defRPr sz="1200">
                <a:solidFill>
                  <a:schemeClr val="accent3"/>
                </a:solidFill>
                <a:latin typeface="+mn-lt"/>
              </a:defRPr>
            </a:lvl1pPr>
            <a:lvl2pPr>
              <a:defRPr sz="1200"/>
            </a:lvl2pPr>
            <a:lvl3pPr>
              <a:defRPr sz="1200"/>
            </a:lvl3pPr>
            <a:lvl4pPr>
              <a:defRPr sz="1200"/>
            </a:lvl4pPr>
            <a:lvl5pPr>
              <a:defRPr sz="1200"/>
            </a:lvl5pPr>
          </a:lstStyle>
          <a:p>
            <a:pPr lvl="0"/>
            <a:r>
              <a:rPr lang="en-US" dirty="0"/>
              <a:t>Enter the descriptive text of this chapter in a few lines.</a:t>
            </a:r>
          </a:p>
        </p:txBody>
      </p:sp>
      <p:pic>
        <p:nvPicPr>
          <p:cNvPr id="10" name="Image 9">
            <a:extLst>
              <a:ext uri="{FF2B5EF4-FFF2-40B4-BE49-F238E27FC236}">
                <a16:creationId xmlns:a16="http://schemas.microsoft.com/office/drawing/2014/main" id="{96EF3A9A-11C3-4EF9-A56A-24CF7C103A6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280931" y="4666659"/>
            <a:ext cx="738761" cy="382981"/>
          </a:xfrm>
          <a:prstGeom prst="rect">
            <a:avLst/>
          </a:prstGeom>
        </p:spPr>
      </p:pic>
      <p:sp>
        <p:nvSpPr>
          <p:cNvPr id="12" name="Espace réservé pour une image  15">
            <a:extLst>
              <a:ext uri="{FF2B5EF4-FFF2-40B4-BE49-F238E27FC236}">
                <a16:creationId xmlns:a16="http://schemas.microsoft.com/office/drawing/2014/main" id="{77B9D155-BEF3-4A83-9AB0-980096AABFEC}"/>
              </a:ext>
            </a:extLst>
          </p:cNvPr>
          <p:cNvSpPr>
            <a:spLocks noGrp="1"/>
          </p:cNvSpPr>
          <p:nvPr>
            <p:ph type="pic" sz="quarter" idx="15"/>
          </p:nvPr>
        </p:nvSpPr>
        <p:spPr>
          <a:xfrm>
            <a:off x="252001" y="1"/>
            <a:ext cx="4584159" cy="5143499"/>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dirty="0"/>
          </a:p>
        </p:txBody>
      </p:sp>
      <p:sp>
        <p:nvSpPr>
          <p:cNvPr id="15" name="TextBox 14"/>
          <p:cNvSpPr txBox="1"/>
          <p:nvPr userDrawn="1"/>
        </p:nvSpPr>
        <p:spPr>
          <a:xfrm>
            <a:off x="1" y="4622110"/>
            <a:ext cx="876299" cy="523220"/>
          </a:xfrm>
          <a:prstGeom prst="rect">
            <a:avLst/>
          </a:prstGeom>
          <a:solidFill>
            <a:schemeClr val="bg1"/>
          </a:solidFill>
        </p:spPr>
        <p:txBody>
          <a:bodyPr wrap="square" rtlCol="0">
            <a:spAutoFit/>
          </a:bodyPr>
          <a:lstStyle/>
          <a:p>
            <a:endParaRPr lang="fr-FR" sz="1000" dirty="0"/>
          </a:p>
          <a:p>
            <a:endParaRPr lang="fr-FR" sz="1800" dirty="0"/>
          </a:p>
        </p:txBody>
      </p:sp>
      <p:sp>
        <p:nvSpPr>
          <p:cNvPr id="16" name="TextBox 15"/>
          <p:cNvSpPr txBox="1"/>
          <p:nvPr userDrawn="1"/>
        </p:nvSpPr>
        <p:spPr>
          <a:xfrm>
            <a:off x="876300" y="4612585"/>
            <a:ext cx="6982582"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9"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20" name="Picture 19"/>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9170945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7997742" cy="3240000"/>
          </a:xfrm>
        </p:spPr>
        <p:txBody>
          <a:bodyPr>
            <a:noAutofit/>
          </a:bodyPr>
          <a:lstStyle>
            <a:lvl1pPr>
              <a:defRPr lang="en-US" b="0" i="0" smtClean="0">
                <a:effectLs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8" name="TextBox 7"/>
          <p:cNvSpPr txBox="1"/>
          <p:nvPr userDrawn="1"/>
        </p:nvSpPr>
        <p:spPr>
          <a:xfrm>
            <a:off x="0" y="4622110"/>
            <a:ext cx="876300" cy="523220"/>
          </a:xfrm>
          <a:prstGeom prst="rect">
            <a:avLst/>
          </a:prstGeom>
          <a:solidFill>
            <a:schemeClr val="bg1"/>
          </a:solidFill>
        </p:spPr>
        <p:txBody>
          <a:bodyPr wrap="square" rtlCol="0">
            <a:spAutoFit/>
          </a:bodyPr>
          <a:lstStyle/>
          <a:p>
            <a:endParaRPr lang="fr-FR" sz="1000" dirty="0"/>
          </a:p>
          <a:p>
            <a:endParaRPr lang="fr-FR" sz="1800" dirty="0"/>
          </a:p>
        </p:txBody>
      </p:sp>
      <p:sp>
        <p:nvSpPr>
          <p:cNvPr id="9" name="TextBox 8"/>
          <p:cNvSpPr txBox="1"/>
          <p:nvPr userDrawn="1"/>
        </p:nvSpPr>
        <p:spPr>
          <a:xfrm>
            <a:off x="876300" y="4612585"/>
            <a:ext cx="7012328"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1"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2" name="Picture 11"/>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6151279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7"/>
            <a:ext cx="7997742" cy="424732"/>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7997742"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du texte 8">
            <a:extLst>
              <a:ext uri="{FF2B5EF4-FFF2-40B4-BE49-F238E27FC236}">
                <a16:creationId xmlns:a16="http://schemas.microsoft.com/office/drawing/2014/main" id="{50EF4B05-A641-4213-BED2-B2F8243CFA25}"/>
              </a:ext>
            </a:extLst>
          </p:cNvPr>
          <p:cNvSpPr>
            <a:spLocks noGrp="1"/>
          </p:cNvSpPr>
          <p:nvPr>
            <p:ph type="body" sz="quarter" idx="13"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0" name="TextBox 9"/>
          <p:cNvSpPr txBox="1"/>
          <p:nvPr userDrawn="1"/>
        </p:nvSpPr>
        <p:spPr>
          <a:xfrm>
            <a:off x="60961" y="4612585"/>
            <a:ext cx="815339" cy="523220"/>
          </a:xfrm>
          <a:prstGeom prst="rect">
            <a:avLst/>
          </a:prstGeom>
          <a:solidFill>
            <a:schemeClr val="bg1"/>
          </a:solidFill>
        </p:spPr>
        <p:txBody>
          <a:bodyPr wrap="square" rtlCol="0">
            <a:spAutoFit/>
          </a:bodyPr>
          <a:lstStyle/>
          <a:p>
            <a:endParaRPr lang="fr-FR" sz="1000" dirty="0"/>
          </a:p>
          <a:p>
            <a:endParaRPr lang="fr-FR" sz="1800" dirty="0"/>
          </a:p>
        </p:txBody>
      </p:sp>
      <p:sp>
        <p:nvSpPr>
          <p:cNvPr id="16"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7" name="Picture 16"/>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9174382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_3">
    <p:spTree>
      <p:nvGrpSpPr>
        <p:cNvPr id="1" name=""/>
        <p:cNvGrpSpPr/>
        <p:nvPr/>
      </p:nvGrpSpPr>
      <p:grpSpPr>
        <a:xfrm>
          <a:off x="0" y="0"/>
          <a:ext cx="0" cy="0"/>
          <a:chOff x="0" y="0"/>
          <a:chExt cx="0" cy="0"/>
        </a:xfrm>
      </p:grpSpPr>
      <p:sp>
        <p:nvSpPr>
          <p:cNvPr id="7" name="Rectangle 6"/>
          <p:cNvSpPr/>
          <p:nvPr userDrawn="1"/>
        </p:nvSpPr>
        <p:spPr>
          <a:xfrm>
            <a:off x="5985791" y="0"/>
            <a:ext cx="2621973" cy="51435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824594"/>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37707962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824594"/>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pour une image  8">
            <a:extLst>
              <a:ext uri="{FF2B5EF4-FFF2-40B4-BE49-F238E27FC236}">
                <a16:creationId xmlns:a16="http://schemas.microsoft.com/office/drawing/2014/main" id="{175D6BA6-64F5-4D9C-84B9-AF8F4AAB8735}"/>
              </a:ext>
            </a:extLst>
          </p:cNvPr>
          <p:cNvSpPr>
            <a:spLocks noGrp="1"/>
          </p:cNvSpPr>
          <p:nvPr>
            <p:ph type="pic" sz="quarter" idx="13"/>
          </p:nvPr>
        </p:nvSpPr>
        <p:spPr>
          <a:xfrm>
            <a:off x="5992143" y="7693"/>
            <a:ext cx="2520950" cy="5143500"/>
          </a:xfrm>
        </p:spPr>
        <p:txBody>
          <a:bodyPr/>
          <a:lstStyle>
            <a:lvl1pPr>
              <a:defRPr b="1">
                <a:solidFill>
                  <a:schemeClr val="bg2"/>
                </a:solidFill>
              </a:defRPr>
            </a:lvl1pPr>
          </a:lstStyle>
          <a:p>
            <a:endParaRPr lang="en-GB" dirty="0"/>
          </a:p>
        </p:txBody>
      </p:sp>
      <p:sp>
        <p:nvSpPr>
          <p:cNvPr id="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26706887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_5">
    <p:spTree>
      <p:nvGrpSpPr>
        <p:cNvPr id="1" name=""/>
        <p:cNvGrpSpPr/>
        <p:nvPr/>
      </p:nvGrpSpPr>
      <p:grpSpPr>
        <a:xfrm>
          <a:off x="0" y="0"/>
          <a:ext cx="0" cy="0"/>
          <a:chOff x="0" y="0"/>
          <a:chExt cx="0" cy="0"/>
        </a:xfrm>
      </p:grpSpPr>
      <p:sp>
        <p:nvSpPr>
          <p:cNvPr id="10" name="Rectangle 9"/>
          <p:cNvSpPr/>
          <p:nvPr userDrawn="1"/>
        </p:nvSpPr>
        <p:spPr>
          <a:xfrm>
            <a:off x="5985791" y="0"/>
            <a:ext cx="2621973" cy="51435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7"/>
            <a:ext cx="5202000" cy="424733"/>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spcBef>
                <a:spcPts val="500"/>
              </a:spcBef>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6" name="Espace réservé du numéro de diapositive 5">
            <a:extLst>
              <a:ext uri="{FF2B5EF4-FFF2-40B4-BE49-F238E27FC236}">
                <a16:creationId xmlns:a16="http://schemas.microsoft.com/office/drawing/2014/main" id="{4708F2AE-7607-473E-97E5-003C4759704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a:p>
        </p:txBody>
      </p:sp>
      <p:sp>
        <p:nvSpPr>
          <p:cNvPr id="8" name="Espace réservé du texte 8">
            <a:extLst>
              <a:ext uri="{FF2B5EF4-FFF2-40B4-BE49-F238E27FC236}">
                <a16:creationId xmlns:a16="http://schemas.microsoft.com/office/drawing/2014/main" id="{BA2C6807-1B7A-4C3F-85F1-E39AC857CAB7}"/>
              </a:ext>
            </a:extLst>
          </p:cNvPr>
          <p:cNvSpPr>
            <a:spLocks noGrp="1"/>
          </p:cNvSpPr>
          <p:nvPr>
            <p:ph type="body" sz="quarter" idx="14" hasCustomPrompt="1"/>
          </p:nvPr>
        </p:nvSpPr>
        <p:spPr>
          <a:xfrm>
            <a:off x="517608" y="523146"/>
            <a:ext cx="5202000"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Tree>
    <p:extLst>
      <p:ext uri="{BB962C8B-B14F-4D97-AF65-F5344CB8AC3E}">
        <p14:creationId xmlns:p14="http://schemas.microsoft.com/office/powerpoint/2010/main" val="980486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_6">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7"/>
            <a:ext cx="5202000" cy="424733"/>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spcBef>
                <a:spcPts val="500"/>
              </a:spcBef>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pour une image  8">
            <a:extLst>
              <a:ext uri="{FF2B5EF4-FFF2-40B4-BE49-F238E27FC236}">
                <a16:creationId xmlns:a16="http://schemas.microsoft.com/office/drawing/2014/main" id="{175D6BA6-64F5-4D9C-84B9-AF8F4AAB8735}"/>
              </a:ext>
            </a:extLst>
          </p:cNvPr>
          <p:cNvSpPr>
            <a:spLocks noGrp="1"/>
          </p:cNvSpPr>
          <p:nvPr>
            <p:ph type="pic" sz="quarter" idx="13"/>
          </p:nvPr>
        </p:nvSpPr>
        <p:spPr>
          <a:xfrm>
            <a:off x="5985793" y="0"/>
            <a:ext cx="2520950" cy="5143500"/>
          </a:xfrm>
        </p:spPr>
        <p:txBody>
          <a:bodyPr/>
          <a:lstStyle>
            <a:lvl1pPr>
              <a:defRPr b="1">
                <a:solidFill>
                  <a:schemeClr val="bg2"/>
                </a:solidFill>
              </a:defRPr>
            </a:lvl1pPr>
          </a:lstStyle>
          <a:p>
            <a:endParaRPr lang="en-GB" dirty="0"/>
          </a:p>
        </p:txBody>
      </p:sp>
      <p:sp>
        <p:nvSpPr>
          <p:cNvPr id="8" name="Espace réservé du texte 8">
            <a:extLst>
              <a:ext uri="{FF2B5EF4-FFF2-40B4-BE49-F238E27FC236}">
                <a16:creationId xmlns:a16="http://schemas.microsoft.com/office/drawing/2014/main" id="{BA2C6807-1B7A-4C3F-85F1-E39AC857CAB7}"/>
              </a:ext>
            </a:extLst>
          </p:cNvPr>
          <p:cNvSpPr>
            <a:spLocks noGrp="1"/>
          </p:cNvSpPr>
          <p:nvPr>
            <p:ph type="body" sz="quarter" idx="14" hasCustomPrompt="1"/>
          </p:nvPr>
        </p:nvSpPr>
        <p:spPr>
          <a:xfrm>
            <a:off x="517608" y="523146"/>
            <a:ext cx="5202000"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200052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 name="Rectangle 1"/>
          <p:cNvSpPr/>
          <p:nvPr userDrawn="1"/>
        </p:nvSpPr>
        <p:spPr>
          <a:xfrm>
            <a:off x="133744" y="0"/>
            <a:ext cx="1749972" cy="4067884"/>
          </a:xfrm>
          <a:prstGeom prst="rect">
            <a:avLst/>
          </a:prstGeom>
          <a:blipFill dpi="0" rotWithShape="1">
            <a:blip r:embed="rId2"/>
            <a:srcRect/>
            <a:tile tx="-1524000" ty="-1016000" sx="100000" sy="100000" flip="y"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4"/>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1"/>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07303" y="1104901"/>
            <a:ext cx="653672" cy="689175"/>
          </a:xfrm>
        </p:spPr>
        <p:txBody>
          <a:bodyPr anchor="ctr" anchorCtr="0">
            <a:noAutofit/>
          </a:bodyPr>
          <a:lstStyle>
            <a:lvl1pPr algn="r">
              <a:defRPr sz="44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322638" y="1104900"/>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07303" y="2016092"/>
            <a:ext cx="653672" cy="689175"/>
          </a:xfrm>
        </p:spPr>
        <p:txBody>
          <a:bodyPr anchor="ctr" anchorCtr="0">
            <a:noAutofit/>
          </a:bodyPr>
          <a:lstStyle>
            <a:lvl1pPr algn="r">
              <a:defRPr sz="44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322638" y="201609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07303" y="2927082"/>
            <a:ext cx="653672" cy="689175"/>
          </a:xfrm>
        </p:spPr>
        <p:txBody>
          <a:bodyPr anchor="ctr" anchorCtr="0">
            <a:noAutofit/>
          </a:bodyPr>
          <a:lstStyle>
            <a:lvl1pPr algn="r">
              <a:defRPr sz="44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322638" y="292708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07303" y="3837871"/>
            <a:ext cx="653672" cy="689175"/>
          </a:xfrm>
        </p:spPr>
        <p:txBody>
          <a:bodyPr anchor="ctr" anchorCtr="0">
            <a:noAutofit/>
          </a:bodyPr>
          <a:lstStyle>
            <a:lvl1pPr algn="r">
              <a:defRPr sz="44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322638" y="3837870"/>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25"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19" name="Picture 18"/>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2903486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8" name="TextBox 7"/>
          <p:cNvSpPr txBox="1"/>
          <p:nvPr userDrawn="1"/>
        </p:nvSpPr>
        <p:spPr>
          <a:xfrm>
            <a:off x="60961" y="4620278"/>
            <a:ext cx="815339" cy="523220"/>
          </a:xfrm>
          <a:prstGeom prst="rect">
            <a:avLst/>
          </a:prstGeom>
          <a:solidFill>
            <a:schemeClr val="bg1"/>
          </a:solidFill>
        </p:spPr>
        <p:txBody>
          <a:bodyPr wrap="square" rtlCol="0">
            <a:spAutoFit/>
          </a:bodyPr>
          <a:lstStyle/>
          <a:p>
            <a:endParaRPr lang="fr-FR" sz="1000" dirty="0"/>
          </a:p>
          <a:p>
            <a:endParaRPr lang="fr-FR" sz="1800" dirty="0"/>
          </a:p>
        </p:txBody>
      </p:sp>
      <p:sp>
        <p:nvSpPr>
          <p:cNvPr id="9" name="TextBox 8"/>
          <p:cNvSpPr txBox="1"/>
          <p:nvPr userDrawn="1"/>
        </p:nvSpPr>
        <p:spPr>
          <a:xfrm>
            <a:off x="876300" y="4612585"/>
            <a:ext cx="7012328"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1" name="Picture 10"/>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3270550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_7">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09"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2" name="Espace réservé du texte 10">
            <a:extLst>
              <a:ext uri="{FF2B5EF4-FFF2-40B4-BE49-F238E27FC236}">
                <a16:creationId xmlns:a16="http://schemas.microsoft.com/office/drawing/2014/main" id="{3F288438-6568-4129-AFEC-A45C6AF8B116}"/>
              </a:ext>
            </a:extLst>
          </p:cNvPr>
          <p:cNvSpPr>
            <a:spLocks noGrp="1"/>
          </p:cNvSpPr>
          <p:nvPr>
            <p:ph type="body" sz="quarter" idx="17" hasCustomPrompt="1"/>
          </p:nvPr>
        </p:nvSpPr>
        <p:spPr>
          <a:xfrm>
            <a:off x="3332045"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10">
            <a:extLst>
              <a:ext uri="{FF2B5EF4-FFF2-40B4-BE49-F238E27FC236}">
                <a16:creationId xmlns:a16="http://schemas.microsoft.com/office/drawing/2014/main" id="{6E7B0411-6395-42FD-95F1-E02232864B3D}"/>
              </a:ext>
            </a:extLst>
          </p:cNvPr>
          <p:cNvSpPr>
            <a:spLocks noGrp="1"/>
          </p:cNvSpPr>
          <p:nvPr>
            <p:ph type="body" sz="quarter" idx="18" hasCustomPrompt="1"/>
          </p:nvPr>
        </p:nvSpPr>
        <p:spPr>
          <a:xfrm>
            <a:off x="6146482"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pour une image  9"/>
          <p:cNvSpPr>
            <a:spLocks noGrp="1"/>
          </p:cNvSpPr>
          <p:nvPr>
            <p:ph type="pic" sz="quarter" idx="19"/>
          </p:nvPr>
        </p:nvSpPr>
        <p:spPr>
          <a:xfrm>
            <a:off x="517609" y="1416238"/>
            <a:ext cx="654050" cy="631825"/>
          </a:xfrm>
        </p:spPr>
        <p:txBody>
          <a:bodyPr/>
          <a:lstStyle>
            <a:lvl1pPr>
              <a:defRPr b="1">
                <a:solidFill>
                  <a:schemeClr val="bg2"/>
                </a:solidFill>
              </a:defRPr>
            </a:lvl1pPr>
          </a:lstStyle>
          <a:p>
            <a:endParaRPr lang="fr-FR" dirty="0"/>
          </a:p>
        </p:txBody>
      </p:sp>
      <p:sp>
        <p:nvSpPr>
          <p:cNvPr id="14" name="Espace réservé pour une image  9"/>
          <p:cNvSpPr>
            <a:spLocks noGrp="1"/>
          </p:cNvSpPr>
          <p:nvPr>
            <p:ph type="pic" sz="quarter" idx="20"/>
          </p:nvPr>
        </p:nvSpPr>
        <p:spPr>
          <a:xfrm>
            <a:off x="3332044" y="1410075"/>
            <a:ext cx="654050" cy="631825"/>
          </a:xfrm>
        </p:spPr>
        <p:txBody>
          <a:bodyPr/>
          <a:lstStyle>
            <a:lvl1pPr>
              <a:defRPr b="1">
                <a:solidFill>
                  <a:schemeClr val="bg2"/>
                </a:solidFill>
              </a:defRPr>
            </a:lvl1pPr>
          </a:lstStyle>
          <a:p>
            <a:endParaRPr lang="fr-FR" dirty="0"/>
          </a:p>
        </p:txBody>
      </p:sp>
      <p:sp>
        <p:nvSpPr>
          <p:cNvPr id="15" name="Espace réservé pour une image  9"/>
          <p:cNvSpPr>
            <a:spLocks noGrp="1"/>
          </p:cNvSpPr>
          <p:nvPr>
            <p:ph type="pic" sz="quarter" idx="21"/>
          </p:nvPr>
        </p:nvSpPr>
        <p:spPr>
          <a:xfrm>
            <a:off x="6146481" y="1405005"/>
            <a:ext cx="654050" cy="631825"/>
          </a:xfrm>
        </p:spPr>
        <p:txBody>
          <a:bodyPr/>
          <a:lstStyle>
            <a:lvl1pPr>
              <a:defRPr b="1">
                <a:solidFill>
                  <a:schemeClr val="bg2"/>
                </a:solidFill>
              </a:defRPr>
            </a:lvl1pPr>
          </a:lstStyle>
          <a:p>
            <a:endParaRPr lang="fr-FR" dirty="0"/>
          </a:p>
        </p:txBody>
      </p:sp>
      <p:sp>
        <p:nvSpPr>
          <p:cNvPr id="16"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2"/>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5799723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_8">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73627"/>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4" name="Espace réservé du texte 8">
            <a:extLst>
              <a:ext uri="{FF2B5EF4-FFF2-40B4-BE49-F238E27FC236}">
                <a16:creationId xmlns:a16="http://schemas.microsoft.com/office/drawing/2014/main" id="{18A0D1FC-C71E-45A6-9B74-BD3AE833B0BB}"/>
              </a:ext>
            </a:extLst>
          </p:cNvPr>
          <p:cNvSpPr>
            <a:spLocks noGrp="1"/>
          </p:cNvSpPr>
          <p:nvPr>
            <p:ph type="body" sz="quarter" idx="19"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21" name="Espace réservé du texte 10">
            <a:extLst>
              <a:ext uri="{FF2B5EF4-FFF2-40B4-BE49-F238E27FC236}">
                <a16:creationId xmlns:a16="http://schemas.microsoft.com/office/drawing/2014/main" id="{09E85E61-A3D4-4628-A6F0-EC9023CAFCF5}"/>
              </a:ext>
            </a:extLst>
          </p:cNvPr>
          <p:cNvSpPr>
            <a:spLocks noGrp="1"/>
          </p:cNvSpPr>
          <p:nvPr>
            <p:ph type="body" sz="quarter" idx="16" hasCustomPrompt="1"/>
          </p:nvPr>
        </p:nvSpPr>
        <p:spPr>
          <a:xfrm>
            <a:off x="517609"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2" name="Espace réservé du texte 10">
            <a:extLst>
              <a:ext uri="{FF2B5EF4-FFF2-40B4-BE49-F238E27FC236}">
                <a16:creationId xmlns:a16="http://schemas.microsoft.com/office/drawing/2014/main" id="{5C1EBBD4-A615-4893-9F04-99AE2CBB30EC}"/>
              </a:ext>
            </a:extLst>
          </p:cNvPr>
          <p:cNvSpPr>
            <a:spLocks noGrp="1"/>
          </p:cNvSpPr>
          <p:nvPr>
            <p:ph type="body" sz="quarter" idx="17" hasCustomPrompt="1"/>
          </p:nvPr>
        </p:nvSpPr>
        <p:spPr>
          <a:xfrm>
            <a:off x="3332045"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10">
            <a:extLst>
              <a:ext uri="{FF2B5EF4-FFF2-40B4-BE49-F238E27FC236}">
                <a16:creationId xmlns:a16="http://schemas.microsoft.com/office/drawing/2014/main" id="{124CD343-3513-4F06-BFC3-7441F2D45867}"/>
              </a:ext>
            </a:extLst>
          </p:cNvPr>
          <p:cNvSpPr>
            <a:spLocks noGrp="1"/>
          </p:cNvSpPr>
          <p:nvPr>
            <p:ph type="body" sz="quarter" idx="18" hasCustomPrompt="1"/>
          </p:nvPr>
        </p:nvSpPr>
        <p:spPr>
          <a:xfrm>
            <a:off x="6146482"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pour une image  9"/>
          <p:cNvSpPr>
            <a:spLocks noGrp="1"/>
          </p:cNvSpPr>
          <p:nvPr>
            <p:ph type="pic" sz="quarter" idx="20" hasCustomPrompt="1"/>
          </p:nvPr>
        </p:nvSpPr>
        <p:spPr>
          <a:xfrm>
            <a:off x="517609" y="1432561"/>
            <a:ext cx="654050" cy="631825"/>
          </a:xfrm>
        </p:spPr>
        <p:txBody>
          <a:bodyPr/>
          <a:lstStyle>
            <a:lvl1pPr>
              <a:defRPr b="1">
                <a:solidFill>
                  <a:schemeClr val="bg2"/>
                </a:solidFill>
              </a:defRPr>
            </a:lvl1pPr>
          </a:lstStyle>
          <a:p>
            <a:r>
              <a:rPr lang="fr-FR" dirty="0" err="1"/>
              <a:t>Picto</a:t>
            </a:r>
            <a:endParaRPr lang="fr-FR" dirty="0"/>
          </a:p>
        </p:txBody>
      </p:sp>
      <p:sp>
        <p:nvSpPr>
          <p:cNvPr id="15" name="Espace réservé pour une image  9"/>
          <p:cNvSpPr>
            <a:spLocks noGrp="1"/>
          </p:cNvSpPr>
          <p:nvPr>
            <p:ph type="pic" sz="quarter" idx="21" hasCustomPrompt="1"/>
          </p:nvPr>
        </p:nvSpPr>
        <p:spPr>
          <a:xfrm>
            <a:off x="3332044" y="1432561"/>
            <a:ext cx="654050" cy="631825"/>
          </a:xfrm>
        </p:spPr>
        <p:txBody>
          <a:bodyPr/>
          <a:lstStyle>
            <a:lvl1pPr>
              <a:defRPr b="1">
                <a:solidFill>
                  <a:schemeClr val="bg2"/>
                </a:solidFill>
              </a:defRPr>
            </a:lvl1pPr>
          </a:lstStyle>
          <a:p>
            <a:r>
              <a:rPr lang="fr-FR" dirty="0" err="1"/>
              <a:t>Picto</a:t>
            </a:r>
            <a:endParaRPr lang="fr-FR" dirty="0"/>
          </a:p>
        </p:txBody>
      </p:sp>
      <p:sp>
        <p:nvSpPr>
          <p:cNvPr id="16" name="Espace réservé pour une image  9"/>
          <p:cNvSpPr>
            <a:spLocks noGrp="1"/>
          </p:cNvSpPr>
          <p:nvPr>
            <p:ph type="pic" sz="quarter" idx="22" hasCustomPrompt="1"/>
          </p:nvPr>
        </p:nvSpPr>
        <p:spPr>
          <a:xfrm>
            <a:off x="6140692" y="1432560"/>
            <a:ext cx="654050" cy="631825"/>
          </a:xfrm>
        </p:spPr>
        <p:txBody>
          <a:bodyPr/>
          <a:lstStyle>
            <a:lvl1pPr>
              <a:defRPr b="1">
                <a:solidFill>
                  <a:schemeClr val="bg2"/>
                </a:solidFill>
              </a:defRPr>
            </a:lvl1pPr>
          </a:lstStyle>
          <a:p>
            <a:r>
              <a:rPr lang="fr-FR" dirty="0" err="1"/>
              <a:t>Picto</a:t>
            </a:r>
            <a:endParaRPr lang="fr-FR" dirty="0"/>
          </a:p>
        </p:txBody>
      </p:sp>
      <p:sp>
        <p:nvSpPr>
          <p:cNvPr id="17"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3"/>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19112934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_9">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18" name="Espace réservé du texte 10">
            <a:extLst>
              <a:ext uri="{FF2B5EF4-FFF2-40B4-BE49-F238E27FC236}">
                <a16:creationId xmlns:a16="http://schemas.microsoft.com/office/drawing/2014/main" id="{83870F8E-71D8-4A4E-BF73-1BDA4B584A07}"/>
              </a:ext>
            </a:extLst>
          </p:cNvPr>
          <p:cNvSpPr>
            <a:spLocks noGrp="1"/>
          </p:cNvSpPr>
          <p:nvPr>
            <p:ph type="body" sz="quarter" idx="18" hasCustomPrompt="1"/>
          </p:nvPr>
        </p:nvSpPr>
        <p:spPr>
          <a:xfrm>
            <a:off x="2596784"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9" name="Espace réservé du texte 9">
            <a:extLst>
              <a:ext uri="{FF2B5EF4-FFF2-40B4-BE49-F238E27FC236}">
                <a16:creationId xmlns:a16="http://schemas.microsoft.com/office/drawing/2014/main" id="{BEAE223B-A4B3-40C0-9C1B-8AE4EB5BCDA1}"/>
              </a:ext>
            </a:extLst>
          </p:cNvPr>
          <p:cNvSpPr>
            <a:spLocks noGrp="1"/>
          </p:cNvSpPr>
          <p:nvPr>
            <p:ph type="body" sz="quarter" idx="19"/>
          </p:nvPr>
        </p:nvSpPr>
        <p:spPr>
          <a:xfrm>
            <a:off x="2596784"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8"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8"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2" name="Espace réservé du texte 10">
            <a:extLst>
              <a:ext uri="{FF2B5EF4-FFF2-40B4-BE49-F238E27FC236}">
                <a16:creationId xmlns:a16="http://schemas.microsoft.com/office/drawing/2014/main" id="{B890002F-81F9-4778-93CB-9221C7910BED}"/>
              </a:ext>
            </a:extLst>
          </p:cNvPr>
          <p:cNvSpPr>
            <a:spLocks noGrp="1"/>
          </p:cNvSpPr>
          <p:nvPr>
            <p:ph type="body" sz="quarter" idx="22" hasCustomPrompt="1"/>
          </p:nvPr>
        </p:nvSpPr>
        <p:spPr>
          <a:xfrm>
            <a:off x="6755046"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9">
            <a:extLst>
              <a:ext uri="{FF2B5EF4-FFF2-40B4-BE49-F238E27FC236}">
                <a16:creationId xmlns:a16="http://schemas.microsoft.com/office/drawing/2014/main" id="{69BBDEAD-028C-4010-8649-60E520717AE7}"/>
              </a:ext>
            </a:extLst>
          </p:cNvPr>
          <p:cNvSpPr>
            <a:spLocks noGrp="1"/>
          </p:cNvSpPr>
          <p:nvPr>
            <p:ph type="body" sz="quarter" idx="23"/>
          </p:nvPr>
        </p:nvSpPr>
        <p:spPr>
          <a:xfrm>
            <a:off x="675504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2348097"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2ABFFF35-EF37-48CB-BD5C-B26D9053EB85}"/>
              </a:ext>
            </a:extLst>
          </p:cNvPr>
          <p:cNvCxnSpPr>
            <a:cxnSpLocks/>
          </p:cNvCxnSpPr>
          <p:nvPr userDrawn="1"/>
        </p:nvCxnSpPr>
        <p:spPr>
          <a:xfrm>
            <a:off x="6506445"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4"/>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3577857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_10">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73627"/>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18" name="Espace réservé du texte 10">
            <a:extLst>
              <a:ext uri="{FF2B5EF4-FFF2-40B4-BE49-F238E27FC236}">
                <a16:creationId xmlns:a16="http://schemas.microsoft.com/office/drawing/2014/main" id="{83870F8E-71D8-4A4E-BF73-1BDA4B584A07}"/>
              </a:ext>
            </a:extLst>
          </p:cNvPr>
          <p:cNvSpPr>
            <a:spLocks noGrp="1"/>
          </p:cNvSpPr>
          <p:nvPr>
            <p:ph type="body" sz="quarter" idx="18" hasCustomPrompt="1"/>
          </p:nvPr>
        </p:nvSpPr>
        <p:spPr>
          <a:xfrm>
            <a:off x="2596784"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9" name="Espace réservé du texte 9">
            <a:extLst>
              <a:ext uri="{FF2B5EF4-FFF2-40B4-BE49-F238E27FC236}">
                <a16:creationId xmlns:a16="http://schemas.microsoft.com/office/drawing/2014/main" id="{BEAE223B-A4B3-40C0-9C1B-8AE4EB5BCDA1}"/>
              </a:ext>
            </a:extLst>
          </p:cNvPr>
          <p:cNvSpPr>
            <a:spLocks noGrp="1"/>
          </p:cNvSpPr>
          <p:nvPr>
            <p:ph type="body" sz="quarter" idx="19"/>
          </p:nvPr>
        </p:nvSpPr>
        <p:spPr>
          <a:xfrm>
            <a:off x="2596784"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8"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8"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2" name="Espace réservé du texte 10">
            <a:extLst>
              <a:ext uri="{FF2B5EF4-FFF2-40B4-BE49-F238E27FC236}">
                <a16:creationId xmlns:a16="http://schemas.microsoft.com/office/drawing/2014/main" id="{B890002F-81F9-4778-93CB-9221C7910BED}"/>
              </a:ext>
            </a:extLst>
          </p:cNvPr>
          <p:cNvSpPr>
            <a:spLocks noGrp="1"/>
          </p:cNvSpPr>
          <p:nvPr>
            <p:ph type="body" sz="quarter" idx="22" hasCustomPrompt="1"/>
          </p:nvPr>
        </p:nvSpPr>
        <p:spPr>
          <a:xfrm>
            <a:off x="6755046"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9">
            <a:extLst>
              <a:ext uri="{FF2B5EF4-FFF2-40B4-BE49-F238E27FC236}">
                <a16:creationId xmlns:a16="http://schemas.microsoft.com/office/drawing/2014/main" id="{69BBDEAD-028C-4010-8649-60E520717AE7}"/>
              </a:ext>
            </a:extLst>
          </p:cNvPr>
          <p:cNvSpPr>
            <a:spLocks noGrp="1"/>
          </p:cNvSpPr>
          <p:nvPr>
            <p:ph type="body" sz="quarter" idx="23"/>
          </p:nvPr>
        </p:nvSpPr>
        <p:spPr>
          <a:xfrm>
            <a:off x="675504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2348097"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2ABFFF35-EF37-48CB-BD5C-B26D9053EB85}"/>
              </a:ext>
            </a:extLst>
          </p:cNvPr>
          <p:cNvCxnSpPr>
            <a:cxnSpLocks/>
          </p:cNvCxnSpPr>
          <p:nvPr userDrawn="1"/>
        </p:nvCxnSpPr>
        <p:spPr>
          <a:xfrm>
            <a:off x="6506445"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Espace réservé du texte 8">
            <a:extLst>
              <a:ext uri="{FF2B5EF4-FFF2-40B4-BE49-F238E27FC236}">
                <a16:creationId xmlns:a16="http://schemas.microsoft.com/office/drawing/2014/main" id="{B4A93AB5-24BE-4651-BF5E-2BE5557AB514}"/>
              </a:ext>
            </a:extLst>
          </p:cNvPr>
          <p:cNvSpPr>
            <a:spLocks noGrp="1"/>
          </p:cNvSpPr>
          <p:nvPr>
            <p:ph type="body" sz="quarter" idx="24"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24"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5"/>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18095239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_1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9" y="173626"/>
            <a:ext cx="7247171" cy="824594"/>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382137" y="1363980"/>
            <a:ext cx="0" cy="432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Espace réservé du texte 10">
            <a:extLst>
              <a:ext uri="{FF2B5EF4-FFF2-40B4-BE49-F238E27FC236}">
                <a16:creationId xmlns:a16="http://schemas.microsoft.com/office/drawing/2014/main" id="{656FE585-A0DF-4FA9-A891-1E894E475181}"/>
              </a:ext>
            </a:extLst>
          </p:cNvPr>
          <p:cNvSpPr>
            <a:spLocks noGrp="1"/>
          </p:cNvSpPr>
          <p:nvPr>
            <p:ph type="body" sz="quarter" idx="24" hasCustomPrompt="1"/>
          </p:nvPr>
        </p:nvSpPr>
        <p:spPr>
          <a:xfrm>
            <a:off x="517610" y="2820482"/>
            <a:ext cx="3541433" cy="262784"/>
          </a:xfrm>
        </p:spPr>
        <p:txBody>
          <a:bodyPr rIns="36000">
            <a:normAutofit/>
          </a:bodyPr>
          <a:lstStyle>
            <a:lvl1pPr>
              <a:defRPr sz="1200"/>
            </a:lvl1pPr>
            <a:lvl2pPr>
              <a:defRPr sz="1100"/>
            </a:lvl2pPr>
            <a:lvl3pPr>
              <a:defRPr sz="1050"/>
            </a:lvl3pPr>
            <a:lvl4pPr>
              <a:defRPr sz="1000"/>
            </a:lvl4pPr>
          </a:lstStyle>
          <a:p>
            <a:pPr lvl="2"/>
            <a:r>
              <a:rPr lang="en-US" dirty="0"/>
              <a:t>Click to change the text styles of the mask</a:t>
            </a:r>
          </a:p>
        </p:txBody>
      </p:sp>
      <p:sp>
        <p:nvSpPr>
          <p:cNvPr id="24" name="Espace réservé du texte 9">
            <a:extLst>
              <a:ext uri="{FF2B5EF4-FFF2-40B4-BE49-F238E27FC236}">
                <a16:creationId xmlns:a16="http://schemas.microsoft.com/office/drawing/2014/main" id="{84B33C97-F803-4123-8549-06640E0548E0}"/>
              </a:ext>
            </a:extLst>
          </p:cNvPr>
          <p:cNvSpPr>
            <a:spLocks noGrp="1"/>
          </p:cNvSpPr>
          <p:nvPr>
            <p:ph type="body" sz="quarter" idx="25"/>
          </p:nvPr>
        </p:nvSpPr>
        <p:spPr>
          <a:xfrm>
            <a:off x="517526" y="3083265"/>
            <a:ext cx="3541395" cy="419100"/>
          </a:xfrm>
        </p:spPr>
        <p:txBody>
          <a:bodyPr rIns="36000" anchor="t"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1" name="Espace réservé du texte 10">
            <a:extLst>
              <a:ext uri="{FF2B5EF4-FFF2-40B4-BE49-F238E27FC236}">
                <a16:creationId xmlns:a16="http://schemas.microsoft.com/office/drawing/2014/main" id="{B3F9CF99-F963-43B8-A2A1-CAB1943B9348}"/>
              </a:ext>
            </a:extLst>
          </p:cNvPr>
          <p:cNvSpPr>
            <a:spLocks noGrp="1"/>
          </p:cNvSpPr>
          <p:nvPr>
            <p:ph type="body" sz="quarter" idx="26" hasCustomPrompt="1"/>
          </p:nvPr>
        </p:nvSpPr>
        <p:spPr>
          <a:xfrm>
            <a:off x="4666972" y="1363980"/>
            <a:ext cx="3749327" cy="2989020"/>
          </a:xfrm>
        </p:spPr>
        <p:txBody>
          <a:bodyPr rIns="36000">
            <a:noAutofit/>
          </a:bodyPr>
          <a:lstStyle>
            <a:lvl1pPr>
              <a:defRPr sz="1100"/>
            </a:lvl1pPr>
            <a:lvl2pPr>
              <a:spcBef>
                <a:spcPts val="500"/>
              </a:spcBef>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pour une image  12">
            <a:extLst>
              <a:ext uri="{FF2B5EF4-FFF2-40B4-BE49-F238E27FC236}">
                <a16:creationId xmlns:a16="http://schemas.microsoft.com/office/drawing/2014/main" id="{EEFD0060-2F48-4F68-94DD-1ABE6EBC8827}"/>
              </a:ext>
            </a:extLst>
          </p:cNvPr>
          <p:cNvSpPr>
            <a:spLocks noGrp="1"/>
          </p:cNvSpPr>
          <p:nvPr>
            <p:ph type="pic" sz="quarter" idx="30"/>
          </p:nvPr>
        </p:nvSpPr>
        <p:spPr>
          <a:xfrm>
            <a:off x="615996" y="1325220"/>
            <a:ext cx="1539908" cy="497256"/>
          </a:xfrm>
        </p:spPr>
        <p:txBody>
          <a:bodyPr anchor="ctr" anchorCtr="0"/>
          <a:lstStyle>
            <a:lvl1pPr algn="ctr">
              <a:defRPr b="1">
                <a:solidFill>
                  <a:schemeClr val="bg2"/>
                </a:solidFill>
              </a:defRPr>
            </a:lvl1pPr>
          </a:lstStyle>
          <a:p>
            <a:endParaRPr lang="en-GB" dirty="0"/>
          </a:p>
        </p:txBody>
      </p:sp>
      <p:sp>
        <p:nvSpPr>
          <p:cNvPr id="37" name="Espace réservé pour une image  12">
            <a:extLst>
              <a:ext uri="{FF2B5EF4-FFF2-40B4-BE49-F238E27FC236}">
                <a16:creationId xmlns:a16="http://schemas.microsoft.com/office/drawing/2014/main" id="{96D1A85D-69E6-4D91-8D22-9A15DDD6792A}"/>
              </a:ext>
            </a:extLst>
          </p:cNvPr>
          <p:cNvSpPr>
            <a:spLocks noGrp="1"/>
          </p:cNvSpPr>
          <p:nvPr>
            <p:ph type="pic" sz="quarter" idx="31"/>
          </p:nvPr>
        </p:nvSpPr>
        <p:spPr>
          <a:xfrm>
            <a:off x="2389761" y="1326936"/>
            <a:ext cx="1539908" cy="495540"/>
          </a:xfrm>
        </p:spPr>
        <p:txBody>
          <a:bodyPr anchor="ctr" anchorCtr="0"/>
          <a:lstStyle>
            <a:lvl1pPr algn="ctr">
              <a:defRPr b="1">
                <a:solidFill>
                  <a:schemeClr val="bg2"/>
                </a:solidFill>
              </a:defRPr>
            </a:lvl1pPr>
          </a:lstStyle>
          <a:p>
            <a:endParaRPr lang="en-GB" dirty="0"/>
          </a:p>
        </p:txBody>
      </p:sp>
      <p:sp>
        <p:nvSpPr>
          <p:cNvPr id="38" name="Espace réservé du texte 9">
            <a:extLst>
              <a:ext uri="{FF2B5EF4-FFF2-40B4-BE49-F238E27FC236}">
                <a16:creationId xmlns:a16="http://schemas.microsoft.com/office/drawing/2014/main" id="{22BDD468-9552-4038-837E-C07ACB70286B}"/>
              </a:ext>
            </a:extLst>
          </p:cNvPr>
          <p:cNvSpPr>
            <a:spLocks noGrp="1"/>
          </p:cNvSpPr>
          <p:nvPr>
            <p:ph type="body" sz="quarter" idx="32"/>
          </p:nvPr>
        </p:nvSpPr>
        <p:spPr>
          <a:xfrm>
            <a:off x="517526" y="2030307"/>
            <a:ext cx="3541395" cy="541444"/>
          </a:xfrm>
        </p:spPr>
        <p:txBody>
          <a:bodyPr rIns="36000" anchor="t" anchorCtr="0">
            <a:noAutofit/>
          </a:bodyPr>
          <a:lstStyle>
            <a:lvl1pPr>
              <a:defRPr sz="16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9" name="Espace réservé pour une image  12">
            <a:extLst>
              <a:ext uri="{FF2B5EF4-FFF2-40B4-BE49-F238E27FC236}">
                <a16:creationId xmlns:a16="http://schemas.microsoft.com/office/drawing/2014/main" id="{73951113-5A32-4C3E-967B-F90F357B7AD4}"/>
              </a:ext>
            </a:extLst>
          </p:cNvPr>
          <p:cNvSpPr>
            <a:spLocks noGrp="1"/>
          </p:cNvSpPr>
          <p:nvPr>
            <p:ph type="pic" sz="quarter" idx="33" hasCustomPrompt="1"/>
          </p:nvPr>
        </p:nvSpPr>
        <p:spPr>
          <a:xfrm>
            <a:off x="7940041" y="173626"/>
            <a:ext cx="575311" cy="584564"/>
          </a:xfrm>
        </p:spPr>
        <p:txBody>
          <a:bodyPr lIns="0" rIns="0" anchor="ctr" anchorCtr="0">
            <a:noAutofit/>
          </a:bodyPr>
          <a:lstStyle>
            <a:lvl1pPr algn="ctr">
              <a:defRPr sz="1000" b="1">
                <a:solidFill>
                  <a:schemeClr val="accent3"/>
                </a:solidFill>
              </a:defRPr>
            </a:lvl1pPr>
          </a:lstStyle>
          <a:p>
            <a:r>
              <a:rPr lang="fr-FR" dirty="0"/>
              <a:t>drapeau</a:t>
            </a:r>
            <a:endParaRPr lang="en-GB" dirty="0"/>
          </a:p>
        </p:txBody>
      </p:sp>
      <p:sp>
        <p:nvSpPr>
          <p:cNvPr id="40" name="Espace réservé du texte 10">
            <a:extLst>
              <a:ext uri="{FF2B5EF4-FFF2-40B4-BE49-F238E27FC236}">
                <a16:creationId xmlns:a16="http://schemas.microsoft.com/office/drawing/2014/main" id="{D62D1879-CBC7-4272-98C5-F9939033470C}"/>
              </a:ext>
            </a:extLst>
          </p:cNvPr>
          <p:cNvSpPr>
            <a:spLocks noGrp="1"/>
          </p:cNvSpPr>
          <p:nvPr>
            <p:ph type="body" sz="quarter" idx="34" hasCustomPrompt="1"/>
          </p:nvPr>
        </p:nvSpPr>
        <p:spPr>
          <a:xfrm>
            <a:off x="517610" y="3671118"/>
            <a:ext cx="3541433" cy="262784"/>
          </a:xfrm>
        </p:spPr>
        <p:txBody>
          <a:bodyPr rIns="36000">
            <a:normAutofit/>
          </a:bodyPr>
          <a:lstStyle>
            <a:lvl1pPr>
              <a:defRPr sz="1200"/>
            </a:lvl1pPr>
            <a:lvl2pPr>
              <a:defRPr sz="1100"/>
            </a:lvl2pPr>
            <a:lvl3pPr>
              <a:defRPr sz="1050"/>
            </a:lvl3pPr>
            <a:lvl4pPr>
              <a:defRPr sz="1000"/>
            </a:lvl4pPr>
          </a:lstStyle>
          <a:p>
            <a:pPr lvl="2"/>
            <a:r>
              <a:rPr lang="en-US" dirty="0"/>
              <a:t>Click to change the text styles of the mask</a:t>
            </a:r>
          </a:p>
        </p:txBody>
      </p:sp>
      <p:sp>
        <p:nvSpPr>
          <p:cNvPr id="41" name="Espace réservé du texte 9">
            <a:extLst>
              <a:ext uri="{FF2B5EF4-FFF2-40B4-BE49-F238E27FC236}">
                <a16:creationId xmlns:a16="http://schemas.microsoft.com/office/drawing/2014/main" id="{26D7FA52-02B0-4C4B-8A8C-774E1467174D}"/>
              </a:ext>
            </a:extLst>
          </p:cNvPr>
          <p:cNvSpPr>
            <a:spLocks noGrp="1"/>
          </p:cNvSpPr>
          <p:nvPr>
            <p:ph type="body" sz="quarter" idx="35"/>
          </p:nvPr>
        </p:nvSpPr>
        <p:spPr>
          <a:xfrm>
            <a:off x="517526" y="3933900"/>
            <a:ext cx="3541395" cy="419100"/>
          </a:xfrm>
        </p:spPr>
        <p:txBody>
          <a:bodyPr rIns="36000" anchor="t"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42" name="Connecteur droit 41">
            <a:extLst>
              <a:ext uri="{FF2B5EF4-FFF2-40B4-BE49-F238E27FC236}">
                <a16:creationId xmlns:a16="http://schemas.microsoft.com/office/drawing/2014/main" id="{6DCF3C66-EB4E-4D42-8B2C-0E5335280658}"/>
              </a:ext>
            </a:extLst>
          </p:cNvPr>
          <p:cNvCxnSpPr>
            <a:cxnSpLocks/>
          </p:cNvCxnSpPr>
          <p:nvPr userDrawn="1"/>
        </p:nvCxnSpPr>
        <p:spPr>
          <a:xfrm>
            <a:off x="4399219" y="1363980"/>
            <a:ext cx="0" cy="298902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03307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_1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1485666" y="1558484"/>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1485581" y="1288161"/>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7" name="Espace réservé pour une image  6">
            <a:extLst>
              <a:ext uri="{FF2B5EF4-FFF2-40B4-BE49-F238E27FC236}">
                <a16:creationId xmlns:a16="http://schemas.microsoft.com/office/drawing/2014/main" id="{505CD692-332B-45D3-8814-4099035C34D9}"/>
              </a:ext>
            </a:extLst>
          </p:cNvPr>
          <p:cNvSpPr>
            <a:spLocks noGrp="1"/>
          </p:cNvSpPr>
          <p:nvPr>
            <p:ph type="pic" sz="quarter" idx="24"/>
          </p:nvPr>
        </p:nvSpPr>
        <p:spPr>
          <a:xfrm>
            <a:off x="622413" y="1257308"/>
            <a:ext cx="666559" cy="774693"/>
          </a:xfrm>
        </p:spPr>
        <p:txBody>
          <a:bodyPr>
            <a:normAutofit/>
          </a:bodyPr>
          <a:lstStyle>
            <a:lvl1pPr algn="ctr">
              <a:defRPr sz="1100" b="1">
                <a:solidFill>
                  <a:schemeClr val="bg2"/>
                </a:solidFill>
              </a:defRPr>
            </a:lvl1pPr>
          </a:lstStyle>
          <a:p>
            <a:endParaRPr lang="en-GB" dirty="0"/>
          </a:p>
        </p:txBody>
      </p:sp>
      <p:sp>
        <p:nvSpPr>
          <p:cNvPr id="36" name="Espace réservé du texte 10">
            <a:extLst>
              <a:ext uri="{FF2B5EF4-FFF2-40B4-BE49-F238E27FC236}">
                <a16:creationId xmlns:a16="http://schemas.microsoft.com/office/drawing/2014/main" id="{399A5DFA-0B9D-4A82-8AF2-980A5BB762D8}"/>
              </a:ext>
            </a:extLst>
          </p:cNvPr>
          <p:cNvSpPr>
            <a:spLocks noGrp="1"/>
          </p:cNvSpPr>
          <p:nvPr>
            <p:ph type="body" sz="quarter" idx="25" hasCustomPrompt="1"/>
          </p:nvPr>
        </p:nvSpPr>
        <p:spPr>
          <a:xfrm>
            <a:off x="1485666" y="2637985"/>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37" name="Espace réservé du texte 9">
            <a:extLst>
              <a:ext uri="{FF2B5EF4-FFF2-40B4-BE49-F238E27FC236}">
                <a16:creationId xmlns:a16="http://schemas.microsoft.com/office/drawing/2014/main" id="{F7500000-C125-4CAC-B8B3-49BCB3E6B43B}"/>
              </a:ext>
            </a:extLst>
          </p:cNvPr>
          <p:cNvSpPr>
            <a:spLocks noGrp="1"/>
          </p:cNvSpPr>
          <p:nvPr>
            <p:ph type="body" sz="quarter" idx="26"/>
          </p:nvPr>
        </p:nvSpPr>
        <p:spPr>
          <a:xfrm>
            <a:off x="1485581" y="2367662"/>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8" name="Espace réservé pour une image  6">
            <a:extLst>
              <a:ext uri="{FF2B5EF4-FFF2-40B4-BE49-F238E27FC236}">
                <a16:creationId xmlns:a16="http://schemas.microsoft.com/office/drawing/2014/main" id="{EA6CEE02-FA37-41F8-B077-5BD93DC8E97F}"/>
              </a:ext>
            </a:extLst>
          </p:cNvPr>
          <p:cNvSpPr>
            <a:spLocks noGrp="1"/>
          </p:cNvSpPr>
          <p:nvPr>
            <p:ph type="pic" sz="quarter" idx="27"/>
          </p:nvPr>
        </p:nvSpPr>
        <p:spPr>
          <a:xfrm>
            <a:off x="622413" y="2336809"/>
            <a:ext cx="666559" cy="774693"/>
          </a:xfrm>
        </p:spPr>
        <p:txBody>
          <a:bodyPr>
            <a:normAutofit/>
          </a:bodyPr>
          <a:lstStyle>
            <a:lvl1pPr algn="ctr">
              <a:defRPr sz="1100" b="1">
                <a:solidFill>
                  <a:schemeClr val="bg2"/>
                </a:solidFill>
              </a:defRPr>
            </a:lvl1pPr>
          </a:lstStyle>
          <a:p>
            <a:endParaRPr lang="en-GB" dirty="0"/>
          </a:p>
        </p:txBody>
      </p:sp>
      <p:sp>
        <p:nvSpPr>
          <p:cNvPr id="39" name="Espace réservé du texte 10">
            <a:extLst>
              <a:ext uri="{FF2B5EF4-FFF2-40B4-BE49-F238E27FC236}">
                <a16:creationId xmlns:a16="http://schemas.microsoft.com/office/drawing/2014/main" id="{81F04FE6-AA5A-4003-BC56-01F0945724D9}"/>
              </a:ext>
            </a:extLst>
          </p:cNvPr>
          <p:cNvSpPr>
            <a:spLocks noGrp="1"/>
          </p:cNvSpPr>
          <p:nvPr>
            <p:ph type="body" sz="quarter" idx="28" hasCustomPrompt="1"/>
          </p:nvPr>
        </p:nvSpPr>
        <p:spPr>
          <a:xfrm>
            <a:off x="1485666" y="3717486"/>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40" name="Espace réservé du texte 9">
            <a:extLst>
              <a:ext uri="{FF2B5EF4-FFF2-40B4-BE49-F238E27FC236}">
                <a16:creationId xmlns:a16="http://schemas.microsoft.com/office/drawing/2014/main" id="{7FCA421D-6292-442C-B5AD-E9F0CEB3173B}"/>
              </a:ext>
            </a:extLst>
          </p:cNvPr>
          <p:cNvSpPr>
            <a:spLocks noGrp="1"/>
          </p:cNvSpPr>
          <p:nvPr>
            <p:ph type="body" sz="quarter" idx="29"/>
          </p:nvPr>
        </p:nvSpPr>
        <p:spPr>
          <a:xfrm>
            <a:off x="1485581" y="3447163"/>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41" name="Espace réservé pour une image  6">
            <a:extLst>
              <a:ext uri="{FF2B5EF4-FFF2-40B4-BE49-F238E27FC236}">
                <a16:creationId xmlns:a16="http://schemas.microsoft.com/office/drawing/2014/main" id="{E6ED6256-27CC-49AA-8A38-B3FB2DBA9500}"/>
              </a:ext>
            </a:extLst>
          </p:cNvPr>
          <p:cNvSpPr>
            <a:spLocks noGrp="1"/>
          </p:cNvSpPr>
          <p:nvPr>
            <p:ph type="pic" sz="quarter" idx="30"/>
          </p:nvPr>
        </p:nvSpPr>
        <p:spPr>
          <a:xfrm>
            <a:off x="622413" y="3416309"/>
            <a:ext cx="666559" cy="774693"/>
          </a:xfrm>
        </p:spPr>
        <p:txBody>
          <a:bodyPr>
            <a:normAutofit/>
          </a:bodyPr>
          <a:lstStyle>
            <a:lvl1pPr algn="ctr">
              <a:defRPr sz="1100" b="1">
                <a:solidFill>
                  <a:schemeClr val="bg2"/>
                </a:solidFill>
              </a:defRPr>
            </a:lvl1pPr>
          </a:lstStyle>
          <a:p>
            <a:endParaRPr lang="en-GB" dirty="0"/>
          </a:p>
        </p:txBody>
      </p:sp>
      <p:sp>
        <p:nvSpPr>
          <p:cNvPr id="53" name="Espace réservé du texte 10">
            <a:extLst>
              <a:ext uri="{FF2B5EF4-FFF2-40B4-BE49-F238E27FC236}">
                <a16:creationId xmlns:a16="http://schemas.microsoft.com/office/drawing/2014/main" id="{41A9A72B-4D43-402D-AC02-49EBF9C8DA75}"/>
              </a:ext>
            </a:extLst>
          </p:cNvPr>
          <p:cNvSpPr>
            <a:spLocks noGrp="1"/>
          </p:cNvSpPr>
          <p:nvPr>
            <p:ph type="body" sz="quarter" idx="31" hasCustomPrompt="1"/>
          </p:nvPr>
        </p:nvSpPr>
        <p:spPr>
          <a:xfrm>
            <a:off x="5715384" y="1558484"/>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54" name="Espace réservé du texte 9">
            <a:extLst>
              <a:ext uri="{FF2B5EF4-FFF2-40B4-BE49-F238E27FC236}">
                <a16:creationId xmlns:a16="http://schemas.microsoft.com/office/drawing/2014/main" id="{E32611A7-F8B8-41E0-A9B5-CC45B3265D09}"/>
              </a:ext>
            </a:extLst>
          </p:cNvPr>
          <p:cNvSpPr>
            <a:spLocks noGrp="1"/>
          </p:cNvSpPr>
          <p:nvPr>
            <p:ph type="body" sz="quarter" idx="32"/>
          </p:nvPr>
        </p:nvSpPr>
        <p:spPr>
          <a:xfrm>
            <a:off x="5715299" y="1288161"/>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55" name="Espace réservé pour une image  6">
            <a:extLst>
              <a:ext uri="{FF2B5EF4-FFF2-40B4-BE49-F238E27FC236}">
                <a16:creationId xmlns:a16="http://schemas.microsoft.com/office/drawing/2014/main" id="{B01C242D-F8CD-4877-B097-C386CB9BC948}"/>
              </a:ext>
            </a:extLst>
          </p:cNvPr>
          <p:cNvSpPr>
            <a:spLocks noGrp="1"/>
          </p:cNvSpPr>
          <p:nvPr>
            <p:ph type="pic" sz="quarter" idx="33"/>
          </p:nvPr>
        </p:nvSpPr>
        <p:spPr>
          <a:xfrm>
            <a:off x="4852131" y="1257308"/>
            <a:ext cx="666559" cy="774693"/>
          </a:xfrm>
        </p:spPr>
        <p:txBody>
          <a:bodyPr>
            <a:normAutofit/>
          </a:bodyPr>
          <a:lstStyle>
            <a:lvl1pPr algn="ctr">
              <a:defRPr sz="1100" b="1">
                <a:solidFill>
                  <a:schemeClr val="bg2"/>
                </a:solidFill>
              </a:defRPr>
            </a:lvl1pPr>
          </a:lstStyle>
          <a:p>
            <a:endParaRPr lang="en-GB" dirty="0"/>
          </a:p>
        </p:txBody>
      </p:sp>
      <p:sp>
        <p:nvSpPr>
          <p:cNvPr id="56" name="Espace réservé du texte 10">
            <a:extLst>
              <a:ext uri="{FF2B5EF4-FFF2-40B4-BE49-F238E27FC236}">
                <a16:creationId xmlns:a16="http://schemas.microsoft.com/office/drawing/2014/main" id="{987D6271-73C2-43B7-9B70-FC65E23BA099}"/>
              </a:ext>
            </a:extLst>
          </p:cNvPr>
          <p:cNvSpPr>
            <a:spLocks noGrp="1"/>
          </p:cNvSpPr>
          <p:nvPr>
            <p:ph type="body" sz="quarter" idx="34" hasCustomPrompt="1"/>
          </p:nvPr>
        </p:nvSpPr>
        <p:spPr>
          <a:xfrm>
            <a:off x="5715384" y="2637985"/>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57" name="Espace réservé du texte 9">
            <a:extLst>
              <a:ext uri="{FF2B5EF4-FFF2-40B4-BE49-F238E27FC236}">
                <a16:creationId xmlns:a16="http://schemas.microsoft.com/office/drawing/2014/main" id="{2E7001AC-A342-4DC7-A318-0EA93FC10D98}"/>
              </a:ext>
            </a:extLst>
          </p:cNvPr>
          <p:cNvSpPr>
            <a:spLocks noGrp="1"/>
          </p:cNvSpPr>
          <p:nvPr>
            <p:ph type="body" sz="quarter" idx="35"/>
          </p:nvPr>
        </p:nvSpPr>
        <p:spPr>
          <a:xfrm>
            <a:off x="5715299" y="2367662"/>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58" name="Espace réservé pour une image  6">
            <a:extLst>
              <a:ext uri="{FF2B5EF4-FFF2-40B4-BE49-F238E27FC236}">
                <a16:creationId xmlns:a16="http://schemas.microsoft.com/office/drawing/2014/main" id="{D8866A67-5141-4156-8DBF-847D982135A2}"/>
              </a:ext>
            </a:extLst>
          </p:cNvPr>
          <p:cNvSpPr>
            <a:spLocks noGrp="1"/>
          </p:cNvSpPr>
          <p:nvPr>
            <p:ph type="pic" sz="quarter" idx="36"/>
          </p:nvPr>
        </p:nvSpPr>
        <p:spPr>
          <a:xfrm>
            <a:off x="4852131" y="2336809"/>
            <a:ext cx="666559" cy="774693"/>
          </a:xfrm>
        </p:spPr>
        <p:txBody>
          <a:bodyPr>
            <a:normAutofit/>
          </a:bodyPr>
          <a:lstStyle>
            <a:lvl1pPr algn="ctr">
              <a:defRPr sz="1100" b="1">
                <a:solidFill>
                  <a:schemeClr val="bg2"/>
                </a:solidFill>
              </a:defRPr>
            </a:lvl1pPr>
          </a:lstStyle>
          <a:p>
            <a:endParaRPr lang="en-GB" dirty="0"/>
          </a:p>
        </p:txBody>
      </p:sp>
      <p:sp>
        <p:nvSpPr>
          <p:cNvPr id="59" name="Espace réservé du texte 10">
            <a:extLst>
              <a:ext uri="{FF2B5EF4-FFF2-40B4-BE49-F238E27FC236}">
                <a16:creationId xmlns:a16="http://schemas.microsoft.com/office/drawing/2014/main" id="{F187A3F1-3295-464C-B4FB-63EC963ADF80}"/>
              </a:ext>
            </a:extLst>
          </p:cNvPr>
          <p:cNvSpPr>
            <a:spLocks noGrp="1"/>
          </p:cNvSpPr>
          <p:nvPr>
            <p:ph type="body" sz="quarter" idx="37" hasCustomPrompt="1"/>
          </p:nvPr>
        </p:nvSpPr>
        <p:spPr>
          <a:xfrm>
            <a:off x="5715384" y="3717486"/>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60" name="Espace réservé du texte 9">
            <a:extLst>
              <a:ext uri="{FF2B5EF4-FFF2-40B4-BE49-F238E27FC236}">
                <a16:creationId xmlns:a16="http://schemas.microsoft.com/office/drawing/2014/main" id="{9C672168-6EC3-464C-879E-DDA81CDA3E20}"/>
              </a:ext>
            </a:extLst>
          </p:cNvPr>
          <p:cNvSpPr>
            <a:spLocks noGrp="1"/>
          </p:cNvSpPr>
          <p:nvPr>
            <p:ph type="body" sz="quarter" idx="38"/>
          </p:nvPr>
        </p:nvSpPr>
        <p:spPr>
          <a:xfrm>
            <a:off x="5715299" y="3447163"/>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61" name="Espace réservé pour une image  6">
            <a:extLst>
              <a:ext uri="{FF2B5EF4-FFF2-40B4-BE49-F238E27FC236}">
                <a16:creationId xmlns:a16="http://schemas.microsoft.com/office/drawing/2014/main" id="{0B4DA4AF-1228-46AE-BDB0-0226FCD1EC37}"/>
              </a:ext>
            </a:extLst>
          </p:cNvPr>
          <p:cNvSpPr>
            <a:spLocks noGrp="1"/>
          </p:cNvSpPr>
          <p:nvPr>
            <p:ph type="pic" sz="quarter" idx="39"/>
          </p:nvPr>
        </p:nvSpPr>
        <p:spPr>
          <a:xfrm>
            <a:off x="4852131" y="3416309"/>
            <a:ext cx="666559" cy="774693"/>
          </a:xfrm>
        </p:spPr>
        <p:txBody>
          <a:bodyPr>
            <a:normAutofit/>
          </a:bodyPr>
          <a:lstStyle>
            <a:lvl1pPr algn="ctr">
              <a:defRPr sz="1100" b="1">
                <a:solidFill>
                  <a:schemeClr val="bg2"/>
                </a:solidFill>
              </a:defRPr>
            </a:lvl1pPr>
          </a:lstStyle>
          <a:p>
            <a:endParaRPr lang="en-GB" dirty="0"/>
          </a:p>
        </p:txBody>
      </p:sp>
    </p:spTree>
    <p:extLst>
      <p:ext uri="{BB962C8B-B14F-4D97-AF65-F5344CB8AC3E}">
        <p14:creationId xmlns:p14="http://schemas.microsoft.com/office/powerpoint/2010/main" val="22031171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_1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3661096"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7" y="1723857"/>
            <a:ext cx="3661093"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8" y="1261369"/>
            <a:ext cx="3661054"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56763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_1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59451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8">
            <a:extLst>
              <a:ext uri="{FF2B5EF4-FFF2-40B4-BE49-F238E27FC236}">
                <a16:creationId xmlns:a16="http://schemas.microsoft.com/office/drawing/2014/main" id="{EE511D6E-8D75-49F5-8CB3-179A7E343040}"/>
              </a:ext>
            </a:extLst>
          </p:cNvPr>
          <p:cNvSpPr>
            <a:spLocks noGrp="1"/>
          </p:cNvSpPr>
          <p:nvPr>
            <p:ph type="body" sz="quarter" idx="19"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3" name="Espace réservé du texte 10">
            <a:extLst>
              <a:ext uri="{FF2B5EF4-FFF2-40B4-BE49-F238E27FC236}">
                <a16:creationId xmlns:a16="http://schemas.microsoft.com/office/drawing/2014/main" id="{D4096D08-EB32-4C41-A345-3911BCCF5141}"/>
              </a:ext>
            </a:extLst>
          </p:cNvPr>
          <p:cNvSpPr>
            <a:spLocks noGrp="1"/>
          </p:cNvSpPr>
          <p:nvPr>
            <p:ph type="body" sz="quarter" idx="25" hasCustomPrompt="1"/>
          </p:nvPr>
        </p:nvSpPr>
        <p:spPr>
          <a:xfrm>
            <a:off x="517610" y="1261369"/>
            <a:ext cx="3661096" cy="3118902"/>
          </a:xfrm>
        </p:spPr>
        <p:txBody>
          <a:bodyPr rIns="36000">
            <a:noAutofit/>
          </a:bodyPr>
          <a:lstStyle>
            <a:lvl1pPr>
              <a:defRPr sz="1100"/>
            </a:lvl1pPr>
            <a:lvl2pPr>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4" name="Espace réservé du texte 10">
            <a:extLst>
              <a:ext uri="{FF2B5EF4-FFF2-40B4-BE49-F238E27FC236}">
                <a16:creationId xmlns:a16="http://schemas.microsoft.com/office/drawing/2014/main" id="{AFC7ED14-9B25-4EFF-8B73-F6338D7B2720}"/>
              </a:ext>
            </a:extLst>
          </p:cNvPr>
          <p:cNvSpPr>
            <a:spLocks noGrp="1"/>
          </p:cNvSpPr>
          <p:nvPr>
            <p:ph type="body" sz="quarter" idx="26" hasCustomPrompt="1"/>
          </p:nvPr>
        </p:nvSpPr>
        <p:spPr>
          <a:xfrm>
            <a:off x="4675957" y="1261369"/>
            <a:ext cx="3661093" cy="3118902"/>
          </a:xfrm>
        </p:spPr>
        <p:txBody>
          <a:bodyPr rIns="36000">
            <a:noAutofit/>
          </a:bodyPr>
          <a:lstStyle>
            <a:lvl1pPr>
              <a:defRPr sz="1100"/>
            </a:lvl1pPr>
            <a:lvl2pPr>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Tree>
    <p:extLst>
      <p:ext uri="{BB962C8B-B14F-4D97-AF65-F5344CB8AC3E}">
        <p14:creationId xmlns:p14="http://schemas.microsoft.com/office/powerpoint/2010/main" val="24125924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375661"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10">
            <a:extLst>
              <a:ext uri="{FF2B5EF4-FFF2-40B4-BE49-F238E27FC236}">
                <a16:creationId xmlns:a16="http://schemas.microsoft.com/office/drawing/2014/main" id="{884ED785-1C5E-4F78-A275-F34C3AEAE06F}"/>
              </a:ext>
            </a:extLst>
          </p:cNvPr>
          <p:cNvSpPr>
            <a:spLocks noGrp="1"/>
          </p:cNvSpPr>
          <p:nvPr>
            <p:ph type="body" sz="quarter" idx="22" hasCustomPrompt="1"/>
          </p:nvPr>
        </p:nvSpPr>
        <p:spPr>
          <a:xfrm>
            <a:off x="517610"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9">
            <a:extLst>
              <a:ext uri="{FF2B5EF4-FFF2-40B4-BE49-F238E27FC236}">
                <a16:creationId xmlns:a16="http://schemas.microsoft.com/office/drawing/2014/main" id="{8992EC07-F579-4A40-AAD6-B8347D980B99}"/>
              </a:ext>
            </a:extLst>
          </p:cNvPr>
          <p:cNvSpPr>
            <a:spLocks noGrp="1"/>
          </p:cNvSpPr>
          <p:nvPr>
            <p:ph type="body" sz="quarter" idx="23"/>
          </p:nvPr>
        </p:nvSpPr>
        <p:spPr>
          <a:xfrm>
            <a:off x="517526"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14" name="Connecteur droit 13">
            <a:extLst>
              <a:ext uri="{FF2B5EF4-FFF2-40B4-BE49-F238E27FC236}">
                <a16:creationId xmlns:a16="http://schemas.microsoft.com/office/drawing/2014/main" id="{7C5E9985-FD1E-428E-A038-1833C2306C28}"/>
              </a:ext>
            </a:extLst>
          </p:cNvPr>
          <p:cNvCxnSpPr>
            <a:cxnSpLocks/>
          </p:cNvCxnSpPr>
          <p:nvPr userDrawn="1"/>
        </p:nvCxnSpPr>
        <p:spPr>
          <a:xfrm>
            <a:off x="375661"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texte 10">
            <a:extLst>
              <a:ext uri="{FF2B5EF4-FFF2-40B4-BE49-F238E27FC236}">
                <a16:creationId xmlns:a16="http://schemas.microsoft.com/office/drawing/2014/main" id="{B3933DBD-2D64-49E5-9665-2D4D428F0437}"/>
              </a:ext>
            </a:extLst>
          </p:cNvPr>
          <p:cNvSpPr>
            <a:spLocks noGrp="1"/>
          </p:cNvSpPr>
          <p:nvPr>
            <p:ph type="body" sz="quarter" idx="24" hasCustomPrompt="1"/>
          </p:nvPr>
        </p:nvSpPr>
        <p:spPr>
          <a:xfrm>
            <a:off x="4572084"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5" name="Espace réservé du texte 9">
            <a:extLst>
              <a:ext uri="{FF2B5EF4-FFF2-40B4-BE49-F238E27FC236}">
                <a16:creationId xmlns:a16="http://schemas.microsoft.com/office/drawing/2014/main" id="{6500DBB1-D65A-4FD5-9F9B-A5027F560FD1}"/>
              </a:ext>
            </a:extLst>
          </p:cNvPr>
          <p:cNvSpPr>
            <a:spLocks noGrp="1"/>
          </p:cNvSpPr>
          <p:nvPr>
            <p:ph type="body" sz="quarter" idx="25"/>
          </p:nvPr>
        </p:nvSpPr>
        <p:spPr>
          <a:xfrm>
            <a:off x="4572001"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6" name="Connecteur droit 25">
            <a:extLst>
              <a:ext uri="{FF2B5EF4-FFF2-40B4-BE49-F238E27FC236}">
                <a16:creationId xmlns:a16="http://schemas.microsoft.com/office/drawing/2014/main" id="{C778CDC4-5FA1-4048-9A78-5B42F7B95A26}"/>
              </a:ext>
            </a:extLst>
          </p:cNvPr>
          <p:cNvCxnSpPr>
            <a:cxnSpLocks/>
          </p:cNvCxnSpPr>
          <p:nvPr userDrawn="1"/>
        </p:nvCxnSpPr>
        <p:spPr>
          <a:xfrm>
            <a:off x="4430136"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Espace réservé du texte 10">
            <a:extLst>
              <a:ext uri="{FF2B5EF4-FFF2-40B4-BE49-F238E27FC236}">
                <a16:creationId xmlns:a16="http://schemas.microsoft.com/office/drawing/2014/main" id="{58300066-BB96-4C12-B605-19344574F918}"/>
              </a:ext>
            </a:extLst>
          </p:cNvPr>
          <p:cNvSpPr>
            <a:spLocks noGrp="1"/>
          </p:cNvSpPr>
          <p:nvPr>
            <p:ph type="body" sz="quarter" idx="26" hasCustomPrompt="1"/>
          </p:nvPr>
        </p:nvSpPr>
        <p:spPr>
          <a:xfrm>
            <a:off x="4572084"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9" name="Espace réservé du texte 9">
            <a:extLst>
              <a:ext uri="{FF2B5EF4-FFF2-40B4-BE49-F238E27FC236}">
                <a16:creationId xmlns:a16="http://schemas.microsoft.com/office/drawing/2014/main" id="{90E4005E-EE52-414F-9FD7-3E4E4439CC01}"/>
              </a:ext>
            </a:extLst>
          </p:cNvPr>
          <p:cNvSpPr>
            <a:spLocks noGrp="1"/>
          </p:cNvSpPr>
          <p:nvPr>
            <p:ph type="body" sz="quarter" idx="27"/>
          </p:nvPr>
        </p:nvSpPr>
        <p:spPr>
          <a:xfrm>
            <a:off x="4572001"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30" name="Connecteur droit 29">
            <a:extLst>
              <a:ext uri="{FF2B5EF4-FFF2-40B4-BE49-F238E27FC236}">
                <a16:creationId xmlns:a16="http://schemas.microsoft.com/office/drawing/2014/main" id="{920CA81A-996E-455B-A7A4-21D294E47153}"/>
              </a:ext>
            </a:extLst>
          </p:cNvPr>
          <p:cNvCxnSpPr>
            <a:cxnSpLocks/>
          </p:cNvCxnSpPr>
          <p:nvPr userDrawn="1"/>
        </p:nvCxnSpPr>
        <p:spPr>
          <a:xfrm>
            <a:off x="4430136"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6676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4"/>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10" name="Espace réservé pour une image  9">
            <a:extLst>
              <a:ext uri="{FF2B5EF4-FFF2-40B4-BE49-F238E27FC236}">
                <a16:creationId xmlns:a16="http://schemas.microsoft.com/office/drawing/2014/main" id="{2481741F-42DC-4FF8-AD9C-1FB7F7BE9822}"/>
              </a:ext>
            </a:extLst>
          </p:cNvPr>
          <p:cNvSpPr>
            <a:spLocks noGrp="1"/>
          </p:cNvSpPr>
          <p:nvPr>
            <p:ph type="pic" sz="quarter" idx="10"/>
          </p:nvPr>
        </p:nvSpPr>
        <p:spPr>
          <a:xfrm>
            <a:off x="133744" y="2"/>
            <a:ext cx="1749972" cy="4067882"/>
          </a:xfrm>
          <a:custGeom>
            <a:avLst/>
            <a:gdLst>
              <a:gd name="connsiteX0" fmla="*/ 0 w 1749972"/>
              <a:gd name="connsiteY0" fmla="*/ 0 h 4067882"/>
              <a:gd name="connsiteX1" fmla="*/ 1749972 w 1749972"/>
              <a:gd name="connsiteY1" fmla="*/ 0 h 4067882"/>
              <a:gd name="connsiteX2" fmla="*/ 1749972 w 1749972"/>
              <a:gd name="connsiteY2" fmla="*/ 4067882 h 4067882"/>
              <a:gd name="connsiteX3" fmla="*/ 0 w 1749972"/>
              <a:gd name="connsiteY3" fmla="*/ 4067882 h 4067882"/>
            </a:gdLst>
            <a:ahLst/>
            <a:cxnLst>
              <a:cxn ang="0">
                <a:pos x="connsiteX0" y="connsiteY0"/>
              </a:cxn>
              <a:cxn ang="0">
                <a:pos x="connsiteX1" y="connsiteY1"/>
              </a:cxn>
              <a:cxn ang="0">
                <a:pos x="connsiteX2" y="connsiteY2"/>
              </a:cxn>
              <a:cxn ang="0">
                <a:pos x="connsiteX3" y="connsiteY3"/>
              </a:cxn>
            </a:cxnLst>
            <a:rect l="l" t="t" r="r" b="b"/>
            <a:pathLst>
              <a:path w="1749972" h="4067882">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1"/>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07303" y="1104901"/>
            <a:ext cx="653672" cy="689175"/>
          </a:xfrm>
        </p:spPr>
        <p:txBody>
          <a:bodyPr anchor="ctr" anchorCtr="0">
            <a:noAutofit/>
          </a:bodyPr>
          <a:lstStyle>
            <a:lvl1pPr algn="r">
              <a:defRPr sz="44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322638" y="1104900"/>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07303" y="2016092"/>
            <a:ext cx="653672" cy="689175"/>
          </a:xfrm>
        </p:spPr>
        <p:txBody>
          <a:bodyPr anchor="ctr" anchorCtr="0">
            <a:noAutofit/>
          </a:bodyPr>
          <a:lstStyle>
            <a:lvl1pPr algn="r">
              <a:defRPr sz="44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322638" y="201609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07303" y="2927082"/>
            <a:ext cx="653672" cy="689175"/>
          </a:xfrm>
        </p:spPr>
        <p:txBody>
          <a:bodyPr anchor="ctr" anchorCtr="0">
            <a:noAutofit/>
          </a:bodyPr>
          <a:lstStyle>
            <a:lvl1pPr algn="r">
              <a:defRPr sz="44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322638" y="292708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07303" y="3837871"/>
            <a:ext cx="653672" cy="689175"/>
          </a:xfrm>
        </p:spPr>
        <p:txBody>
          <a:bodyPr anchor="ctr" anchorCtr="0">
            <a:noAutofit/>
          </a:bodyPr>
          <a:lstStyle>
            <a:lvl1pPr algn="r">
              <a:defRPr sz="44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322638" y="3837870"/>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9"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20" name="Picture 19"/>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6522659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_1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35877"/>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375661"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10">
            <a:extLst>
              <a:ext uri="{FF2B5EF4-FFF2-40B4-BE49-F238E27FC236}">
                <a16:creationId xmlns:a16="http://schemas.microsoft.com/office/drawing/2014/main" id="{884ED785-1C5E-4F78-A275-F34C3AEAE06F}"/>
              </a:ext>
            </a:extLst>
          </p:cNvPr>
          <p:cNvSpPr>
            <a:spLocks noGrp="1"/>
          </p:cNvSpPr>
          <p:nvPr>
            <p:ph type="body" sz="quarter" idx="22" hasCustomPrompt="1"/>
          </p:nvPr>
        </p:nvSpPr>
        <p:spPr>
          <a:xfrm>
            <a:off x="517610"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9">
            <a:extLst>
              <a:ext uri="{FF2B5EF4-FFF2-40B4-BE49-F238E27FC236}">
                <a16:creationId xmlns:a16="http://schemas.microsoft.com/office/drawing/2014/main" id="{8992EC07-F579-4A40-AAD6-B8347D980B99}"/>
              </a:ext>
            </a:extLst>
          </p:cNvPr>
          <p:cNvSpPr>
            <a:spLocks noGrp="1"/>
          </p:cNvSpPr>
          <p:nvPr>
            <p:ph type="body" sz="quarter" idx="23"/>
          </p:nvPr>
        </p:nvSpPr>
        <p:spPr>
          <a:xfrm>
            <a:off x="517526"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14" name="Connecteur droit 13">
            <a:extLst>
              <a:ext uri="{FF2B5EF4-FFF2-40B4-BE49-F238E27FC236}">
                <a16:creationId xmlns:a16="http://schemas.microsoft.com/office/drawing/2014/main" id="{7C5E9985-FD1E-428E-A038-1833C2306C28}"/>
              </a:ext>
            </a:extLst>
          </p:cNvPr>
          <p:cNvCxnSpPr>
            <a:cxnSpLocks/>
          </p:cNvCxnSpPr>
          <p:nvPr userDrawn="1"/>
        </p:nvCxnSpPr>
        <p:spPr>
          <a:xfrm>
            <a:off x="375661"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texte 10">
            <a:extLst>
              <a:ext uri="{FF2B5EF4-FFF2-40B4-BE49-F238E27FC236}">
                <a16:creationId xmlns:a16="http://schemas.microsoft.com/office/drawing/2014/main" id="{B3933DBD-2D64-49E5-9665-2D4D428F0437}"/>
              </a:ext>
            </a:extLst>
          </p:cNvPr>
          <p:cNvSpPr>
            <a:spLocks noGrp="1"/>
          </p:cNvSpPr>
          <p:nvPr>
            <p:ph type="body" sz="quarter" idx="24" hasCustomPrompt="1"/>
          </p:nvPr>
        </p:nvSpPr>
        <p:spPr>
          <a:xfrm>
            <a:off x="4572084"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5" name="Espace réservé du texte 9">
            <a:extLst>
              <a:ext uri="{FF2B5EF4-FFF2-40B4-BE49-F238E27FC236}">
                <a16:creationId xmlns:a16="http://schemas.microsoft.com/office/drawing/2014/main" id="{6500DBB1-D65A-4FD5-9F9B-A5027F560FD1}"/>
              </a:ext>
            </a:extLst>
          </p:cNvPr>
          <p:cNvSpPr>
            <a:spLocks noGrp="1"/>
          </p:cNvSpPr>
          <p:nvPr>
            <p:ph type="body" sz="quarter" idx="25"/>
          </p:nvPr>
        </p:nvSpPr>
        <p:spPr>
          <a:xfrm>
            <a:off x="4572001"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6" name="Connecteur droit 25">
            <a:extLst>
              <a:ext uri="{FF2B5EF4-FFF2-40B4-BE49-F238E27FC236}">
                <a16:creationId xmlns:a16="http://schemas.microsoft.com/office/drawing/2014/main" id="{C778CDC4-5FA1-4048-9A78-5B42F7B95A26}"/>
              </a:ext>
            </a:extLst>
          </p:cNvPr>
          <p:cNvCxnSpPr>
            <a:cxnSpLocks/>
          </p:cNvCxnSpPr>
          <p:nvPr userDrawn="1"/>
        </p:nvCxnSpPr>
        <p:spPr>
          <a:xfrm>
            <a:off x="4430136"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Espace réservé du texte 10">
            <a:extLst>
              <a:ext uri="{FF2B5EF4-FFF2-40B4-BE49-F238E27FC236}">
                <a16:creationId xmlns:a16="http://schemas.microsoft.com/office/drawing/2014/main" id="{58300066-BB96-4C12-B605-19344574F918}"/>
              </a:ext>
            </a:extLst>
          </p:cNvPr>
          <p:cNvSpPr>
            <a:spLocks noGrp="1"/>
          </p:cNvSpPr>
          <p:nvPr>
            <p:ph type="body" sz="quarter" idx="26" hasCustomPrompt="1"/>
          </p:nvPr>
        </p:nvSpPr>
        <p:spPr>
          <a:xfrm>
            <a:off x="4572084"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9" name="Espace réservé du texte 9">
            <a:extLst>
              <a:ext uri="{FF2B5EF4-FFF2-40B4-BE49-F238E27FC236}">
                <a16:creationId xmlns:a16="http://schemas.microsoft.com/office/drawing/2014/main" id="{90E4005E-EE52-414F-9FD7-3E4E4439CC01}"/>
              </a:ext>
            </a:extLst>
          </p:cNvPr>
          <p:cNvSpPr>
            <a:spLocks noGrp="1"/>
          </p:cNvSpPr>
          <p:nvPr>
            <p:ph type="body" sz="quarter" idx="27"/>
          </p:nvPr>
        </p:nvSpPr>
        <p:spPr>
          <a:xfrm>
            <a:off x="4572001"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30" name="Connecteur droit 29">
            <a:extLst>
              <a:ext uri="{FF2B5EF4-FFF2-40B4-BE49-F238E27FC236}">
                <a16:creationId xmlns:a16="http://schemas.microsoft.com/office/drawing/2014/main" id="{920CA81A-996E-455B-A7A4-21D294E47153}"/>
              </a:ext>
            </a:extLst>
          </p:cNvPr>
          <p:cNvCxnSpPr>
            <a:cxnSpLocks/>
          </p:cNvCxnSpPr>
          <p:nvPr userDrawn="1"/>
        </p:nvCxnSpPr>
        <p:spPr>
          <a:xfrm>
            <a:off x="4430136"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8">
            <a:extLst>
              <a:ext uri="{FF2B5EF4-FFF2-40B4-BE49-F238E27FC236}">
                <a16:creationId xmlns:a16="http://schemas.microsoft.com/office/drawing/2014/main" id="{2CD24995-E0DC-4BC5-9CD6-9E2365DF84E6}"/>
              </a:ext>
            </a:extLst>
          </p:cNvPr>
          <p:cNvSpPr>
            <a:spLocks noGrp="1"/>
          </p:cNvSpPr>
          <p:nvPr>
            <p:ph type="body" sz="quarter" idx="19"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Tree>
    <p:extLst>
      <p:ext uri="{BB962C8B-B14F-4D97-AF65-F5344CB8AC3E}">
        <p14:creationId xmlns:p14="http://schemas.microsoft.com/office/powerpoint/2010/main" val="22486267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ank you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6522721" y="1724722"/>
            <a:ext cx="2142590" cy="1694054"/>
          </a:xfrm>
        </p:spPr>
        <p:txBody>
          <a:bodyPr anchor="ctr" anchorCtr="0"/>
          <a:lstStyle>
            <a:lvl1pPr>
              <a:lnSpc>
                <a:spcPct val="100000"/>
              </a:lnSpc>
              <a:defRPr sz="2600">
                <a:solidFill>
                  <a:schemeClr val="tx2"/>
                </a:solidFill>
                <a:latin typeface="+mj-lt"/>
              </a:defRPr>
            </a:lvl1pPr>
          </a:lstStyle>
          <a:p>
            <a:r>
              <a:rPr lang="en-US" dirty="0"/>
              <a:t>Thank you for your time.</a:t>
            </a:r>
            <a:endParaRPr lang="en-GB" dirty="0"/>
          </a:p>
        </p:txBody>
      </p:sp>
      <p:sp>
        <p:nvSpPr>
          <p:cNvPr id="5" name="Espace réservé du numéro de diapositive 4">
            <a:extLst>
              <a:ext uri="{FF2B5EF4-FFF2-40B4-BE49-F238E27FC236}">
                <a16:creationId xmlns:a16="http://schemas.microsoft.com/office/drawing/2014/main" id="{06E43FDB-370E-4FD7-BAB8-C9EDA7E050E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pic>
        <p:nvPicPr>
          <p:cNvPr id="10" name="Image 9">
            <a:extLst>
              <a:ext uri="{FF2B5EF4-FFF2-40B4-BE49-F238E27FC236}">
                <a16:creationId xmlns:a16="http://schemas.microsoft.com/office/drawing/2014/main" id="{1A3D8EE0-285A-4BE4-8AFD-3AA0313F25B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617835" y="4666659"/>
            <a:ext cx="738761" cy="382981"/>
          </a:xfrm>
          <a:prstGeom prst="rect">
            <a:avLst/>
          </a:prstGeom>
        </p:spPr>
      </p:pic>
      <p:sp>
        <p:nvSpPr>
          <p:cNvPr id="15" name="Espace réservé pour une image  15">
            <a:extLst>
              <a:ext uri="{FF2B5EF4-FFF2-40B4-BE49-F238E27FC236}">
                <a16:creationId xmlns:a16="http://schemas.microsoft.com/office/drawing/2014/main" id="{733DF233-71B1-4D15-B5DF-82B4314D44B2}"/>
              </a:ext>
            </a:extLst>
          </p:cNvPr>
          <p:cNvSpPr>
            <a:spLocks noGrp="1"/>
          </p:cNvSpPr>
          <p:nvPr>
            <p:ph type="pic" sz="quarter" idx="16"/>
          </p:nvPr>
        </p:nvSpPr>
        <p:spPr>
          <a:xfrm>
            <a:off x="252000" y="0"/>
            <a:ext cx="5925280" cy="5143500"/>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a:p>
        </p:txBody>
      </p:sp>
    </p:spTree>
    <p:extLst>
      <p:ext uri="{BB962C8B-B14F-4D97-AF65-F5344CB8AC3E}">
        <p14:creationId xmlns:p14="http://schemas.microsoft.com/office/powerpoint/2010/main" val="334079798"/>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4" name="Rectangle 3"/>
          <p:cNvSpPr/>
          <p:nvPr userDrawn="1"/>
        </p:nvSpPr>
        <p:spPr>
          <a:xfrm>
            <a:off x="251163" y="1"/>
            <a:ext cx="5926117" cy="5143499"/>
          </a:xfrm>
          <a:prstGeom prst="rect">
            <a:avLst/>
          </a:prstGeom>
          <a:blipFill dpi="0" rotWithShape="1">
            <a:blip r:embed="rId2"/>
            <a:srcRect/>
            <a:tile tx="0" ty="0" sx="100000" sy="100000" flip="x"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6522721" y="1724722"/>
            <a:ext cx="2142590" cy="1694054"/>
          </a:xfrm>
        </p:spPr>
        <p:txBody>
          <a:bodyPr anchor="ctr" anchorCtr="0"/>
          <a:lstStyle>
            <a:lvl1pPr>
              <a:lnSpc>
                <a:spcPct val="100000"/>
              </a:lnSpc>
              <a:defRPr sz="2600">
                <a:solidFill>
                  <a:schemeClr val="tx2"/>
                </a:solidFill>
                <a:latin typeface="+mj-lt"/>
              </a:defRPr>
            </a:lvl1pPr>
          </a:lstStyle>
          <a:p>
            <a:r>
              <a:rPr lang="en-US" dirty="0"/>
              <a:t>Thank you for your time.</a:t>
            </a:r>
            <a:endParaRPr lang="en-GB" dirty="0"/>
          </a:p>
        </p:txBody>
      </p:sp>
      <p:sp>
        <p:nvSpPr>
          <p:cNvPr id="5" name="Espace réservé du numéro de diapositive 4">
            <a:extLst>
              <a:ext uri="{FF2B5EF4-FFF2-40B4-BE49-F238E27FC236}">
                <a16:creationId xmlns:a16="http://schemas.microsoft.com/office/drawing/2014/main" id="{06E43FDB-370E-4FD7-BAB8-C9EDA7E050E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pic>
        <p:nvPicPr>
          <p:cNvPr id="9" name="Picture 8"/>
          <p:cNvPicPr>
            <a:picLocks noChangeAspect="1"/>
          </p:cNvPicPr>
          <p:nvPr userDrawn="1"/>
        </p:nvPicPr>
        <p:blipFill>
          <a:blip r:embed="rId3"/>
          <a:stretch>
            <a:fillRect/>
          </a:stretch>
        </p:blipFill>
        <p:spPr>
          <a:xfrm>
            <a:off x="7888627" y="4752975"/>
            <a:ext cx="719138" cy="398219"/>
          </a:xfrm>
          <a:prstGeom prst="rect">
            <a:avLst/>
          </a:prstGeom>
        </p:spPr>
      </p:pic>
    </p:spTree>
    <p:extLst>
      <p:ext uri="{BB962C8B-B14F-4D97-AF65-F5344CB8AC3E}">
        <p14:creationId xmlns:p14="http://schemas.microsoft.com/office/powerpoint/2010/main" val="334716281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ront page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grpSp>
        <p:nvGrpSpPr>
          <p:cNvPr id="12" name="Groupe 11"/>
          <p:cNvGrpSpPr/>
          <p:nvPr userDrawn="1"/>
        </p:nvGrpSpPr>
        <p:grpSpPr>
          <a:xfrm>
            <a:off x="5120641" y="1"/>
            <a:ext cx="3760807" cy="5143499"/>
            <a:chOff x="5120640" y="0"/>
            <a:chExt cx="3760807" cy="5143499"/>
          </a:xfrm>
          <a:blipFill dpi="0" rotWithShape="1">
            <a:blip r:embed="rId2"/>
            <a:srcRect/>
            <a:stretch>
              <a:fillRect l="-20000" t="-2000"/>
            </a:stretch>
          </a:blipFill>
        </p:grpSpPr>
        <p:sp>
          <p:nvSpPr>
            <p:cNvPr id="16" name="Rectangle 15"/>
            <p:cNvSpPr/>
            <p:nvPr userDrawn="1"/>
          </p:nvSpPr>
          <p:spPr>
            <a:xfrm>
              <a:off x="5120640" y="0"/>
              <a:ext cx="1754722" cy="40644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p:cNvSpPr/>
            <p:nvPr userDrawn="1"/>
          </p:nvSpPr>
          <p:spPr>
            <a:xfrm>
              <a:off x="7134837" y="952150"/>
              <a:ext cx="1746610" cy="41913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gr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pic>
        <p:nvPicPr>
          <p:cNvPr id="15"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38338974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ront page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2" name="Espace réservé pour une image  11">
            <a:extLst>
              <a:ext uri="{FF2B5EF4-FFF2-40B4-BE49-F238E27FC236}">
                <a16:creationId xmlns:a16="http://schemas.microsoft.com/office/drawing/2014/main" id="{8BF4F207-E709-42A4-9B4C-9D25C5BF97B5}"/>
              </a:ext>
            </a:extLst>
          </p:cNvPr>
          <p:cNvSpPr>
            <a:spLocks noGrp="1"/>
          </p:cNvSpPr>
          <p:nvPr>
            <p:ph type="pic" sz="quarter" idx="10"/>
          </p:nvPr>
        </p:nvSpPr>
        <p:spPr>
          <a:xfrm>
            <a:off x="5120641" y="3"/>
            <a:ext cx="3763616" cy="5143499"/>
          </a:xfrm>
          <a:custGeom>
            <a:avLst/>
            <a:gdLst>
              <a:gd name="connsiteX0" fmla="*/ 2013644 w 3763616"/>
              <a:gd name="connsiteY0" fmla="*/ 954192 h 5143499"/>
              <a:gd name="connsiteX1" fmla="*/ 3763616 w 3763616"/>
              <a:gd name="connsiteY1" fmla="*/ 954192 h 5143499"/>
              <a:gd name="connsiteX2" fmla="*/ 3763616 w 3763616"/>
              <a:gd name="connsiteY2" fmla="*/ 5143499 h 5143499"/>
              <a:gd name="connsiteX3" fmla="*/ 2013644 w 3763616"/>
              <a:gd name="connsiteY3" fmla="*/ 5143499 h 5143499"/>
              <a:gd name="connsiteX4" fmla="*/ 0 w 3763616"/>
              <a:gd name="connsiteY4" fmla="*/ 0 h 5143499"/>
              <a:gd name="connsiteX5" fmla="*/ 1749972 w 3763616"/>
              <a:gd name="connsiteY5" fmla="*/ 0 h 5143499"/>
              <a:gd name="connsiteX6" fmla="*/ 1749972 w 3763616"/>
              <a:gd name="connsiteY6" fmla="*/ 4067882 h 5143499"/>
              <a:gd name="connsiteX7" fmla="*/ 0 w 3763616"/>
              <a:gd name="connsiteY7" fmla="*/ 406788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3616" h="5143499">
                <a:moveTo>
                  <a:pt x="2013644" y="954192"/>
                </a:moveTo>
                <a:lnTo>
                  <a:pt x="3763616" y="954192"/>
                </a:lnTo>
                <a:lnTo>
                  <a:pt x="3763616" y="5143499"/>
                </a:lnTo>
                <a:lnTo>
                  <a:pt x="2013644" y="5143499"/>
                </a:lnTo>
                <a:close/>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pic>
        <p:nvPicPr>
          <p:cNvPr id="8"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30581045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ront page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sp>
        <p:nvSpPr>
          <p:cNvPr id="8" name="Espace réservé du texte 3">
            <a:extLst>
              <a:ext uri="{FF2B5EF4-FFF2-40B4-BE49-F238E27FC236}">
                <a16:creationId xmlns:a16="http://schemas.microsoft.com/office/drawing/2014/main" id="{382570B0-A940-4837-AF85-EB90947594C7}"/>
              </a:ext>
            </a:extLst>
          </p:cNvPr>
          <p:cNvSpPr>
            <a:spLocks noGrp="1"/>
          </p:cNvSpPr>
          <p:nvPr>
            <p:ph type="body" sz="quarter" idx="14" hasCustomPrompt="1"/>
          </p:nvPr>
        </p:nvSpPr>
        <p:spPr>
          <a:xfrm>
            <a:off x="335280" y="3157326"/>
            <a:ext cx="4785360" cy="462800"/>
          </a:xfrm>
          <a:solidFill>
            <a:schemeClr val="bg1"/>
          </a:solidFill>
        </p:spPr>
        <p:txBody>
          <a:bodyPr lIns="180000" rIns="180000">
            <a:normAutofit/>
          </a:bodyPr>
          <a:lstStyle>
            <a:lvl1pPr>
              <a:lnSpc>
                <a:spcPct val="100000"/>
              </a:lnSpc>
              <a:defRPr sz="1400">
                <a:solidFill>
                  <a:schemeClr val="accent3"/>
                </a:solidFill>
                <a:latin typeface="+mn-lt"/>
              </a:defRPr>
            </a:lvl1pPr>
            <a:lvl2pPr>
              <a:defRPr sz="1200"/>
            </a:lvl2pPr>
            <a:lvl3pPr>
              <a:defRPr sz="1200"/>
            </a:lvl3pPr>
            <a:lvl4pPr>
              <a:defRPr sz="1200"/>
            </a:lvl4pPr>
            <a:lvl5pPr>
              <a:defRPr sz="1200"/>
            </a:lvl5pPr>
          </a:lstStyle>
          <a:p>
            <a:pPr lvl="0"/>
            <a:r>
              <a:rPr lang="en-US" dirty="0"/>
              <a:t>Enter the subtitle of your presentation</a:t>
            </a:r>
          </a:p>
        </p:txBody>
      </p:sp>
      <p:grpSp>
        <p:nvGrpSpPr>
          <p:cNvPr id="13" name="Groupe 12"/>
          <p:cNvGrpSpPr/>
          <p:nvPr userDrawn="1"/>
        </p:nvGrpSpPr>
        <p:grpSpPr>
          <a:xfrm>
            <a:off x="5120641" y="1"/>
            <a:ext cx="3760807" cy="5143499"/>
            <a:chOff x="5120640" y="0"/>
            <a:chExt cx="3760807" cy="5143499"/>
          </a:xfrm>
          <a:blipFill dpi="0" rotWithShape="1">
            <a:blip r:embed="rId2"/>
            <a:srcRect/>
            <a:stretch>
              <a:fillRect l="-20000" t="-2000"/>
            </a:stretch>
          </a:blipFill>
        </p:grpSpPr>
        <p:sp>
          <p:nvSpPr>
            <p:cNvPr id="16" name="Rectangle 15"/>
            <p:cNvSpPr/>
            <p:nvPr userDrawn="1"/>
          </p:nvSpPr>
          <p:spPr>
            <a:xfrm>
              <a:off x="5120640" y="0"/>
              <a:ext cx="1754722" cy="40644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7" name="Rectangle 16"/>
            <p:cNvSpPr/>
            <p:nvPr userDrawn="1"/>
          </p:nvSpPr>
          <p:spPr>
            <a:xfrm>
              <a:off x="7134837" y="952150"/>
              <a:ext cx="1746610" cy="41913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grpSp>
      <p:pic>
        <p:nvPicPr>
          <p:cNvPr id="12"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18870648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ront page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2" name="Espace réservé pour une image  11">
            <a:extLst>
              <a:ext uri="{FF2B5EF4-FFF2-40B4-BE49-F238E27FC236}">
                <a16:creationId xmlns:a16="http://schemas.microsoft.com/office/drawing/2014/main" id="{8BF4F207-E709-42A4-9B4C-9D25C5BF97B5}"/>
              </a:ext>
            </a:extLst>
          </p:cNvPr>
          <p:cNvSpPr>
            <a:spLocks noGrp="1"/>
          </p:cNvSpPr>
          <p:nvPr>
            <p:ph type="pic" sz="quarter" idx="10"/>
          </p:nvPr>
        </p:nvSpPr>
        <p:spPr>
          <a:xfrm>
            <a:off x="5120641" y="3"/>
            <a:ext cx="3763616" cy="5143499"/>
          </a:xfrm>
          <a:custGeom>
            <a:avLst/>
            <a:gdLst>
              <a:gd name="connsiteX0" fmla="*/ 2013644 w 3763616"/>
              <a:gd name="connsiteY0" fmla="*/ 954192 h 5143499"/>
              <a:gd name="connsiteX1" fmla="*/ 3763616 w 3763616"/>
              <a:gd name="connsiteY1" fmla="*/ 954192 h 5143499"/>
              <a:gd name="connsiteX2" fmla="*/ 3763616 w 3763616"/>
              <a:gd name="connsiteY2" fmla="*/ 5143499 h 5143499"/>
              <a:gd name="connsiteX3" fmla="*/ 2013644 w 3763616"/>
              <a:gd name="connsiteY3" fmla="*/ 5143499 h 5143499"/>
              <a:gd name="connsiteX4" fmla="*/ 0 w 3763616"/>
              <a:gd name="connsiteY4" fmla="*/ 0 h 5143499"/>
              <a:gd name="connsiteX5" fmla="*/ 1749972 w 3763616"/>
              <a:gd name="connsiteY5" fmla="*/ 0 h 5143499"/>
              <a:gd name="connsiteX6" fmla="*/ 1749972 w 3763616"/>
              <a:gd name="connsiteY6" fmla="*/ 4067882 h 5143499"/>
              <a:gd name="connsiteX7" fmla="*/ 0 w 3763616"/>
              <a:gd name="connsiteY7" fmla="*/ 406788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3616" h="5143499">
                <a:moveTo>
                  <a:pt x="2013644" y="954192"/>
                </a:moveTo>
                <a:lnTo>
                  <a:pt x="3763616" y="954192"/>
                </a:lnTo>
                <a:lnTo>
                  <a:pt x="3763616" y="5143499"/>
                </a:lnTo>
                <a:lnTo>
                  <a:pt x="2013644" y="5143499"/>
                </a:lnTo>
                <a:close/>
                <a:moveTo>
                  <a:pt x="0" y="0"/>
                </a:moveTo>
                <a:lnTo>
                  <a:pt x="1749972" y="0"/>
                </a:lnTo>
                <a:lnTo>
                  <a:pt x="1749972" y="4067882"/>
                </a:lnTo>
                <a:lnTo>
                  <a:pt x="0" y="4067882"/>
                </a:lnTo>
                <a:close/>
              </a:path>
            </a:pathLst>
          </a:custGeom>
          <a:ln>
            <a:noFill/>
          </a:ln>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sp>
        <p:nvSpPr>
          <p:cNvPr id="8" name="Espace réservé du texte 3">
            <a:extLst>
              <a:ext uri="{FF2B5EF4-FFF2-40B4-BE49-F238E27FC236}">
                <a16:creationId xmlns:a16="http://schemas.microsoft.com/office/drawing/2014/main" id="{382570B0-A940-4837-AF85-EB90947594C7}"/>
              </a:ext>
            </a:extLst>
          </p:cNvPr>
          <p:cNvSpPr>
            <a:spLocks noGrp="1"/>
          </p:cNvSpPr>
          <p:nvPr>
            <p:ph type="body" sz="quarter" idx="14" hasCustomPrompt="1"/>
          </p:nvPr>
        </p:nvSpPr>
        <p:spPr>
          <a:xfrm>
            <a:off x="335280" y="3157326"/>
            <a:ext cx="4785360" cy="462800"/>
          </a:xfrm>
          <a:solidFill>
            <a:schemeClr val="bg1"/>
          </a:solidFill>
        </p:spPr>
        <p:txBody>
          <a:bodyPr lIns="180000" rIns="180000">
            <a:normAutofit/>
          </a:bodyPr>
          <a:lstStyle>
            <a:lvl1pPr>
              <a:lnSpc>
                <a:spcPct val="100000"/>
              </a:lnSpc>
              <a:defRPr sz="1400">
                <a:solidFill>
                  <a:schemeClr val="accent3"/>
                </a:solidFill>
                <a:latin typeface="+mn-lt"/>
              </a:defRPr>
            </a:lvl1pPr>
            <a:lvl2pPr>
              <a:defRPr sz="1200"/>
            </a:lvl2pPr>
            <a:lvl3pPr>
              <a:defRPr sz="1200"/>
            </a:lvl3pPr>
            <a:lvl4pPr>
              <a:defRPr sz="1200"/>
            </a:lvl4pPr>
            <a:lvl5pPr>
              <a:defRPr sz="1200"/>
            </a:lvl5pPr>
          </a:lstStyle>
          <a:p>
            <a:pPr lvl="0"/>
            <a:r>
              <a:rPr lang="en-US" dirty="0"/>
              <a:t>Enter the subtitle of your presentation</a:t>
            </a:r>
          </a:p>
        </p:txBody>
      </p:sp>
      <p:pic>
        <p:nvPicPr>
          <p:cNvPr id="10"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25040873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ummary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Rectangle 1"/>
          <p:cNvSpPr/>
          <p:nvPr userDrawn="1"/>
        </p:nvSpPr>
        <p:spPr>
          <a:xfrm>
            <a:off x="133744" y="0"/>
            <a:ext cx="1749972" cy="4067884"/>
          </a:xfrm>
          <a:prstGeom prst="rect">
            <a:avLst/>
          </a:prstGeom>
          <a:blipFill dpi="0" rotWithShape="1">
            <a:blip r:embed="rId2"/>
            <a:srcRect/>
            <a:tile tx="-1524000" ty="-1016000" sx="100000" sy="100000" flip="y"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07304" y="1104901"/>
            <a:ext cx="653672" cy="689175"/>
          </a:xfrm>
        </p:spPr>
        <p:txBody>
          <a:bodyPr anchor="ctr" anchorCtr="0">
            <a:noAutofit/>
          </a:bodyPr>
          <a:lstStyle>
            <a:lvl1pPr algn="r">
              <a:defRPr sz="44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322638" y="110490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07304" y="2016092"/>
            <a:ext cx="653672" cy="689175"/>
          </a:xfrm>
        </p:spPr>
        <p:txBody>
          <a:bodyPr anchor="ctr" anchorCtr="0">
            <a:noAutofit/>
          </a:bodyPr>
          <a:lstStyle>
            <a:lvl1pPr algn="r">
              <a:defRPr sz="44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322638" y="201609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07304" y="2927083"/>
            <a:ext cx="653672" cy="689175"/>
          </a:xfrm>
        </p:spPr>
        <p:txBody>
          <a:bodyPr anchor="ctr" anchorCtr="0">
            <a:noAutofit/>
          </a:bodyPr>
          <a:lstStyle>
            <a:lvl1pPr algn="r">
              <a:defRPr sz="44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322638" y="292708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07304" y="3837872"/>
            <a:ext cx="653672" cy="689175"/>
          </a:xfrm>
        </p:spPr>
        <p:txBody>
          <a:bodyPr anchor="ctr" anchorCtr="0">
            <a:noAutofit/>
          </a:bodyPr>
          <a:lstStyle>
            <a:lvl1pPr algn="r">
              <a:defRPr sz="44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322638" y="383787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25"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19" name="Picture 18"/>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714429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ummary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10" name="Espace réservé pour une image  9">
            <a:extLst>
              <a:ext uri="{FF2B5EF4-FFF2-40B4-BE49-F238E27FC236}">
                <a16:creationId xmlns:a16="http://schemas.microsoft.com/office/drawing/2014/main" id="{2481741F-42DC-4FF8-AD9C-1FB7F7BE9822}"/>
              </a:ext>
            </a:extLst>
          </p:cNvPr>
          <p:cNvSpPr>
            <a:spLocks noGrp="1"/>
          </p:cNvSpPr>
          <p:nvPr>
            <p:ph type="pic" sz="quarter" idx="10"/>
          </p:nvPr>
        </p:nvSpPr>
        <p:spPr>
          <a:xfrm>
            <a:off x="133744" y="3"/>
            <a:ext cx="1749972" cy="4067882"/>
          </a:xfrm>
          <a:custGeom>
            <a:avLst/>
            <a:gdLst>
              <a:gd name="connsiteX0" fmla="*/ 0 w 1749972"/>
              <a:gd name="connsiteY0" fmla="*/ 0 h 4067882"/>
              <a:gd name="connsiteX1" fmla="*/ 1749972 w 1749972"/>
              <a:gd name="connsiteY1" fmla="*/ 0 h 4067882"/>
              <a:gd name="connsiteX2" fmla="*/ 1749972 w 1749972"/>
              <a:gd name="connsiteY2" fmla="*/ 4067882 h 4067882"/>
              <a:gd name="connsiteX3" fmla="*/ 0 w 1749972"/>
              <a:gd name="connsiteY3" fmla="*/ 4067882 h 4067882"/>
            </a:gdLst>
            <a:ahLst/>
            <a:cxnLst>
              <a:cxn ang="0">
                <a:pos x="connsiteX0" y="connsiteY0"/>
              </a:cxn>
              <a:cxn ang="0">
                <a:pos x="connsiteX1" y="connsiteY1"/>
              </a:cxn>
              <a:cxn ang="0">
                <a:pos x="connsiteX2" y="connsiteY2"/>
              </a:cxn>
              <a:cxn ang="0">
                <a:pos x="connsiteX3" y="connsiteY3"/>
              </a:cxn>
            </a:cxnLst>
            <a:rect l="l" t="t" r="r" b="b"/>
            <a:pathLst>
              <a:path w="1749972" h="4067882">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07304" y="1104901"/>
            <a:ext cx="653672" cy="689175"/>
          </a:xfrm>
        </p:spPr>
        <p:txBody>
          <a:bodyPr anchor="ctr" anchorCtr="0">
            <a:noAutofit/>
          </a:bodyPr>
          <a:lstStyle>
            <a:lvl1pPr algn="r">
              <a:defRPr sz="44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322638" y="110490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07304" y="2016092"/>
            <a:ext cx="653672" cy="689175"/>
          </a:xfrm>
        </p:spPr>
        <p:txBody>
          <a:bodyPr anchor="ctr" anchorCtr="0">
            <a:noAutofit/>
          </a:bodyPr>
          <a:lstStyle>
            <a:lvl1pPr algn="r">
              <a:defRPr sz="44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322638" y="201609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07304" y="2927083"/>
            <a:ext cx="653672" cy="689175"/>
          </a:xfrm>
        </p:spPr>
        <p:txBody>
          <a:bodyPr anchor="ctr" anchorCtr="0">
            <a:noAutofit/>
          </a:bodyPr>
          <a:lstStyle>
            <a:lvl1pPr algn="r">
              <a:defRPr sz="44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322638" y="292708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07304" y="3837872"/>
            <a:ext cx="653672" cy="689175"/>
          </a:xfrm>
        </p:spPr>
        <p:txBody>
          <a:bodyPr anchor="ctr" anchorCtr="0">
            <a:noAutofit/>
          </a:bodyPr>
          <a:lstStyle>
            <a:lvl1pPr algn="r">
              <a:defRPr sz="44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322638" y="383787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9"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20" name="Picture 19"/>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40518851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ummary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Rectangle 1"/>
          <p:cNvSpPr/>
          <p:nvPr userDrawn="1"/>
        </p:nvSpPr>
        <p:spPr>
          <a:xfrm>
            <a:off x="133744" y="0"/>
            <a:ext cx="1749972" cy="4067884"/>
          </a:xfrm>
          <a:prstGeom prst="rect">
            <a:avLst/>
          </a:prstGeom>
          <a:blipFill>
            <a:blip r:embed="rId2"/>
            <a:tile tx="-1524000" ty="-1016000" sx="100000" sy="100000" flip="y"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37784" y="1104901"/>
            <a:ext cx="593415" cy="689175"/>
          </a:xfrm>
        </p:spPr>
        <p:txBody>
          <a:bodyPr anchor="ctr" anchorCtr="0">
            <a:noAutofit/>
          </a:bodyPr>
          <a:lstStyle>
            <a:lvl1pPr algn="r">
              <a:defRPr sz="36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261677"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37784" y="2016092"/>
            <a:ext cx="593415" cy="689175"/>
          </a:xfrm>
        </p:spPr>
        <p:txBody>
          <a:bodyPr anchor="ctr" anchorCtr="0">
            <a:noAutofit/>
          </a:bodyPr>
          <a:lstStyle>
            <a:lvl1pPr algn="r">
              <a:defRPr sz="36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261677"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37784" y="2927083"/>
            <a:ext cx="593415" cy="689175"/>
          </a:xfrm>
        </p:spPr>
        <p:txBody>
          <a:bodyPr anchor="ctr" anchorCtr="0">
            <a:noAutofit/>
          </a:bodyPr>
          <a:lstStyle>
            <a:lvl1pPr algn="r">
              <a:defRPr sz="36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261677"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37784" y="3837872"/>
            <a:ext cx="593415" cy="689175"/>
          </a:xfrm>
        </p:spPr>
        <p:txBody>
          <a:bodyPr anchor="ctr" anchorCtr="0">
            <a:noAutofit/>
          </a:bodyPr>
          <a:lstStyle>
            <a:lvl1pPr algn="r">
              <a:defRPr sz="36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261677"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8" name="Espace réservé du texte 3">
            <a:extLst>
              <a:ext uri="{FF2B5EF4-FFF2-40B4-BE49-F238E27FC236}">
                <a16:creationId xmlns:a16="http://schemas.microsoft.com/office/drawing/2014/main" id="{8C8C9E17-5906-4CF2-8294-4730AFFE67B1}"/>
              </a:ext>
            </a:extLst>
          </p:cNvPr>
          <p:cNvSpPr>
            <a:spLocks noGrp="1"/>
          </p:cNvSpPr>
          <p:nvPr>
            <p:ph type="body" sz="quarter" idx="19" hasCustomPrompt="1"/>
          </p:nvPr>
        </p:nvSpPr>
        <p:spPr>
          <a:xfrm>
            <a:off x="5961901" y="1104901"/>
            <a:ext cx="593415" cy="689175"/>
          </a:xfrm>
        </p:spPr>
        <p:txBody>
          <a:bodyPr anchor="ctr" anchorCtr="0">
            <a:noAutofit/>
          </a:bodyPr>
          <a:lstStyle>
            <a:lvl1pPr algn="r">
              <a:defRPr sz="3600" b="1">
                <a:latin typeface="+mj-lt"/>
              </a:defRPr>
            </a:lvl1pPr>
          </a:lstStyle>
          <a:p>
            <a:pPr lvl="0"/>
            <a:r>
              <a:rPr lang="fr-FR" dirty="0"/>
              <a:t>5</a:t>
            </a:r>
            <a:endParaRPr lang="en-GB" dirty="0"/>
          </a:p>
        </p:txBody>
      </p:sp>
      <p:sp>
        <p:nvSpPr>
          <p:cNvPr id="19" name="Espace réservé du texte 7">
            <a:extLst>
              <a:ext uri="{FF2B5EF4-FFF2-40B4-BE49-F238E27FC236}">
                <a16:creationId xmlns:a16="http://schemas.microsoft.com/office/drawing/2014/main" id="{6BC88C6A-B62E-4E4C-963C-A1CD87DCCD76}"/>
              </a:ext>
            </a:extLst>
          </p:cNvPr>
          <p:cNvSpPr>
            <a:spLocks noGrp="1"/>
          </p:cNvSpPr>
          <p:nvPr>
            <p:ph type="body" sz="quarter" idx="20" hasCustomPrompt="1"/>
          </p:nvPr>
        </p:nvSpPr>
        <p:spPr>
          <a:xfrm>
            <a:off x="6585794"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fth chapter</a:t>
            </a:r>
            <a:endParaRPr lang="fr-FR" dirty="0"/>
          </a:p>
        </p:txBody>
      </p:sp>
      <p:sp>
        <p:nvSpPr>
          <p:cNvPr id="20" name="Espace réservé du texte 3">
            <a:extLst>
              <a:ext uri="{FF2B5EF4-FFF2-40B4-BE49-F238E27FC236}">
                <a16:creationId xmlns:a16="http://schemas.microsoft.com/office/drawing/2014/main" id="{88F0C468-DD31-49F0-A3A5-29ACF01F68AA}"/>
              </a:ext>
            </a:extLst>
          </p:cNvPr>
          <p:cNvSpPr>
            <a:spLocks noGrp="1"/>
          </p:cNvSpPr>
          <p:nvPr>
            <p:ph type="body" sz="quarter" idx="21" hasCustomPrompt="1"/>
          </p:nvPr>
        </p:nvSpPr>
        <p:spPr>
          <a:xfrm>
            <a:off x="5961901" y="2016092"/>
            <a:ext cx="593415" cy="689175"/>
          </a:xfrm>
        </p:spPr>
        <p:txBody>
          <a:bodyPr anchor="ctr" anchorCtr="0">
            <a:noAutofit/>
          </a:bodyPr>
          <a:lstStyle>
            <a:lvl1pPr algn="r">
              <a:defRPr sz="3600" b="1">
                <a:latin typeface="+mj-lt"/>
              </a:defRPr>
            </a:lvl1pPr>
          </a:lstStyle>
          <a:p>
            <a:pPr lvl="0"/>
            <a:r>
              <a:rPr lang="fr-FR" dirty="0"/>
              <a:t>6</a:t>
            </a:r>
            <a:endParaRPr lang="en-GB" dirty="0"/>
          </a:p>
        </p:txBody>
      </p:sp>
      <p:sp>
        <p:nvSpPr>
          <p:cNvPr id="25" name="Espace réservé du texte 7">
            <a:extLst>
              <a:ext uri="{FF2B5EF4-FFF2-40B4-BE49-F238E27FC236}">
                <a16:creationId xmlns:a16="http://schemas.microsoft.com/office/drawing/2014/main" id="{373FFC4E-CC0C-45E8-A9F4-D8CEEF6BB7C1}"/>
              </a:ext>
            </a:extLst>
          </p:cNvPr>
          <p:cNvSpPr>
            <a:spLocks noGrp="1"/>
          </p:cNvSpPr>
          <p:nvPr>
            <p:ph type="body" sz="quarter" idx="22" hasCustomPrompt="1"/>
          </p:nvPr>
        </p:nvSpPr>
        <p:spPr>
          <a:xfrm>
            <a:off x="6585794"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ixth chapter</a:t>
            </a:r>
            <a:endParaRPr lang="fr-FR" dirty="0"/>
          </a:p>
        </p:txBody>
      </p:sp>
      <p:sp>
        <p:nvSpPr>
          <p:cNvPr id="26" name="Espace réservé du texte 3">
            <a:extLst>
              <a:ext uri="{FF2B5EF4-FFF2-40B4-BE49-F238E27FC236}">
                <a16:creationId xmlns:a16="http://schemas.microsoft.com/office/drawing/2014/main" id="{1938E8D1-6787-407C-AAE7-4E4DFEEC3CAB}"/>
              </a:ext>
            </a:extLst>
          </p:cNvPr>
          <p:cNvSpPr>
            <a:spLocks noGrp="1"/>
          </p:cNvSpPr>
          <p:nvPr>
            <p:ph type="body" sz="quarter" idx="23" hasCustomPrompt="1"/>
          </p:nvPr>
        </p:nvSpPr>
        <p:spPr>
          <a:xfrm>
            <a:off x="5961901" y="2927083"/>
            <a:ext cx="593415" cy="689175"/>
          </a:xfrm>
        </p:spPr>
        <p:txBody>
          <a:bodyPr anchor="ctr" anchorCtr="0">
            <a:noAutofit/>
          </a:bodyPr>
          <a:lstStyle>
            <a:lvl1pPr algn="r">
              <a:defRPr sz="3600" b="1">
                <a:latin typeface="+mj-lt"/>
              </a:defRPr>
            </a:lvl1pPr>
          </a:lstStyle>
          <a:p>
            <a:pPr lvl="0"/>
            <a:r>
              <a:rPr lang="fr-FR" dirty="0"/>
              <a:t>7</a:t>
            </a:r>
            <a:endParaRPr lang="en-GB" dirty="0"/>
          </a:p>
        </p:txBody>
      </p:sp>
      <p:sp>
        <p:nvSpPr>
          <p:cNvPr id="27" name="Espace réservé du texte 7">
            <a:extLst>
              <a:ext uri="{FF2B5EF4-FFF2-40B4-BE49-F238E27FC236}">
                <a16:creationId xmlns:a16="http://schemas.microsoft.com/office/drawing/2014/main" id="{1357C87F-8625-4D55-BAE7-D6A9FDDD340D}"/>
              </a:ext>
            </a:extLst>
          </p:cNvPr>
          <p:cNvSpPr>
            <a:spLocks noGrp="1"/>
          </p:cNvSpPr>
          <p:nvPr>
            <p:ph type="body" sz="quarter" idx="24" hasCustomPrompt="1"/>
          </p:nvPr>
        </p:nvSpPr>
        <p:spPr>
          <a:xfrm>
            <a:off x="6585794"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venth chapter</a:t>
            </a:r>
            <a:endParaRPr lang="fr-FR" dirty="0"/>
          </a:p>
        </p:txBody>
      </p:sp>
      <p:sp>
        <p:nvSpPr>
          <p:cNvPr id="28" name="Espace réservé du texte 3">
            <a:extLst>
              <a:ext uri="{FF2B5EF4-FFF2-40B4-BE49-F238E27FC236}">
                <a16:creationId xmlns:a16="http://schemas.microsoft.com/office/drawing/2014/main" id="{D89999BC-251E-4F61-9201-37E475009391}"/>
              </a:ext>
            </a:extLst>
          </p:cNvPr>
          <p:cNvSpPr>
            <a:spLocks noGrp="1"/>
          </p:cNvSpPr>
          <p:nvPr>
            <p:ph type="body" sz="quarter" idx="25" hasCustomPrompt="1"/>
          </p:nvPr>
        </p:nvSpPr>
        <p:spPr>
          <a:xfrm>
            <a:off x="5961901" y="3837872"/>
            <a:ext cx="593415" cy="689175"/>
          </a:xfrm>
        </p:spPr>
        <p:txBody>
          <a:bodyPr anchor="ctr" anchorCtr="0">
            <a:noAutofit/>
          </a:bodyPr>
          <a:lstStyle>
            <a:lvl1pPr algn="r">
              <a:defRPr sz="3600" b="1">
                <a:latin typeface="+mj-lt"/>
              </a:defRPr>
            </a:lvl1pPr>
          </a:lstStyle>
          <a:p>
            <a:pPr lvl="0"/>
            <a:r>
              <a:rPr lang="fr-FR" dirty="0"/>
              <a:t>8</a:t>
            </a:r>
            <a:endParaRPr lang="en-GB" dirty="0"/>
          </a:p>
        </p:txBody>
      </p:sp>
      <p:sp>
        <p:nvSpPr>
          <p:cNvPr id="29" name="Espace réservé du texte 7">
            <a:extLst>
              <a:ext uri="{FF2B5EF4-FFF2-40B4-BE49-F238E27FC236}">
                <a16:creationId xmlns:a16="http://schemas.microsoft.com/office/drawing/2014/main" id="{8D124088-5A10-4B10-8C05-A7342239E11E}"/>
              </a:ext>
            </a:extLst>
          </p:cNvPr>
          <p:cNvSpPr>
            <a:spLocks noGrp="1"/>
          </p:cNvSpPr>
          <p:nvPr>
            <p:ph type="body" sz="quarter" idx="26" hasCustomPrompt="1"/>
          </p:nvPr>
        </p:nvSpPr>
        <p:spPr>
          <a:xfrm>
            <a:off x="6585794"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eighth chapter</a:t>
            </a:r>
          </a:p>
        </p:txBody>
      </p:sp>
      <p:sp>
        <p:nvSpPr>
          <p:cNvPr id="32"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7"/>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33" name="Picture 32"/>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8457344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ummary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 name="Rectangle 1"/>
          <p:cNvSpPr/>
          <p:nvPr userDrawn="1"/>
        </p:nvSpPr>
        <p:spPr>
          <a:xfrm>
            <a:off x="133744" y="0"/>
            <a:ext cx="1749972" cy="4067884"/>
          </a:xfrm>
          <a:prstGeom prst="rect">
            <a:avLst/>
          </a:prstGeom>
          <a:blipFill>
            <a:blip r:embed="rId2"/>
            <a:tile tx="-1524000" ty="-1016000" sx="100000" sy="100000" flip="y"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4"/>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1"/>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37783" y="1104901"/>
            <a:ext cx="593415" cy="689175"/>
          </a:xfrm>
        </p:spPr>
        <p:txBody>
          <a:bodyPr anchor="ctr" anchorCtr="0">
            <a:noAutofit/>
          </a:bodyPr>
          <a:lstStyle>
            <a:lvl1pPr algn="r">
              <a:defRPr sz="36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261677" y="1104900"/>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37783" y="2016092"/>
            <a:ext cx="593415" cy="689175"/>
          </a:xfrm>
        </p:spPr>
        <p:txBody>
          <a:bodyPr anchor="ctr" anchorCtr="0">
            <a:noAutofit/>
          </a:bodyPr>
          <a:lstStyle>
            <a:lvl1pPr algn="r">
              <a:defRPr sz="36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261677" y="201609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37783" y="2927082"/>
            <a:ext cx="593415" cy="689175"/>
          </a:xfrm>
        </p:spPr>
        <p:txBody>
          <a:bodyPr anchor="ctr" anchorCtr="0">
            <a:noAutofit/>
          </a:bodyPr>
          <a:lstStyle>
            <a:lvl1pPr algn="r">
              <a:defRPr sz="36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261677" y="292708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37783" y="3837871"/>
            <a:ext cx="593415" cy="689175"/>
          </a:xfrm>
        </p:spPr>
        <p:txBody>
          <a:bodyPr anchor="ctr" anchorCtr="0">
            <a:noAutofit/>
          </a:bodyPr>
          <a:lstStyle>
            <a:lvl1pPr algn="r">
              <a:defRPr sz="36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261677" y="3837870"/>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8" name="Espace réservé du texte 3">
            <a:extLst>
              <a:ext uri="{FF2B5EF4-FFF2-40B4-BE49-F238E27FC236}">
                <a16:creationId xmlns:a16="http://schemas.microsoft.com/office/drawing/2014/main" id="{8C8C9E17-5906-4CF2-8294-4730AFFE67B1}"/>
              </a:ext>
            </a:extLst>
          </p:cNvPr>
          <p:cNvSpPr>
            <a:spLocks noGrp="1"/>
          </p:cNvSpPr>
          <p:nvPr>
            <p:ph type="body" sz="quarter" idx="19" hasCustomPrompt="1"/>
          </p:nvPr>
        </p:nvSpPr>
        <p:spPr>
          <a:xfrm>
            <a:off x="5961900" y="1104901"/>
            <a:ext cx="593415" cy="689175"/>
          </a:xfrm>
        </p:spPr>
        <p:txBody>
          <a:bodyPr anchor="ctr" anchorCtr="0">
            <a:noAutofit/>
          </a:bodyPr>
          <a:lstStyle>
            <a:lvl1pPr algn="r">
              <a:defRPr sz="3600" b="1">
                <a:latin typeface="+mj-lt"/>
              </a:defRPr>
            </a:lvl1pPr>
          </a:lstStyle>
          <a:p>
            <a:pPr lvl="0"/>
            <a:r>
              <a:rPr lang="fr-FR" dirty="0"/>
              <a:t>5</a:t>
            </a:r>
            <a:endParaRPr lang="en-GB" dirty="0"/>
          </a:p>
        </p:txBody>
      </p:sp>
      <p:sp>
        <p:nvSpPr>
          <p:cNvPr id="19" name="Espace réservé du texte 7">
            <a:extLst>
              <a:ext uri="{FF2B5EF4-FFF2-40B4-BE49-F238E27FC236}">
                <a16:creationId xmlns:a16="http://schemas.microsoft.com/office/drawing/2014/main" id="{6BC88C6A-B62E-4E4C-963C-A1CD87DCCD76}"/>
              </a:ext>
            </a:extLst>
          </p:cNvPr>
          <p:cNvSpPr>
            <a:spLocks noGrp="1"/>
          </p:cNvSpPr>
          <p:nvPr>
            <p:ph type="body" sz="quarter" idx="20" hasCustomPrompt="1"/>
          </p:nvPr>
        </p:nvSpPr>
        <p:spPr>
          <a:xfrm>
            <a:off x="6585794" y="1104900"/>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fth chapter</a:t>
            </a:r>
            <a:endParaRPr lang="fr-FR" dirty="0"/>
          </a:p>
        </p:txBody>
      </p:sp>
      <p:sp>
        <p:nvSpPr>
          <p:cNvPr id="20" name="Espace réservé du texte 3">
            <a:extLst>
              <a:ext uri="{FF2B5EF4-FFF2-40B4-BE49-F238E27FC236}">
                <a16:creationId xmlns:a16="http://schemas.microsoft.com/office/drawing/2014/main" id="{88F0C468-DD31-49F0-A3A5-29ACF01F68AA}"/>
              </a:ext>
            </a:extLst>
          </p:cNvPr>
          <p:cNvSpPr>
            <a:spLocks noGrp="1"/>
          </p:cNvSpPr>
          <p:nvPr>
            <p:ph type="body" sz="quarter" idx="21" hasCustomPrompt="1"/>
          </p:nvPr>
        </p:nvSpPr>
        <p:spPr>
          <a:xfrm>
            <a:off x="5961900" y="2016092"/>
            <a:ext cx="593415" cy="689175"/>
          </a:xfrm>
        </p:spPr>
        <p:txBody>
          <a:bodyPr anchor="ctr" anchorCtr="0">
            <a:noAutofit/>
          </a:bodyPr>
          <a:lstStyle>
            <a:lvl1pPr algn="r">
              <a:defRPr sz="3600" b="1">
                <a:latin typeface="+mj-lt"/>
              </a:defRPr>
            </a:lvl1pPr>
          </a:lstStyle>
          <a:p>
            <a:pPr lvl="0"/>
            <a:r>
              <a:rPr lang="fr-FR" dirty="0"/>
              <a:t>6</a:t>
            </a:r>
            <a:endParaRPr lang="en-GB" dirty="0"/>
          </a:p>
        </p:txBody>
      </p:sp>
      <p:sp>
        <p:nvSpPr>
          <p:cNvPr id="25" name="Espace réservé du texte 7">
            <a:extLst>
              <a:ext uri="{FF2B5EF4-FFF2-40B4-BE49-F238E27FC236}">
                <a16:creationId xmlns:a16="http://schemas.microsoft.com/office/drawing/2014/main" id="{373FFC4E-CC0C-45E8-A9F4-D8CEEF6BB7C1}"/>
              </a:ext>
            </a:extLst>
          </p:cNvPr>
          <p:cNvSpPr>
            <a:spLocks noGrp="1"/>
          </p:cNvSpPr>
          <p:nvPr>
            <p:ph type="body" sz="quarter" idx="22" hasCustomPrompt="1"/>
          </p:nvPr>
        </p:nvSpPr>
        <p:spPr>
          <a:xfrm>
            <a:off x="6585794" y="201609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ixth chapter</a:t>
            </a:r>
            <a:endParaRPr lang="fr-FR" dirty="0"/>
          </a:p>
        </p:txBody>
      </p:sp>
      <p:sp>
        <p:nvSpPr>
          <p:cNvPr id="26" name="Espace réservé du texte 3">
            <a:extLst>
              <a:ext uri="{FF2B5EF4-FFF2-40B4-BE49-F238E27FC236}">
                <a16:creationId xmlns:a16="http://schemas.microsoft.com/office/drawing/2014/main" id="{1938E8D1-6787-407C-AAE7-4E4DFEEC3CAB}"/>
              </a:ext>
            </a:extLst>
          </p:cNvPr>
          <p:cNvSpPr>
            <a:spLocks noGrp="1"/>
          </p:cNvSpPr>
          <p:nvPr>
            <p:ph type="body" sz="quarter" idx="23" hasCustomPrompt="1"/>
          </p:nvPr>
        </p:nvSpPr>
        <p:spPr>
          <a:xfrm>
            <a:off x="5961900" y="2927082"/>
            <a:ext cx="593415" cy="689175"/>
          </a:xfrm>
        </p:spPr>
        <p:txBody>
          <a:bodyPr anchor="ctr" anchorCtr="0">
            <a:noAutofit/>
          </a:bodyPr>
          <a:lstStyle>
            <a:lvl1pPr algn="r">
              <a:defRPr sz="3600" b="1">
                <a:latin typeface="+mj-lt"/>
              </a:defRPr>
            </a:lvl1pPr>
          </a:lstStyle>
          <a:p>
            <a:pPr lvl="0"/>
            <a:r>
              <a:rPr lang="fr-FR" dirty="0"/>
              <a:t>7</a:t>
            </a:r>
            <a:endParaRPr lang="en-GB" dirty="0"/>
          </a:p>
        </p:txBody>
      </p:sp>
      <p:sp>
        <p:nvSpPr>
          <p:cNvPr id="27" name="Espace réservé du texte 7">
            <a:extLst>
              <a:ext uri="{FF2B5EF4-FFF2-40B4-BE49-F238E27FC236}">
                <a16:creationId xmlns:a16="http://schemas.microsoft.com/office/drawing/2014/main" id="{1357C87F-8625-4D55-BAE7-D6A9FDDD340D}"/>
              </a:ext>
            </a:extLst>
          </p:cNvPr>
          <p:cNvSpPr>
            <a:spLocks noGrp="1"/>
          </p:cNvSpPr>
          <p:nvPr>
            <p:ph type="body" sz="quarter" idx="24" hasCustomPrompt="1"/>
          </p:nvPr>
        </p:nvSpPr>
        <p:spPr>
          <a:xfrm>
            <a:off x="6585794" y="292708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venth chapter</a:t>
            </a:r>
            <a:endParaRPr lang="fr-FR" dirty="0"/>
          </a:p>
        </p:txBody>
      </p:sp>
      <p:sp>
        <p:nvSpPr>
          <p:cNvPr id="28" name="Espace réservé du texte 3">
            <a:extLst>
              <a:ext uri="{FF2B5EF4-FFF2-40B4-BE49-F238E27FC236}">
                <a16:creationId xmlns:a16="http://schemas.microsoft.com/office/drawing/2014/main" id="{D89999BC-251E-4F61-9201-37E475009391}"/>
              </a:ext>
            </a:extLst>
          </p:cNvPr>
          <p:cNvSpPr>
            <a:spLocks noGrp="1"/>
          </p:cNvSpPr>
          <p:nvPr>
            <p:ph type="body" sz="quarter" idx="25" hasCustomPrompt="1"/>
          </p:nvPr>
        </p:nvSpPr>
        <p:spPr>
          <a:xfrm>
            <a:off x="5961900" y="3837871"/>
            <a:ext cx="593415" cy="689175"/>
          </a:xfrm>
        </p:spPr>
        <p:txBody>
          <a:bodyPr anchor="ctr" anchorCtr="0">
            <a:noAutofit/>
          </a:bodyPr>
          <a:lstStyle>
            <a:lvl1pPr algn="r">
              <a:defRPr sz="3600" b="1">
                <a:latin typeface="+mj-lt"/>
              </a:defRPr>
            </a:lvl1pPr>
          </a:lstStyle>
          <a:p>
            <a:pPr lvl="0"/>
            <a:r>
              <a:rPr lang="fr-FR" dirty="0"/>
              <a:t>8</a:t>
            </a:r>
            <a:endParaRPr lang="en-GB" dirty="0"/>
          </a:p>
        </p:txBody>
      </p:sp>
      <p:sp>
        <p:nvSpPr>
          <p:cNvPr id="29" name="Espace réservé du texte 7">
            <a:extLst>
              <a:ext uri="{FF2B5EF4-FFF2-40B4-BE49-F238E27FC236}">
                <a16:creationId xmlns:a16="http://schemas.microsoft.com/office/drawing/2014/main" id="{8D124088-5A10-4B10-8C05-A7342239E11E}"/>
              </a:ext>
            </a:extLst>
          </p:cNvPr>
          <p:cNvSpPr>
            <a:spLocks noGrp="1"/>
          </p:cNvSpPr>
          <p:nvPr>
            <p:ph type="body" sz="quarter" idx="26" hasCustomPrompt="1"/>
          </p:nvPr>
        </p:nvSpPr>
        <p:spPr>
          <a:xfrm>
            <a:off x="6585794" y="3837870"/>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eighth chapter</a:t>
            </a:r>
          </a:p>
        </p:txBody>
      </p:sp>
      <p:sp>
        <p:nvSpPr>
          <p:cNvPr id="32"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7"/>
          </p:nvPr>
        </p:nvSpPr>
        <p:spPr>
          <a:xfrm>
            <a:off x="8607765" y="4846820"/>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33" name="Picture 32"/>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5899249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mmary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10" name="Espace réservé pour une image  9">
            <a:extLst>
              <a:ext uri="{FF2B5EF4-FFF2-40B4-BE49-F238E27FC236}">
                <a16:creationId xmlns:a16="http://schemas.microsoft.com/office/drawing/2014/main" id="{2481741F-42DC-4FF8-AD9C-1FB7F7BE9822}"/>
              </a:ext>
            </a:extLst>
          </p:cNvPr>
          <p:cNvSpPr>
            <a:spLocks noGrp="1"/>
          </p:cNvSpPr>
          <p:nvPr>
            <p:ph type="pic" sz="quarter" idx="10"/>
          </p:nvPr>
        </p:nvSpPr>
        <p:spPr>
          <a:xfrm>
            <a:off x="133744" y="3"/>
            <a:ext cx="1749972" cy="4067882"/>
          </a:xfrm>
          <a:custGeom>
            <a:avLst/>
            <a:gdLst>
              <a:gd name="connsiteX0" fmla="*/ 0 w 1749972"/>
              <a:gd name="connsiteY0" fmla="*/ 0 h 4067882"/>
              <a:gd name="connsiteX1" fmla="*/ 1749972 w 1749972"/>
              <a:gd name="connsiteY1" fmla="*/ 0 h 4067882"/>
              <a:gd name="connsiteX2" fmla="*/ 1749972 w 1749972"/>
              <a:gd name="connsiteY2" fmla="*/ 4067882 h 4067882"/>
              <a:gd name="connsiteX3" fmla="*/ 0 w 1749972"/>
              <a:gd name="connsiteY3" fmla="*/ 4067882 h 4067882"/>
            </a:gdLst>
            <a:ahLst/>
            <a:cxnLst>
              <a:cxn ang="0">
                <a:pos x="connsiteX0" y="connsiteY0"/>
              </a:cxn>
              <a:cxn ang="0">
                <a:pos x="connsiteX1" y="connsiteY1"/>
              </a:cxn>
              <a:cxn ang="0">
                <a:pos x="connsiteX2" y="connsiteY2"/>
              </a:cxn>
              <a:cxn ang="0">
                <a:pos x="connsiteX3" y="connsiteY3"/>
              </a:cxn>
            </a:cxnLst>
            <a:rect l="l" t="t" r="r" b="b"/>
            <a:pathLst>
              <a:path w="1749972" h="4067882">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37784" y="1104901"/>
            <a:ext cx="593415" cy="689175"/>
          </a:xfrm>
        </p:spPr>
        <p:txBody>
          <a:bodyPr anchor="ctr" anchorCtr="0">
            <a:noAutofit/>
          </a:bodyPr>
          <a:lstStyle>
            <a:lvl1pPr algn="r">
              <a:defRPr sz="36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261677"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37784" y="2016092"/>
            <a:ext cx="593415" cy="689175"/>
          </a:xfrm>
        </p:spPr>
        <p:txBody>
          <a:bodyPr anchor="ctr" anchorCtr="0">
            <a:noAutofit/>
          </a:bodyPr>
          <a:lstStyle>
            <a:lvl1pPr algn="r">
              <a:defRPr sz="36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261677"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37784" y="2927083"/>
            <a:ext cx="593415" cy="689175"/>
          </a:xfrm>
        </p:spPr>
        <p:txBody>
          <a:bodyPr anchor="ctr" anchorCtr="0">
            <a:noAutofit/>
          </a:bodyPr>
          <a:lstStyle>
            <a:lvl1pPr algn="r">
              <a:defRPr sz="36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261677"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37784" y="3837872"/>
            <a:ext cx="593415" cy="689175"/>
          </a:xfrm>
        </p:spPr>
        <p:txBody>
          <a:bodyPr anchor="ctr" anchorCtr="0">
            <a:noAutofit/>
          </a:bodyPr>
          <a:lstStyle>
            <a:lvl1pPr algn="r">
              <a:defRPr sz="36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261677"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8" name="Espace réservé du texte 3">
            <a:extLst>
              <a:ext uri="{FF2B5EF4-FFF2-40B4-BE49-F238E27FC236}">
                <a16:creationId xmlns:a16="http://schemas.microsoft.com/office/drawing/2014/main" id="{8C8C9E17-5906-4CF2-8294-4730AFFE67B1}"/>
              </a:ext>
            </a:extLst>
          </p:cNvPr>
          <p:cNvSpPr>
            <a:spLocks noGrp="1"/>
          </p:cNvSpPr>
          <p:nvPr>
            <p:ph type="body" sz="quarter" idx="19" hasCustomPrompt="1"/>
          </p:nvPr>
        </p:nvSpPr>
        <p:spPr>
          <a:xfrm>
            <a:off x="5961901" y="1104901"/>
            <a:ext cx="593415" cy="689175"/>
          </a:xfrm>
        </p:spPr>
        <p:txBody>
          <a:bodyPr anchor="ctr" anchorCtr="0">
            <a:noAutofit/>
          </a:bodyPr>
          <a:lstStyle>
            <a:lvl1pPr algn="r">
              <a:defRPr sz="3600" b="1">
                <a:latin typeface="+mj-lt"/>
              </a:defRPr>
            </a:lvl1pPr>
          </a:lstStyle>
          <a:p>
            <a:pPr lvl="0"/>
            <a:r>
              <a:rPr lang="fr-FR" dirty="0"/>
              <a:t>5</a:t>
            </a:r>
            <a:endParaRPr lang="en-GB" dirty="0"/>
          </a:p>
        </p:txBody>
      </p:sp>
      <p:sp>
        <p:nvSpPr>
          <p:cNvPr id="19" name="Espace réservé du texte 7">
            <a:extLst>
              <a:ext uri="{FF2B5EF4-FFF2-40B4-BE49-F238E27FC236}">
                <a16:creationId xmlns:a16="http://schemas.microsoft.com/office/drawing/2014/main" id="{6BC88C6A-B62E-4E4C-963C-A1CD87DCCD76}"/>
              </a:ext>
            </a:extLst>
          </p:cNvPr>
          <p:cNvSpPr>
            <a:spLocks noGrp="1"/>
          </p:cNvSpPr>
          <p:nvPr>
            <p:ph type="body" sz="quarter" idx="20" hasCustomPrompt="1"/>
          </p:nvPr>
        </p:nvSpPr>
        <p:spPr>
          <a:xfrm>
            <a:off x="6585794" y="110490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fth chapter</a:t>
            </a:r>
            <a:endParaRPr lang="fr-FR" dirty="0"/>
          </a:p>
        </p:txBody>
      </p:sp>
      <p:sp>
        <p:nvSpPr>
          <p:cNvPr id="20" name="Espace réservé du texte 3">
            <a:extLst>
              <a:ext uri="{FF2B5EF4-FFF2-40B4-BE49-F238E27FC236}">
                <a16:creationId xmlns:a16="http://schemas.microsoft.com/office/drawing/2014/main" id="{88F0C468-DD31-49F0-A3A5-29ACF01F68AA}"/>
              </a:ext>
            </a:extLst>
          </p:cNvPr>
          <p:cNvSpPr>
            <a:spLocks noGrp="1"/>
          </p:cNvSpPr>
          <p:nvPr>
            <p:ph type="body" sz="quarter" idx="21" hasCustomPrompt="1"/>
          </p:nvPr>
        </p:nvSpPr>
        <p:spPr>
          <a:xfrm>
            <a:off x="5961901" y="2016092"/>
            <a:ext cx="593415" cy="689175"/>
          </a:xfrm>
        </p:spPr>
        <p:txBody>
          <a:bodyPr anchor="ctr" anchorCtr="0">
            <a:noAutofit/>
          </a:bodyPr>
          <a:lstStyle>
            <a:lvl1pPr algn="r">
              <a:defRPr sz="3600" b="1">
                <a:latin typeface="+mj-lt"/>
              </a:defRPr>
            </a:lvl1pPr>
          </a:lstStyle>
          <a:p>
            <a:pPr lvl="0"/>
            <a:r>
              <a:rPr lang="fr-FR" dirty="0"/>
              <a:t>6</a:t>
            </a:r>
            <a:endParaRPr lang="en-GB" dirty="0"/>
          </a:p>
        </p:txBody>
      </p:sp>
      <p:sp>
        <p:nvSpPr>
          <p:cNvPr id="25" name="Espace réservé du texte 7">
            <a:extLst>
              <a:ext uri="{FF2B5EF4-FFF2-40B4-BE49-F238E27FC236}">
                <a16:creationId xmlns:a16="http://schemas.microsoft.com/office/drawing/2014/main" id="{373FFC4E-CC0C-45E8-A9F4-D8CEEF6BB7C1}"/>
              </a:ext>
            </a:extLst>
          </p:cNvPr>
          <p:cNvSpPr>
            <a:spLocks noGrp="1"/>
          </p:cNvSpPr>
          <p:nvPr>
            <p:ph type="body" sz="quarter" idx="22" hasCustomPrompt="1"/>
          </p:nvPr>
        </p:nvSpPr>
        <p:spPr>
          <a:xfrm>
            <a:off x="6585794" y="201609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ixth chapter</a:t>
            </a:r>
            <a:endParaRPr lang="fr-FR" dirty="0"/>
          </a:p>
        </p:txBody>
      </p:sp>
      <p:sp>
        <p:nvSpPr>
          <p:cNvPr id="26" name="Espace réservé du texte 3">
            <a:extLst>
              <a:ext uri="{FF2B5EF4-FFF2-40B4-BE49-F238E27FC236}">
                <a16:creationId xmlns:a16="http://schemas.microsoft.com/office/drawing/2014/main" id="{1938E8D1-6787-407C-AAE7-4E4DFEEC3CAB}"/>
              </a:ext>
            </a:extLst>
          </p:cNvPr>
          <p:cNvSpPr>
            <a:spLocks noGrp="1"/>
          </p:cNvSpPr>
          <p:nvPr>
            <p:ph type="body" sz="quarter" idx="23" hasCustomPrompt="1"/>
          </p:nvPr>
        </p:nvSpPr>
        <p:spPr>
          <a:xfrm>
            <a:off x="5961901" y="2927083"/>
            <a:ext cx="593415" cy="689175"/>
          </a:xfrm>
        </p:spPr>
        <p:txBody>
          <a:bodyPr anchor="ctr" anchorCtr="0">
            <a:noAutofit/>
          </a:bodyPr>
          <a:lstStyle>
            <a:lvl1pPr algn="r">
              <a:defRPr sz="3600" b="1">
                <a:latin typeface="+mj-lt"/>
              </a:defRPr>
            </a:lvl1pPr>
          </a:lstStyle>
          <a:p>
            <a:pPr lvl="0"/>
            <a:r>
              <a:rPr lang="fr-FR" dirty="0"/>
              <a:t>7</a:t>
            </a:r>
            <a:endParaRPr lang="en-GB" dirty="0"/>
          </a:p>
        </p:txBody>
      </p:sp>
      <p:sp>
        <p:nvSpPr>
          <p:cNvPr id="27" name="Espace réservé du texte 7">
            <a:extLst>
              <a:ext uri="{FF2B5EF4-FFF2-40B4-BE49-F238E27FC236}">
                <a16:creationId xmlns:a16="http://schemas.microsoft.com/office/drawing/2014/main" id="{1357C87F-8625-4D55-BAE7-D6A9FDDD340D}"/>
              </a:ext>
            </a:extLst>
          </p:cNvPr>
          <p:cNvSpPr>
            <a:spLocks noGrp="1"/>
          </p:cNvSpPr>
          <p:nvPr>
            <p:ph type="body" sz="quarter" idx="24" hasCustomPrompt="1"/>
          </p:nvPr>
        </p:nvSpPr>
        <p:spPr>
          <a:xfrm>
            <a:off x="6585794" y="2927082"/>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venth chapter</a:t>
            </a:r>
            <a:endParaRPr lang="fr-FR" dirty="0"/>
          </a:p>
        </p:txBody>
      </p:sp>
      <p:sp>
        <p:nvSpPr>
          <p:cNvPr id="28" name="Espace réservé du texte 3">
            <a:extLst>
              <a:ext uri="{FF2B5EF4-FFF2-40B4-BE49-F238E27FC236}">
                <a16:creationId xmlns:a16="http://schemas.microsoft.com/office/drawing/2014/main" id="{D89999BC-251E-4F61-9201-37E475009391}"/>
              </a:ext>
            </a:extLst>
          </p:cNvPr>
          <p:cNvSpPr>
            <a:spLocks noGrp="1"/>
          </p:cNvSpPr>
          <p:nvPr>
            <p:ph type="body" sz="quarter" idx="25" hasCustomPrompt="1"/>
          </p:nvPr>
        </p:nvSpPr>
        <p:spPr>
          <a:xfrm>
            <a:off x="5961901" y="3837872"/>
            <a:ext cx="593415" cy="689175"/>
          </a:xfrm>
        </p:spPr>
        <p:txBody>
          <a:bodyPr anchor="ctr" anchorCtr="0">
            <a:noAutofit/>
          </a:bodyPr>
          <a:lstStyle>
            <a:lvl1pPr algn="r">
              <a:defRPr sz="3600" b="1">
                <a:latin typeface="+mj-lt"/>
              </a:defRPr>
            </a:lvl1pPr>
          </a:lstStyle>
          <a:p>
            <a:pPr lvl="0"/>
            <a:r>
              <a:rPr lang="fr-FR" dirty="0"/>
              <a:t>8</a:t>
            </a:r>
            <a:endParaRPr lang="en-GB" dirty="0"/>
          </a:p>
        </p:txBody>
      </p:sp>
      <p:sp>
        <p:nvSpPr>
          <p:cNvPr id="29" name="Espace réservé du texte 7">
            <a:extLst>
              <a:ext uri="{FF2B5EF4-FFF2-40B4-BE49-F238E27FC236}">
                <a16:creationId xmlns:a16="http://schemas.microsoft.com/office/drawing/2014/main" id="{8D124088-5A10-4B10-8C05-A7342239E11E}"/>
              </a:ext>
            </a:extLst>
          </p:cNvPr>
          <p:cNvSpPr>
            <a:spLocks noGrp="1"/>
          </p:cNvSpPr>
          <p:nvPr>
            <p:ph type="body" sz="quarter" idx="26" hasCustomPrompt="1"/>
          </p:nvPr>
        </p:nvSpPr>
        <p:spPr>
          <a:xfrm>
            <a:off x="6585794" y="383787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eighth chapter</a:t>
            </a:r>
          </a:p>
        </p:txBody>
      </p:sp>
      <p:sp>
        <p:nvSpPr>
          <p:cNvPr id="32"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7"/>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33" name="Picture 32"/>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091469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pter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3" name="Rectangle 2"/>
          <p:cNvSpPr/>
          <p:nvPr userDrawn="1"/>
        </p:nvSpPr>
        <p:spPr>
          <a:xfrm>
            <a:off x="252001" y="1"/>
            <a:ext cx="4584159" cy="5143499"/>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724722"/>
            <a:ext cx="3483710" cy="1694054"/>
          </a:xfrm>
        </p:spPr>
        <p:txBody>
          <a:bodyPr anchor="ctr"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5" name="Picture 14"/>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65337367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hapter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724722"/>
            <a:ext cx="3483710" cy="1694054"/>
          </a:xfrm>
        </p:spPr>
        <p:txBody>
          <a:bodyPr anchor="ctr"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6" name="Espace réservé pour une image  15">
            <a:extLst>
              <a:ext uri="{FF2B5EF4-FFF2-40B4-BE49-F238E27FC236}">
                <a16:creationId xmlns:a16="http://schemas.microsoft.com/office/drawing/2014/main" id="{D287F594-9B00-4191-9FE6-F8D67CE6B450}"/>
              </a:ext>
            </a:extLst>
          </p:cNvPr>
          <p:cNvSpPr>
            <a:spLocks noGrp="1"/>
          </p:cNvSpPr>
          <p:nvPr>
            <p:ph type="pic" sz="quarter" idx="15"/>
          </p:nvPr>
        </p:nvSpPr>
        <p:spPr>
          <a:xfrm>
            <a:off x="252001" y="1"/>
            <a:ext cx="4584159" cy="5143499"/>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dirty="0"/>
          </a:p>
        </p:txBody>
      </p:sp>
      <p:sp>
        <p:nvSpPr>
          <p:cNvPr id="1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9" name="Picture 18"/>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588130715"/>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4" name="Rectangle 13"/>
          <p:cNvSpPr/>
          <p:nvPr userDrawn="1"/>
        </p:nvSpPr>
        <p:spPr>
          <a:xfrm>
            <a:off x="249380" y="2"/>
            <a:ext cx="4584159" cy="5143499"/>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104902"/>
            <a:ext cx="3483710" cy="1466849"/>
          </a:xfrm>
        </p:spPr>
        <p:txBody>
          <a:bodyPr anchor="b"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95ECD6B1-18BC-49BD-AB68-B94FB9080627}"/>
              </a:ext>
            </a:extLst>
          </p:cNvPr>
          <p:cNvSpPr>
            <a:spLocks noGrp="1"/>
          </p:cNvSpPr>
          <p:nvPr>
            <p:ph type="body" sz="quarter" idx="14" hasCustomPrompt="1"/>
          </p:nvPr>
        </p:nvSpPr>
        <p:spPr>
          <a:xfrm>
            <a:off x="5181601" y="2646547"/>
            <a:ext cx="3482975" cy="1466849"/>
          </a:xfrm>
        </p:spPr>
        <p:txBody>
          <a:bodyPr/>
          <a:lstStyle>
            <a:lvl1pPr>
              <a:lnSpc>
                <a:spcPct val="100000"/>
              </a:lnSpc>
              <a:defRPr sz="1200">
                <a:solidFill>
                  <a:schemeClr val="accent3"/>
                </a:solidFill>
                <a:latin typeface="+mn-lt"/>
              </a:defRPr>
            </a:lvl1pPr>
            <a:lvl2pPr>
              <a:defRPr sz="1200"/>
            </a:lvl2pPr>
            <a:lvl3pPr>
              <a:defRPr sz="1200"/>
            </a:lvl3pPr>
            <a:lvl4pPr>
              <a:defRPr sz="1200"/>
            </a:lvl4pPr>
            <a:lvl5pPr>
              <a:defRPr sz="1200"/>
            </a:lvl5pPr>
          </a:lstStyle>
          <a:p>
            <a:pPr lvl="0"/>
            <a:r>
              <a:rPr lang="en-US" dirty="0"/>
              <a:t>Enter the descriptive text of this chapter in a few lines.</a:t>
            </a:r>
          </a:p>
        </p:txBody>
      </p:sp>
      <p:pic>
        <p:nvPicPr>
          <p:cNvPr id="10" name="Image 9">
            <a:extLst>
              <a:ext uri="{FF2B5EF4-FFF2-40B4-BE49-F238E27FC236}">
                <a16:creationId xmlns:a16="http://schemas.microsoft.com/office/drawing/2014/main" id="{96EF3A9A-11C3-4EF9-A56A-24CF7C103A6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280931" y="4666659"/>
            <a:ext cx="738761" cy="382981"/>
          </a:xfrm>
          <a:prstGeom prst="rect">
            <a:avLst/>
          </a:prstGeom>
        </p:spPr>
      </p:pic>
      <p:sp>
        <p:nvSpPr>
          <p:cNvPr id="15" name="TextBox 14"/>
          <p:cNvSpPr txBox="1"/>
          <p:nvPr userDrawn="1"/>
        </p:nvSpPr>
        <p:spPr>
          <a:xfrm>
            <a:off x="1" y="4622110"/>
            <a:ext cx="876299" cy="523220"/>
          </a:xfrm>
          <a:prstGeom prst="rect">
            <a:avLst/>
          </a:prstGeom>
          <a:solidFill>
            <a:schemeClr val="bg1"/>
          </a:solidFill>
        </p:spPr>
        <p:txBody>
          <a:bodyPr wrap="square" rtlCol="0">
            <a:spAutoFit/>
          </a:bodyPr>
          <a:lstStyle/>
          <a:p>
            <a:endParaRPr lang="fr-FR" sz="1000" dirty="0"/>
          </a:p>
          <a:p>
            <a:endParaRPr lang="fr-FR" sz="1800" dirty="0"/>
          </a:p>
        </p:txBody>
      </p:sp>
      <p:sp>
        <p:nvSpPr>
          <p:cNvPr id="16" name="TextBox 15"/>
          <p:cNvSpPr txBox="1"/>
          <p:nvPr userDrawn="1"/>
        </p:nvSpPr>
        <p:spPr>
          <a:xfrm>
            <a:off x="876300" y="4612585"/>
            <a:ext cx="6982582"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21" name="Picture 20"/>
          <p:cNvPicPr>
            <a:picLocks noChangeAspect="1"/>
          </p:cNvPicPr>
          <p:nvPr userDrawn="1"/>
        </p:nvPicPr>
        <p:blipFill>
          <a:blip r:embed="rId4"/>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24642439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7695"/>
            <a:ext cx="9132811" cy="5158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1" y="1104902"/>
            <a:ext cx="3483710" cy="1466849"/>
          </a:xfrm>
        </p:spPr>
        <p:txBody>
          <a:bodyPr anchor="b"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95ECD6B1-18BC-49BD-AB68-B94FB9080627}"/>
              </a:ext>
            </a:extLst>
          </p:cNvPr>
          <p:cNvSpPr>
            <a:spLocks noGrp="1"/>
          </p:cNvSpPr>
          <p:nvPr>
            <p:ph type="body" sz="quarter" idx="14" hasCustomPrompt="1"/>
          </p:nvPr>
        </p:nvSpPr>
        <p:spPr>
          <a:xfrm>
            <a:off x="5181601" y="2646547"/>
            <a:ext cx="3482975" cy="1466849"/>
          </a:xfrm>
        </p:spPr>
        <p:txBody>
          <a:bodyPr/>
          <a:lstStyle>
            <a:lvl1pPr>
              <a:lnSpc>
                <a:spcPct val="100000"/>
              </a:lnSpc>
              <a:defRPr sz="1200">
                <a:solidFill>
                  <a:schemeClr val="accent3"/>
                </a:solidFill>
                <a:latin typeface="+mn-lt"/>
              </a:defRPr>
            </a:lvl1pPr>
            <a:lvl2pPr>
              <a:defRPr sz="1200"/>
            </a:lvl2pPr>
            <a:lvl3pPr>
              <a:defRPr sz="1200"/>
            </a:lvl3pPr>
            <a:lvl4pPr>
              <a:defRPr sz="1200"/>
            </a:lvl4pPr>
            <a:lvl5pPr>
              <a:defRPr sz="1200"/>
            </a:lvl5pPr>
          </a:lstStyle>
          <a:p>
            <a:pPr lvl="0"/>
            <a:r>
              <a:rPr lang="en-US" dirty="0"/>
              <a:t>Enter the descriptive text of this chapter in a few lines.</a:t>
            </a:r>
          </a:p>
        </p:txBody>
      </p:sp>
      <p:pic>
        <p:nvPicPr>
          <p:cNvPr id="10" name="Image 9">
            <a:extLst>
              <a:ext uri="{FF2B5EF4-FFF2-40B4-BE49-F238E27FC236}">
                <a16:creationId xmlns:a16="http://schemas.microsoft.com/office/drawing/2014/main" id="{96EF3A9A-11C3-4EF9-A56A-24CF7C103A6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280931" y="4666659"/>
            <a:ext cx="738761" cy="382981"/>
          </a:xfrm>
          <a:prstGeom prst="rect">
            <a:avLst/>
          </a:prstGeom>
        </p:spPr>
      </p:pic>
      <p:sp>
        <p:nvSpPr>
          <p:cNvPr id="12" name="Espace réservé pour une image  15">
            <a:extLst>
              <a:ext uri="{FF2B5EF4-FFF2-40B4-BE49-F238E27FC236}">
                <a16:creationId xmlns:a16="http://schemas.microsoft.com/office/drawing/2014/main" id="{77B9D155-BEF3-4A83-9AB0-980096AABFEC}"/>
              </a:ext>
            </a:extLst>
          </p:cNvPr>
          <p:cNvSpPr>
            <a:spLocks noGrp="1"/>
          </p:cNvSpPr>
          <p:nvPr>
            <p:ph type="pic" sz="quarter" idx="15"/>
          </p:nvPr>
        </p:nvSpPr>
        <p:spPr>
          <a:xfrm>
            <a:off x="252001" y="1"/>
            <a:ext cx="4584159" cy="5143499"/>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dirty="0"/>
          </a:p>
        </p:txBody>
      </p:sp>
      <p:sp>
        <p:nvSpPr>
          <p:cNvPr id="15" name="TextBox 14"/>
          <p:cNvSpPr txBox="1"/>
          <p:nvPr userDrawn="1"/>
        </p:nvSpPr>
        <p:spPr>
          <a:xfrm>
            <a:off x="1" y="4622110"/>
            <a:ext cx="876299" cy="523220"/>
          </a:xfrm>
          <a:prstGeom prst="rect">
            <a:avLst/>
          </a:prstGeom>
          <a:solidFill>
            <a:schemeClr val="bg1"/>
          </a:solidFill>
        </p:spPr>
        <p:txBody>
          <a:bodyPr wrap="square" rtlCol="0">
            <a:spAutoFit/>
          </a:bodyPr>
          <a:lstStyle/>
          <a:p>
            <a:endParaRPr lang="fr-FR" sz="1000" dirty="0"/>
          </a:p>
          <a:p>
            <a:endParaRPr lang="fr-FR" sz="1800" dirty="0"/>
          </a:p>
        </p:txBody>
      </p:sp>
      <p:sp>
        <p:nvSpPr>
          <p:cNvPr id="16" name="TextBox 15"/>
          <p:cNvSpPr txBox="1"/>
          <p:nvPr userDrawn="1"/>
        </p:nvSpPr>
        <p:spPr>
          <a:xfrm>
            <a:off x="876300" y="4612585"/>
            <a:ext cx="6982582"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9"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20" name="Picture 19"/>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639947499"/>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7997742" cy="3240000"/>
          </a:xfrm>
        </p:spPr>
        <p:txBody>
          <a:bodyPr>
            <a:noAutofit/>
          </a:bodyPr>
          <a:lstStyle>
            <a:lvl1pPr>
              <a:defRPr lang="en-US" b="0" i="0" smtClean="0">
                <a:effectLs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8" name="TextBox 7"/>
          <p:cNvSpPr txBox="1"/>
          <p:nvPr userDrawn="1"/>
        </p:nvSpPr>
        <p:spPr>
          <a:xfrm>
            <a:off x="0" y="4622110"/>
            <a:ext cx="876300" cy="523220"/>
          </a:xfrm>
          <a:prstGeom prst="rect">
            <a:avLst/>
          </a:prstGeom>
          <a:solidFill>
            <a:schemeClr val="bg1"/>
          </a:solidFill>
        </p:spPr>
        <p:txBody>
          <a:bodyPr wrap="square" rtlCol="0">
            <a:spAutoFit/>
          </a:bodyPr>
          <a:lstStyle/>
          <a:p>
            <a:endParaRPr lang="fr-FR" sz="1000" dirty="0"/>
          </a:p>
          <a:p>
            <a:endParaRPr lang="fr-FR" sz="1800" dirty="0"/>
          </a:p>
        </p:txBody>
      </p:sp>
      <p:sp>
        <p:nvSpPr>
          <p:cNvPr id="9" name="TextBox 8"/>
          <p:cNvSpPr txBox="1"/>
          <p:nvPr userDrawn="1"/>
        </p:nvSpPr>
        <p:spPr>
          <a:xfrm>
            <a:off x="876300" y="4612585"/>
            <a:ext cx="7012328"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1"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2" name="Picture 11"/>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865800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7"/>
            <a:ext cx="7997742" cy="424732"/>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7997742"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du texte 8">
            <a:extLst>
              <a:ext uri="{FF2B5EF4-FFF2-40B4-BE49-F238E27FC236}">
                <a16:creationId xmlns:a16="http://schemas.microsoft.com/office/drawing/2014/main" id="{50EF4B05-A641-4213-BED2-B2F8243CFA25}"/>
              </a:ext>
            </a:extLst>
          </p:cNvPr>
          <p:cNvSpPr>
            <a:spLocks noGrp="1"/>
          </p:cNvSpPr>
          <p:nvPr>
            <p:ph type="body" sz="quarter" idx="13"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0" name="TextBox 9"/>
          <p:cNvSpPr txBox="1"/>
          <p:nvPr userDrawn="1"/>
        </p:nvSpPr>
        <p:spPr>
          <a:xfrm>
            <a:off x="60961" y="4612585"/>
            <a:ext cx="815339" cy="523220"/>
          </a:xfrm>
          <a:prstGeom prst="rect">
            <a:avLst/>
          </a:prstGeom>
          <a:solidFill>
            <a:schemeClr val="bg1"/>
          </a:solidFill>
        </p:spPr>
        <p:txBody>
          <a:bodyPr wrap="square" rtlCol="0">
            <a:spAutoFit/>
          </a:bodyPr>
          <a:lstStyle/>
          <a:p>
            <a:endParaRPr lang="fr-FR" sz="1000" dirty="0"/>
          </a:p>
          <a:p>
            <a:endParaRPr lang="fr-FR" sz="1800" dirty="0"/>
          </a:p>
        </p:txBody>
      </p:sp>
      <p:sp>
        <p:nvSpPr>
          <p:cNvPr id="16"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7" name="Picture 16"/>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2658457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_3">
    <p:spTree>
      <p:nvGrpSpPr>
        <p:cNvPr id="1" name=""/>
        <p:cNvGrpSpPr/>
        <p:nvPr/>
      </p:nvGrpSpPr>
      <p:grpSpPr>
        <a:xfrm>
          <a:off x="0" y="0"/>
          <a:ext cx="0" cy="0"/>
          <a:chOff x="0" y="0"/>
          <a:chExt cx="0" cy="0"/>
        </a:xfrm>
      </p:grpSpPr>
      <p:sp>
        <p:nvSpPr>
          <p:cNvPr id="7" name="Rectangle 6"/>
          <p:cNvSpPr/>
          <p:nvPr userDrawn="1"/>
        </p:nvSpPr>
        <p:spPr>
          <a:xfrm>
            <a:off x="5985791" y="0"/>
            <a:ext cx="2621973" cy="51435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824594"/>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30170012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6"/>
            <a:ext cx="5202000" cy="824594"/>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pour une image  8">
            <a:extLst>
              <a:ext uri="{FF2B5EF4-FFF2-40B4-BE49-F238E27FC236}">
                <a16:creationId xmlns:a16="http://schemas.microsoft.com/office/drawing/2014/main" id="{175D6BA6-64F5-4D9C-84B9-AF8F4AAB8735}"/>
              </a:ext>
            </a:extLst>
          </p:cNvPr>
          <p:cNvSpPr>
            <a:spLocks noGrp="1"/>
          </p:cNvSpPr>
          <p:nvPr>
            <p:ph type="pic" sz="quarter" idx="13"/>
          </p:nvPr>
        </p:nvSpPr>
        <p:spPr>
          <a:xfrm>
            <a:off x="5992143" y="7693"/>
            <a:ext cx="2520950" cy="5143500"/>
          </a:xfrm>
        </p:spPr>
        <p:txBody>
          <a:bodyPr/>
          <a:lstStyle>
            <a:lvl1pPr>
              <a:defRPr b="1">
                <a:solidFill>
                  <a:schemeClr val="bg2"/>
                </a:solidFill>
              </a:defRPr>
            </a:lvl1pPr>
          </a:lstStyle>
          <a:p>
            <a:endParaRPr lang="en-GB" dirty="0"/>
          </a:p>
        </p:txBody>
      </p:sp>
      <p:sp>
        <p:nvSpPr>
          <p:cNvPr id="8"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20529277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_5">
    <p:spTree>
      <p:nvGrpSpPr>
        <p:cNvPr id="1" name=""/>
        <p:cNvGrpSpPr/>
        <p:nvPr/>
      </p:nvGrpSpPr>
      <p:grpSpPr>
        <a:xfrm>
          <a:off x="0" y="0"/>
          <a:ext cx="0" cy="0"/>
          <a:chOff x="0" y="0"/>
          <a:chExt cx="0" cy="0"/>
        </a:xfrm>
      </p:grpSpPr>
      <p:sp>
        <p:nvSpPr>
          <p:cNvPr id="10" name="Rectangle 9"/>
          <p:cNvSpPr/>
          <p:nvPr userDrawn="1"/>
        </p:nvSpPr>
        <p:spPr>
          <a:xfrm>
            <a:off x="5985791" y="0"/>
            <a:ext cx="2621973" cy="51435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7"/>
            <a:ext cx="5202000" cy="424733"/>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spcBef>
                <a:spcPts val="500"/>
              </a:spcBef>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6" name="Espace réservé du numéro de diapositive 5">
            <a:extLst>
              <a:ext uri="{FF2B5EF4-FFF2-40B4-BE49-F238E27FC236}">
                <a16:creationId xmlns:a16="http://schemas.microsoft.com/office/drawing/2014/main" id="{4708F2AE-7607-473E-97E5-003C4759704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a:p>
        </p:txBody>
      </p:sp>
      <p:sp>
        <p:nvSpPr>
          <p:cNvPr id="8" name="Espace réservé du texte 8">
            <a:extLst>
              <a:ext uri="{FF2B5EF4-FFF2-40B4-BE49-F238E27FC236}">
                <a16:creationId xmlns:a16="http://schemas.microsoft.com/office/drawing/2014/main" id="{BA2C6807-1B7A-4C3F-85F1-E39AC857CAB7}"/>
              </a:ext>
            </a:extLst>
          </p:cNvPr>
          <p:cNvSpPr>
            <a:spLocks noGrp="1"/>
          </p:cNvSpPr>
          <p:nvPr>
            <p:ph type="body" sz="quarter" idx="14" hasCustomPrompt="1"/>
          </p:nvPr>
        </p:nvSpPr>
        <p:spPr>
          <a:xfrm>
            <a:off x="517608" y="523146"/>
            <a:ext cx="5202000"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Tree>
    <p:extLst>
      <p:ext uri="{BB962C8B-B14F-4D97-AF65-F5344CB8AC3E}">
        <p14:creationId xmlns:p14="http://schemas.microsoft.com/office/powerpoint/2010/main" val="16470031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mmary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4"/>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10" name="Espace réservé pour une image  9">
            <a:extLst>
              <a:ext uri="{FF2B5EF4-FFF2-40B4-BE49-F238E27FC236}">
                <a16:creationId xmlns:a16="http://schemas.microsoft.com/office/drawing/2014/main" id="{2481741F-42DC-4FF8-AD9C-1FB7F7BE9822}"/>
              </a:ext>
            </a:extLst>
          </p:cNvPr>
          <p:cNvSpPr>
            <a:spLocks noGrp="1"/>
          </p:cNvSpPr>
          <p:nvPr>
            <p:ph type="pic" sz="quarter" idx="10"/>
          </p:nvPr>
        </p:nvSpPr>
        <p:spPr>
          <a:xfrm>
            <a:off x="133744" y="2"/>
            <a:ext cx="1749972" cy="4067882"/>
          </a:xfrm>
          <a:custGeom>
            <a:avLst/>
            <a:gdLst>
              <a:gd name="connsiteX0" fmla="*/ 0 w 1749972"/>
              <a:gd name="connsiteY0" fmla="*/ 0 h 4067882"/>
              <a:gd name="connsiteX1" fmla="*/ 1749972 w 1749972"/>
              <a:gd name="connsiteY1" fmla="*/ 0 h 4067882"/>
              <a:gd name="connsiteX2" fmla="*/ 1749972 w 1749972"/>
              <a:gd name="connsiteY2" fmla="*/ 4067882 h 4067882"/>
              <a:gd name="connsiteX3" fmla="*/ 0 w 1749972"/>
              <a:gd name="connsiteY3" fmla="*/ 4067882 h 4067882"/>
            </a:gdLst>
            <a:ahLst/>
            <a:cxnLst>
              <a:cxn ang="0">
                <a:pos x="connsiteX0" y="connsiteY0"/>
              </a:cxn>
              <a:cxn ang="0">
                <a:pos x="connsiteX1" y="connsiteY1"/>
              </a:cxn>
              <a:cxn ang="0">
                <a:pos x="connsiteX2" y="connsiteY2"/>
              </a:cxn>
              <a:cxn ang="0">
                <a:pos x="connsiteX3" y="connsiteY3"/>
              </a:cxn>
            </a:cxnLst>
            <a:rect l="l" t="t" r="r" b="b"/>
            <a:pathLst>
              <a:path w="1749972" h="4067882">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1"/>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37783" y="1104901"/>
            <a:ext cx="593415" cy="689175"/>
          </a:xfrm>
        </p:spPr>
        <p:txBody>
          <a:bodyPr anchor="ctr" anchorCtr="0">
            <a:noAutofit/>
          </a:bodyPr>
          <a:lstStyle>
            <a:lvl1pPr algn="r">
              <a:defRPr sz="36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261677" y="1104900"/>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37783" y="2016092"/>
            <a:ext cx="593415" cy="689175"/>
          </a:xfrm>
        </p:spPr>
        <p:txBody>
          <a:bodyPr anchor="ctr" anchorCtr="0">
            <a:noAutofit/>
          </a:bodyPr>
          <a:lstStyle>
            <a:lvl1pPr algn="r">
              <a:defRPr sz="36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261677" y="201609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37783" y="2927082"/>
            <a:ext cx="593415" cy="689175"/>
          </a:xfrm>
        </p:spPr>
        <p:txBody>
          <a:bodyPr anchor="ctr" anchorCtr="0">
            <a:noAutofit/>
          </a:bodyPr>
          <a:lstStyle>
            <a:lvl1pPr algn="r">
              <a:defRPr sz="36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261677" y="292708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37783" y="3837871"/>
            <a:ext cx="593415" cy="689175"/>
          </a:xfrm>
        </p:spPr>
        <p:txBody>
          <a:bodyPr anchor="ctr" anchorCtr="0">
            <a:noAutofit/>
          </a:bodyPr>
          <a:lstStyle>
            <a:lvl1pPr algn="r">
              <a:defRPr sz="36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261677" y="3837870"/>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8" name="Espace réservé du texte 3">
            <a:extLst>
              <a:ext uri="{FF2B5EF4-FFF2-40B4-BE49-F238E27FC236}">
                <a16:creationId xmlns:a16="http://schemas.microsoft.com/office/drawing/2014/main" id="{8C8C9E17-5906-4CF2-8294-4730AFFE67B1}"/>
              </a:ext>
            </a:extLst>
          </p:cNvPr>
          <p:cNvSpPr>
            <a:spLocks noGrp="1"/>
          </p:cNvSpPr>
          <p:nvPr>
            <p:ph type="body" sz="quarter" idx="19" hasCustomPrompt="1"/>
          </p:nvPr>
        </p:nvSpPr>
        <p:spPr>
          <a:xfrm>
            <a:off x="5961900" y="1104901"/>
            <a:ext cx="593415" cy="689175"/>
          </a:xfrm>
        </p:spPr>
        <p:txBody>
          <a:bodyPr anchor="ctr" anchorCtr="0">
            <a:noAutofit/>
          </a:bodyPr>
          <a:lstStyle>
            <a:lvl1pPr algn="r">
              <a:defRPr sz="3600" b="1">
                <a:latin typeface="+mj-lt"/>
              </a:defRPr>
            </a:lvl1pPr>
          </a:lstStyle>
          <a:p>
            <a:pPr lvl="0"/>
            <a:r>
              <a:rPr lang="fr-FR" dirty="0"/>
              <a:t>5</a:t>
            </a:r>
            <a:endParaRPr lang="en-GB" dirty="0"/>
          </a:p>
        </p:txBody>
      </p:sp>
      <p:sp>
        <p:nvSpPr>
          <p:cNvPr id="19" name="Espace réservé du texte 7">
            <a:extLst>
              <a:ext uri="{FF2B5EF4-FFF2-40B4-BE49-F238E27FC236}">
                <a16:creationId xmlns:a16="http://schemas.microsoft.com/office/drawing/2014/main" id="{6BC88C6A-B62E-4E4C-963C-A1CD87DCCD76}"/>
              </a:ext>
            </a:extLst>
          </p:cNvPr>
          <p:cNvSpPr>
            <a:spLocks noGrp="1"/>
          </p:cNvSpPr>
          <p:nvPr>
            <p:ph type="body" sz="quarter" idx="20" hasCustomPrompt="1"/>
          </p:nvPr>
        </p:nvSpPr>
        <p:spPr>
          <a:xfrm>
            <a:off x="6585794" y="1104900"/>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fth chapter</a:t>
            </a:r>
            <a:endParaRPr lang="fr-FR" dirty="0"/>
          </a:p>
        </p:txBody>
      </p:sp>
      <p:sp>
        <p:nvSpPr>
          <p:cNvPr id="20" name="Espace réservé du texte 3">
            <a:extLst>
              <a:ext uri="{FF2B5EF4-FFF2-40B4-BE49-F238E27FC236}">
                <a16:creationId xmlns:a16="http://schemas.microsoft.com/office/drawing/2014/main" id="{88F0C468-DD31-49F0-A3A5-29ACF01F68AA}"/>
              </a:ext>
            </a:extLst>
          </p:cNvPr>
          <p:cNvSpPr>
            <a:spLocks noGrp="1"/>
          </p:cNvSpPr>
          <p:nvPr>
            <p:ph type="body" sz="quarter" idx="21" hasCustomPrompt="1"/>
          </p:nvPr>
        </p:nvSpPr>
        <p:spPr>
          <a:xfrm>
            <a:off x="5961900" y="2016092"/>
            <a:ext cx="593415" cy="689175"/>
          </a:xfrm>
        </p:spPr>
        <p:txBody>
          <a:bodyPr anchor="ctr" anchorCtr="0">
            <a:noAutofit/>
          </a:bodyPr>
          <a:lstStyle>
            <a:lvl1pPr algn="r">
              <a:defRPr sz="3600" b="1">
                <a:latin typeface="+mj-lt"/>
              </a:defRPr>
            </a:lvl1pPr>
          </a:lstStyle>
          <a:p>
            <a:pPr lvl="0"/>
            <a:r>
              <a:rPr lang="fr-FR" dirty="0"/>
              <a:t>6</a:t>
            </a:r>
            <a:endParaRPr lang="en-GB" dirty="0"/>
          </a:p>
        </p:txBody>
      </p:sp>
      <p:sp>
        <p:nvSpPr>
          <p:cNvPr id="25" name="Espace réservé du texte 7">
            <a:extLst>
              <a:ext uri="{FF2B5EF4-FFF2-40B4-BE49-F238E27FC236}">
                <a16:creationId xmlns:a16="http://schemas.microsoft.com/office/drawing/2014/main" id="{373FFC4E-CC0C-45E8-A9F4-D8CEEF6BB7C1}"/>
              </a:ext>
            </a:extLst>
          </p:cNvPr>
          <p:cNvSpPr>
            <a:spLocks noGrp="1"/>
          </p:cNvSpPr>
          <p:nvPr>
            <p:ph type="body" sz="quarter" idx="22" hasCustomPrompt="1"/>
          </p:nvPr>
        </p:nvSpPr>
        <p:spPr>
          <a:xfrm>
            <a:off x="6585794" y="201609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ixth chapter</a:t>
            </a:r>
            <a:endParaRPr lang="fr-FR" dirty="0"/>
          </a:p>
        </p:txBody>
      </p:sp>
      <p:sp>
        <p:nvSpPr>
          <p:cNvPr id="26" name="Espace réservé du texte 3">
            <a:extLst>
              <a:ext uri="{FF2B5EF4-FFF2-40B4-BE49-F238E27FC236}">
                <a16:creationId xmlns:a16="http://schemas.microsoft.com/office/drawing/2014/main" id="{1938E8D1-6787-407C-AAE7-4E4DFEEC3CAB}"/>
              </a:ext>
            </a:extLst>
          </p:cNvPr>
          <p:cNvSpPr>
            <a:spLocks noGrp="1"/>
          </p:cNvSpPr>
          <p:nvPr>
            <p:ph type="body" sz="quarter" idx="23" hasCustomPrompt="1"/>
          </p:nvPr>
        </p:nvSpPr>
        <p:spPr>
          <a:xfrm>
            <a:off x="5961900" y="2927082"/>
            <a:ext cx="593415" cy="689175"/>
          </a:xfrm>
        </p:spPr>
        <p:txBody>
          <a:bodyPr anchor="ctr" anchorCtr="0">
            <a:noAutofit/>
          </a:bodyPr>
          <a:lstStyle>
            <a:lvl1pPr algn="r">
              <a:defRPr sz="3600" b="1">
                <a:latin typeface="+mj-lt"/>
              </a:defRPr>
            </a:lvl1pPr>
          </a:lstStyle>
          <a:p>
            <a:pPr lvl="0"/>
            <a:r>
              <a:rPr lang="fr-FR" dirty="0"/>
              <a:t>7</a:t>
            </a:r>
            <a:endParaRPr lang="en-GB" dirty="0"/>
          </a:p>
        </p:txBody>
      </p:sp>
      <p:sp>
        <p:nvSpPr>
          <p:cNvPr id="27" name="Espace réservé du texte 7">
            <a:extLst>
              <a:ext uri="{FF2B5EF4-FFF2-40B4-BE49-F238E27FC236}">
                <a16:creationId xmlns:a16="http://schemas.microsoft.com/office/drawing/2014/main" id="{1357C87F-8625-4D55-BAE7-D6A9FDDD340D}"/>
              </a:ext>
            </a:extLst>
          </p:cNvPr>
          <p:cNvSpPr>
            <a:spLocks noGrp="1"/>
          </p:cNvSpPr>
          <p:nvPr>
            <p:ph type="body" sz="quarter" idx="24" hasCustomPrompt="1"/>
          </p:nvPr>
        </p:nvSpPr>
        <p:spPr>
          <a:xfrm>
            <a:off x="6585794" y="2927081"/>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venth chapter</a:t>
            </a:r>
            <a:endParaRPr lang="fr-FR" dirty="0"/>
          </a:p>
        </p:txBody>
      </p:sp>
      <p:sp>
        <p:nvSpPr>
          <p:cNvPr id="28" name="Espace réservé du texte 3">
            <a:extLst>
              <a:ext uri="{FF2B5EF4-FFF2-40B4-BE49-F238E27FC236}">
                <a16:creationId xmlns:a16="http://schemas.microsoft.com/office/drawing/2014/main" id="{D89999BC-251E-4F61-9201-37E475009391}"/>
              </a:ext>
            </a:extLst>
          </p:cNvPr>
          <p:cNvSpPr>
            <a:spLocks noGrp="1"/>
          </p:cNvSpPr>
          <p:nvPr>
            <p:ph type="body" sz="quarter" idx="25" hasCustomPrompt="1"/>
          </p:nvPr>
        </p:nvSpPr>
        <p:spPr>
          <a:xfrm>
            <a:off x="5961900" y="3837871"/>
            <a:ext cx="593415" cy="689175"/>
          </a:xfrm>
        </p:spPr>
        <p:txBody>
          <a:bodyPr anchor="ctr" anchorCtr="0">
            <a:noAutofit/>
          </a:bodyPr>
          <a:lstStyle>
            <a:lvl1pPr algn="r">
              <a:defRPr sz="3600" b="1">
                <a:latin typeface="+mj-lt"/>
              </a:defRPr>
            </a:lvl1pPr>
          </a:lstStyle>
          <a:p>
            <a:pPr lvl="0"/>
            <a:r>
              <a:rPr lang="fr-FR" dirty="0"/>
              <a:t>8</a:t>
            </a:r>
            <a:endParaRPr lang="en-GB" dirty="0"/>
          </a:p>
        </p:txBody>
      </p:sp>
      <p:sp>
        <p:nvSpPr>
          <p:cNvPr id="29" name="Espace réservé du texte 7">
            <a:extLst>
              <a:ext uri="{FF2B5EF4-FFF2-40B4-BE49-F238E27FC236}">
                <a16:creationId xmlns:a16="http://schemas.microsoft.com/office/drawing/2014/main" id="{8D124088-5A10-4B10-8C05-A7342239E11E}"/>
              </a:ext>
            </a:extLst>
          </p:cNvPr>
          <p:cNvSpPr>
            <a:spLocks noGrp="1"/>
          </p:cNvSpPr>
          <p:nvPr>
            <p:ph type="body" sz="quarter" idx="26" hasCustomPrompt="1"/>
          </p:nvPr>
        </p:nvSpPr>
        <p:spPr>
          <a:xfrm>
            <a:off x="6585794" y="3837870"/>
            <a:ext cx="2131485" cy="688975"/>
          </a:xfrm>
        </p:spPr>
        <p:txBody>
          <a:bodyPr anchor="ctr" anchorCtr="0">
            <a:noAutofit/>
          </a:bodyPr>
          <a:lstStyle>
            <a:lvl1pPr>
              <a:defRPr sz="14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eighth chapter</a:t>
            </a:r>
          </a:p>
        </p:txBody>
      </p:sp>
      <p:sp>
        <p:nvSpPr>
          <p:cNvPr id="32"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7"/>
          </p:nvPr>
        </p:nvSpPr>
        <p:spPr>
          <a:xfrm>
            <a:off x="8607765" y="4846820"/>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33" name="Picture 32"/>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5472157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_6">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2AFFEC-8ED6-49CB-A00A-3D007B28F438}"/>
              </a:ext>
            </a:extLst>
          </p:cNvPr>
          <p:cNvSpPr>
            <a:spLocks noGrp="1"/>
          </p:cNvSpPr>
          <p:nvPr>
            <p:ph type="title" hasCustomPrompt="1"/>
          </p:nvPr>
        </p:nvSpPr>
        <p:spPr>
          <a:xfrm>
            <a:off x="517608" y="173627"/>
            <a:ext cx="5202000" cy="424733"/>
          </a:xfrm>
        </p:spPr>
        <p:txBody>
          <a:bodyPr/>
          <a:lstStyle>
            <a:lvl1pPr>
              <a:defRPr sz="2200">
                <a:latin typeface="+mj-lt"/>
              </a:defRPr>
            </a:lvl1pPr>
          </a:lstStyle>
          <a:p>
            <a:r>
              <a:rPr lang="fr-FR" dirty="0"/>
              <a:t>Edit the </a:t>
            </a:r>
            <a:r>
              <a:rPr lang="fr-FR" dirty="0" err="1"/>
              <a:t>title</a:t>
            </a:r>
            <a:r>
              <a:rPr lang="fr-FR" dirty="0"/>
              <a:t> </a:t>
            </a:r>
            <a:r>
              <a:rPr lang="fr-FR" dirty="0" err="1"/>
              <a:t>text</a:t>
            </a:r>
            <a:endParaRPr lang="en-GB" dirty="0"/>
          </a:p>
        </p:txBody>
      </p:sp>
      <p:sp>
        <p:nvSpPr>
          <p:cNvPr id="3" name="Espace réservé du contenu 2">
            <a:extLst>
              <a:ext uri="{FF2B5EF4-FFF2-40B4-BE49-F238E27FC236}">
                <a16:creationId xmlns:a16="http://schemas.microsoft.com/office/drawing/2014/main" id="{E0D2B1A1-D078-46F5-AD58-E115A6301E9C}"/>
              </a:ext>
            </a:extLst>
          </p:cNvPr>
          <p:cNvSpPr>
            <a:spLocks noGrp="1"/>
          </p:cNvSpPr>
          <p:nvPr>
            <p:ph idx="1" hasCustomPrompt="1"/>
          </p:nvPr>
        </p:nvSpPr>
        <p:spPr>
          <a:xfrm>
            <a:off x="517608" y="1273215"/>
            <a:ext cx="5202000" cy="3240000"/>
          </a:xfrm>
        </p:spPr>
        <p:txBody>
          <a:bodyPr>
            <a:noAutofit/>
          </a:bodyPr>
          <a:lstStyle>
            <a:lvl1pPr>
              <a:defRPr>
                <a:latin typeface="+mn-lt"/>
              </a:defRPr>
            </a:lvl1pPr>
            <a:lvl2pPr>
              <a:spcBef>
                <a:spcPts val="500"/>
              </a:spcBef>
              <a:defRPr>
                <a:latin typeface="+mn-lt"/>
              </a:defRPr>
            </a:lvl2pPr>
            <a:lvl3pPr>
              <a:defRPr>
                <a:latin typeface="+mn-lt"/>
              </a:defRPr>
            </a:lvl3pPr>
            <a:lvl4pPr>
              <a:defRPr>
                <a:latin typeface="+mn-lt"/>
              </a:defRPr>
            </a:lvl4pPr>
            <a:lvl5pPr>
              <a:defRPr>
                <a:latin typeface="+mn-lt"/>
              </a:defRPr>
            </a:lvl5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9" name="Espace réservé pour une image  8">
            <a:extLst>
              <a:ext uri="{FF2B5EF4-FFF2-40B4-BE49-F238E27FC236}">
                <a16:creationId xmlns:a16="http://schemas.microsoft.com/office/drawing/2014/main" id="{175D6BA6-64F5-4D9C-84B9-AF8F4AAB8735}"/>
              </a:ext>
            </a:extLst>
          </p:cNvPr>
          <p:cNvSpPr>
            <a:spLocks noGrp="1"/>
          </p:cNvSpPr>
          <p:nvPr>
            <p:ph type="pic" sz="quarter" idx="13"/>
          </p:nvPr>
        </p:nvSpPr>
        <p:spPr>
          <a:xfrm>
            <a:off x="5985793" y="0"/>
            <a:ext cx="2520950" cy="5143500"/>
          </a:xfrm>
        </p:spPr>
        <p:txBody>
          <a:bodyPr/>
          <a:lstStyle>
            <a:lvl1pPr>
              <a:defRPr b="1">
                <a:solidFill>
                  <a:schemeClr val="bg2"/>
                </a:solidFill>
              </a:defRPr>
            </a:lvl1pPr>
          </a:lstStyle>
          <a:p>
            <a:endParaRPr lang="en-GB" dirty="0"/>
          </a:p>
        </p:txBody>
      </p:sp>
      <p:sp>
        <p:nvSpPr>
          <p:cNvPr id="8" name="Espace réservé du texte 8">
            <a:extLst>
              <a:ext uri="{FF2B5EF4-FFF2-40B4-BE49-F238E27FC236}">
                <a16:creationId xmlns:a16="http://schemas.microsoft.com/office/drawing/2014/main" id="{BA2C6807-1B7A-4C3F-85F1-E39AC857CAB7}"/>
              </a:ext>
            </a:extLst>
          </p:cNvPr>
          <p:cNvSpPr>
            <a:spLocks noGrp="1"/>
          </p:cNvSpPr>
          <p:nvPr>
            <p:ph type="body" sz="quarter" idx="14" hasCustomPrompt="1"/>
          </p:nvPr>
        </p:nvSpPr>
        <p:spPr>
          <a:xfrm>
            <a:off x="517608" y="523146"/>
            <a:ext cx="5202000"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41321732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8" name="TextBox 7"/>
          <p:cNvSpPr txBox="1"/>
          <p:nvPr userDrawn="1"/>
        </p:nvSpPr>
        <p:spPr>
          <a:xfrm>
            <a:off x="60961" y="4620278"/>
            <a:ext cx="815339" cy="523220"/>
          </a:xfrm>
          <a:prstGeom prst="rect">
            <a:avLst/>
          </a:prstGeom>
          <a:solidFill>
            <a:schemeClr val="bg1"/>
          </a:solidFill>
        </p:spPr>
        <p:txBody>
          <a:bodyPr wrap="square" rtlCol="0">
            <a:spAutoFit/>
          </a:bodyPr>
          <a:lstStyle/>
          <a:p>
            <a:endParaRPr lang="fr-FR" sz="1000" dirty="0"/>
          </a:p>
          <a:p>
            <a:endParaRPr lang="fr-FR" sz="1800" dirty="0"/>
          </a:p>
        </p:txBody>
      </p:sp>
      <p:sp>
        <p:nvSpPr>
          <p:cNvPr id="9" name="TextBox 8"/>
          <p:cNvSpPr txBox="1"/>
          <p:nvPr userDrawn="1"/>
        </p:nvSpPr>
        <p:spPr>
          <a:xfrm>
            <a:off x="876300" y="4612585"/>
            <a:ext cx="7012328"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1" name="Picture 10"/>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4601125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_7">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09"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2" name="Espace réservé du texte 10">
            <a:extLst>
              <a:ext uri="{FF2B5EF4-FFF2-40B4-BE49-F238E27FC236}">
                <a16:creationId xmlns:a16="http://schemas.microsoft.com/office/drawing/2014/main" id="{3F288438-6568-4129-AFEC-A45C6AF8B116}"/>
              </a:ext>
            </a:extLst>
          </p:cNvPr>
          <p:cNvSpPr>
            <a:spLocks noGrp="1"/>
          </p:cNvSpPr>
          <p:nvPr>
            <p:ph type="body" sz="quarter" idx="17" hasCustomPrompt="1"/>
          </p:nvPr>
        </p:nvSpPr>
        <p:spPr>
          <a:xfrm>
            <a:off x="3332045"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10">
            <a:extLst>
              <a:ext uri="{FF2B5EF4-FFF2-40B4-BE49-F238E27FC236}">
                <a16:creationId xmlns:a16="http://schemas.microsoft.com/office/drawing/2014/main" id="{6E7B0411-6395-42FD-95F1-E02232864B3D}"/>
              </a:ext>
            </a:extLst>
          </p:cNvPr>
          <p:cNvSpPr>
            <a:spLocks noGrp="1"/>
          </p:cNvSpPr>
          <p:nvPr>
            <p:ph type="body" sz="quarter" idx="18" hasCustomPrompt="1"/>
          </p:nvPr>
        </p:nvSpPr>
        <p:spPr>
          <a:xfrm>
            <a:off x="6146482"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pour une image  9"/>
          <p:cNvSpPr>
            <a:spLocks noGrp="1"/>
          </p:cNvSpPr>
          <p:nvPr>
            <p:ph type="pic" sz="quarter" idx="19"/>
          </p:nvPr>
        </p:nvSpPr>
        <p:spPr>
          <a:xfrm>
            <a:off x="517609" y="1416238"/>
            <a:ext cx="654050" cy="631825"/>
          </a:xfrm>
        </p:spPr>
        <p:txBody>
          <a:bodyPr/>
          <a:lstStyle>
            <a:lvl1pPr>
              <a:defRPr b="1">
                <a:solidFill>
                  <a:schemeClr val="bg2"/>
                </a:solidFill>
              </a:defRPr>
            </a:lvl1pPr>
          </a:lstStyle>
          <a:p>
            <a:endParaRPr lang="fr-FR" dirty="0"/>
          </a:p>
        </p:txBody>
      </p:sp>
      <p:sp>
        <p:nvSpPr>
          <p:cNvPr id="14" name="Espace réservé pour une image  9"/>
          <p:cNvSpPr>
            <a:spLocks noGrp="1"/>
          </p:cNvSpPr>
          <p:nvPr>
            <p:ph type="pic" sz="quarter" idx="20"/>
          </p:nvPr>
        </p:nvSpPr>
        <p:spPr>
          <a:xfrm>
            <a:off x="3332044" y="1410075"/>
            <a:ext cx="654050" cy="631825"/>
          </a:xfrm>
        </p:spPr>
        <p:txBody>
          <a:bodyPr/>
          <a:lstStyle>
            <a:lvl1pPr>
              <a:defRPr b="1">
                <a:solidFill>
                  <a:schemeClr val="bg2"/>
                </a:solidFill>
              </a:defRPr>
            </a:lvl1pPr>
          </a:lstStyle>
          <a:p>
            <a:endParaRPr lang="fr-FR" dirty="0"/>
          </a:p>
        </p:txBody>
      </p:sp>
      <p:sp>
        <p:nvSpPr>
          <p:cNvPr id="15" name="Espace réservé pour une image  9"/>
          <p:cNvSpPr>
            <a:spLocks noGrp="1"/>
          </p:cNvSpPr>
          <p:nvPr>
            <p:ph type="pic" sz="quarter" idx="21"/>
          </p:nvPr>
        </p:nvSpPr>
        <p:spPr>
          <a:xfrm>
            <a:off x="6146481" y="1405005"/>
            <a:ext cx="654050" cy="631825"/>
          </a:xfrm>
        </p:spPr>
        <p:txBody>
          <a:bodyPr/>
          <a:lstStyle>
            <a:lvl1pPr>
              <a:defRPr b="1">
                <a:solidFill>
                  <a:schemeClr val="bg2"/>
                </a:solidFill>
              </a:defRPr>
            </a:lvl1pPr>
          </a:lstStyle>
          <a:p>
            <a:endParaRPr lang="fr-FR" dirty="0"/>
          </a:p>
        </p:txBody>
      </p:sp>
      <p:sp>
        <p:nvSpPr>
          <p:cNvPr id="16"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2"/>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19609029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_8">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73627"/>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4" name="Espace réservé du texte 8">
            <a:extLst>
              <a:ext uri="{FF2B5EF4-FFF2-40B4-BE49-F238E27FC236}">
                <a16:creationId xmlns:a16="http://schemas.microsoft.com/office/drawing/2014/main" id="{18A0D1FC-C71E-45A6-9B74-BD3AE833B0BB}"/>
              </a:ext>
            </a:extLst>
          </p:cNvPr>
          <p:cNvSpPr>
            <a:spLocks noGrp="1"/>
          </p:cNvSpPr>
          <p:nvPr>
            <p:ph type="body" sz="quarter" idx="19"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21" name="Espace réservé du texte 10">
            <a:extLst>
              <a:ext uri="{FF2B5EF4-FFF2-40B4-BE49-F238E27FC236}">
                <a16:creationId xmlns:a16="http://schemas.microsoft.com/office/drawing/2014/main" id="{09E85E61-A3D4-4628-A6F0-EC9023CAFCF5}"/>
              </a:ext>
            </a:extLst>
          </p:cNvPr>
          <p:cNvSpPr>
            <a:spLocks noGrp="1"/>
          </p:cNvSpPr>
          <p:nvPr>
            <p:ph type="body" sz="quarter" idx="16" hasCustomPrompt="1"/>
          </p:nvPr>
        </p:nvSpPr>
        <p:spPr>
          <a:xfrm>
            <a:off x="517609"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2" name="Espace réservé du texte 10">
            <a:extLst>
              <a:ext uri="{FF2B5EF4-FFF2-40B4-BE49-F238E27FC236}">
                <a16:creationId xmlns:a16="http://schemas.microsoft.com/office/drawing/2014/main" id="{5C1EBBD4-A615-4893-9F04-99AE2CBB30EC}"/>
              </a:ext>
            </a:extLst>
          </p:cNvPr>
          <p:cNvSpPr>
            <a:spLocks noGrp="1"/>
          </p:cNvSpPr>
          <p:nvPr>
            <p:ph type="body" sz="quarter" idx="17" hasCustomPrompt="1"/>
          </p:nvPr>
        </p:nvSpPr>
        <p:spPr>
          <a:xfrm>
            <a:off x="3332045"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10">
            <a:extLst>
              <a:ext uri="{FF2B5EF4-FFF2-40B4-BE49-F238E27FC236}">
                <a16:creationId xmlns:a16="http://schemas.microsoft.com/office/drawing/2014/main" id="{124CD343-3513-4F06-BFC3-7441F2D45867}"/>
              </a:ext>
            </a:extLst>
          </p:cNvPr>
          <p:cNvSpPr>
            <a:spLocks noGrp="1"/>
          </p:cNvSpPr>
          <p:nvPr>
            <p:ph type="body" sz="quarter" idx="18" hasCustomPrompt="1"/>
          </p:nvPr>
        </p:nvSpPr>
        <p:spPr>
          <a:xfrm>
            <a:off x="6146482" y="2203179"/>
            <a:ext cx="2062799" cy="2177092"/>
          </a:xfrm>
        </p:spPr>
        <p:txBody>
          <a:bodyPr>
            <a:noAutofit/>
          </a:bodyPr>
          <a:lstStyle>
            <a:lvl1pPr>
              <a:defRPr sz="1200"/>
            </a:lvl1pPr>
            <a:lvl2pPr>
              <a:defRPr sz="1200"/>
            </a:lvl2pPr>
            <a:lvl3pPr>
              <a:defRPr sz="1100"/>
            </a:lvl3pPr>
            <a:lvl4pPr>
              <a:defRPr sz="105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pour une image  9"/>
          <p:cNvSpPr>
            <a:spLocks noGrp="1"/>
          </p:cNvSpPr>
          <p:nvPr>
            <p:ph type="pic" sz="quarter" idx="20" hasCustomPrompt="1"/>
          </p:nvPr>
        </p:nvSpPr>
        <p:spPr>
          <a:xfrm>
            <a:off x="517609" y="1432561"/>
            <a:ext cx="654050" cy="631825"/>
          </a:xfrm>
        </p:spPr>
        <p:txBody>
          <a:bodyPr/>
          <a:lstStyle>
            <a:lvl1pPr>
              <a:defRPr b="1">
                <a:solidFill>
                  <a:schemeClr val="bg2"/>
                </a:solidFill>
              </a:defRPr>
            </a:lvl1pPr>
          </a:lstStyle>
          <a:p>
            <a:r>
              <a:rPr lang="fr-FR" dirty="0" err="1"/>
              <a:t>Picto</a:t>
            </a:r>
            <a:endParaRPr lang="fr-FR" dirty="0"/>
          </a:p>
        </p:txBody>
      </p:sp>
      <p:sp>
        <p:nvSpPr>
          <p:cNvPr id="15" name="Espace réservé pour une image  9"/>
          <p:cNvSpPr>
            <a:spLocks noGrp="1"/>
          </p:cNvSpPr>
          <p:nvPr>
            <p:ph type="pic" sz="quarter" idx="21" hasCustomPrompt="1"/>
          </p:nvPr>
        </p:nvSpPr>
        <p:spPr>
          <a:xfrm>
            <a:off x="3332044" y="1432561"/>
            <a:ext cx="654050" cy="631825"/>
          </a:xfrm>
        </p:spPr>
        <p:txBody>
          <a:bodyPr/>
          <a:lstStyle>
            <a:lvl1pPr>
              <a:defRPr b="1">
                <a:solidFill>
                  <a:schemeClr val="bg2"/>
                </a:solidFill>
              </a:defRPr>
            </a:lvl1pPr>
          </a:lstStyle>
          <a:p>
            <a:r>
              <a:rPr lang="fr-FR" dirty="0" err="1"/>
              <a:t>Picto</a:t>
            </a:r>
            <a:endParaRPr lang="fr-FR" dirty="0"/>
          </a:p>
        </p:txBody>
      </p:sp>
      <p:sp>
        <p:nvSpPr>
          <p:cNvPr id="16" name="Espace réservé pour une image  9"/>
          <p:cNvSpPr>
            <a:spLocks noGrp="1"/>
          </p:cNvSpPr>
          <p:nvPr>
            <p:ph type="pic" sz="quarter" idx="22" hasCustomPrompt="1"/>
          </p:nvPr>
        </p:nvSpPr>
        <p:spPr>
          <a:xfrm>
            <a:off x="6140692" y="1432560"/>
            <a:ext cx="654050" cy="631825"/>
          </a:xfrm>
        </p:spPr>
        <p:txBody>
          <a:bodyPr/>
          <a:lstStyle>
            <a:lvl1pPr>
              <a:defRPr b="1">
                <a:solidFill>
                  <a:schemeClr val="bg2"/>
                </a:solidFill>
              </a:defRPr>
            </a:lvl1pPr>
          </a:lstStyle>
          <a:p>
            <a:r>
              <a:rPr lang="fr-FR" dirty="0" err="1"/>
              <a:t>Picto</a:t>
            </a:r>
            <a:endParaRPr lang="fr-FR" dirty="0"/>
          </a:p>
        </p:txBody>
      </p:sp>
      <p:sp>
        <p:nvSpPr>
          <p:cNvPr id="17"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3"/>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11714136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_9">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18" name="Espace réservé du texte 10">
            <a:extLst>
              <a:ext uri="{FF2B5EF4-FFF2-40B4-BE49-F238E27FC236}">
                <a16:creationId xmlns:a16="http://schemas.microsoft.com/office/drawing/2014/main" id="{83870F8E-71D8-4A4E-BF73-1BDA4B584A07}"/>
              </a:ext>
            </a:extLst>
          </p:cNvPr>
          <p:cNvSpPr>
            <a:spLocks noGrp="1"/>
          </p:cNvSpPr>
          <p:nvPr>
            <p:ph type="body" sz="quarter" idx="18" hasCustomPrompt="1"/>
          </p:nvPr>
        </p:nvSpPr>
        <p:spPr>
          <a:xfrm>
            <a:off x="2596784"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9" name="Espace réservé du texte 9">
            <a:extLst>
              <a:ext uri="{FF2B5EF4-FFF2-40B4-BE49-F238E27FC236}">
                <a16:creationId xmlns:a16="http://schemas.microsoft.com/office/drawing/2014/main" id="{BEAE223B-A4B3-40C0-9C1B-8AE4EB5BCDA1}"/>
              </a:ext>
            </a:extLst>
          </p:cNvPr>
          <p:cNvSpPr>
            <a:spLocks noGrp="1"/>
          </p:cNvSpPr>
          <p:nvPr>
            <p:ph type="body" sz="quarter" idx="19"/>
          </p:nvPr>
        </p:nvSpPr>
        <p:spPr>
          <a:xfrm>
            <a:off x="2596784"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8"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8"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2" name="Espace réservé du texte 10">
            <a:extLst>
              <a:ext uri="{FF2B5EF4-FFF2-40B4-BE49-F238E27FC236}">
                <a16:creationId xmlns:a16="http://schemas.microsoft.com/office/drawing/2014/main" id="{B890002F-81F9-4778-93CB-9221C7910BED}"/>
              </a:ext>
            </a:extLst>
          </p:cNvPr>
          <p:cNvSpPr>
            <a:spLocks noGrp="1"/>
          </p:cNvSpPr>
          <p:nvPr>
            <p:ph type="body" sz="quarter" idx="22" hasCustomPrompt="1"/>
          </p:nvPr>
        </p:nvSpPr>
        <p:spPr>
          <a:xfrm>
            <a:off x="6755046"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9">
            <a:extLst>
              <a:ext uri="{FF2B5EF4-FFF2-40B4-BE49-F238E27FC236}">
                <a16:creationId xmlns:a16="http://schemas.microsoft.com/office/drawing/2014/main" id="{69BBDEAD-028C-4010-8649-60E520717AE7}"/>
              </a:ext>
            </a:extLst>
          </p:cNvPr>
          <p:cNvSpPr>
            <a:spLocks noGrp="1"/>
          </p:cNvSpPr>
          <p:nvPr>
            <p:ph type="body" sz="quarter" idx="23"/>
          </p:nvPr>
        </p:nvSpPr>
        <p:spPr>
          <a:xfrm>
            <a:off x="675504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2348097"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2ABFFF35-EF37-48CB-BD5C-B26D9053EB85}"/>
              </a:ext>
            </a:extLst>
          </p:cNvPr>
          <p:cNvCxnSpPr>
            <a:cxnSpLocks/>
          </p:cNvCxnSpPr>
          <p:nvPr userDrawn="1"/>
        </p:nvCxnSpPr>
        <p:spPr>
          <a:xfrm>
            <a:off x="6506445"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4"/>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34234969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_10">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73627"/>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18" name="Espace réservé du texte 10">
            <a:extLst>
              <a:ext uri="{FF2B5EF4-FFF2-40B4-BE49-F238E27FC236}">
                <a16:creationId xmlns:a16="http://schemas.microsoft.com/office/drawing/2014/main" id="{83870F8E-71D8-4A4E-BF73-1BDA4B584A07}"/>
              </a:ext>
            </a:extLst>
          </p:cNvPr>
          <p:cNvSpPr>
            <a:spLocks noGrp="1"/>
          </p:cNvSpPr>
          <p:nvPr>
            <p:ph type="body" sz="quarter" idx="18" hasCustomPrompt="1"/>
          </p:nvPr>
        </p:nvSpPr>
        <p:spPr>
          <a:xfrm>
            <a:off x="2596784"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9" name="Espace réservé du texte 9">
            <a:extLst>
              <a:ext uri="{FF2B5EF4-FFF2-40B4-BE49-F238E27FC236}">
                <a16:creationId xmlns:a16="http://schemas.microsoft.com/office/drawing/2014/main" id="{BEAE223B-A4B3-40C0-9C1B-8AE4EB5BCDA1}"/>
              </a:ext>
            </a:extLst>
          </p:cNvPr>
          <p:cNvSpPr>
            <a:spLocks noGrp="1"/>
          </p:cNvSpPr>
          <p:nvPr>
            <p:ph type="body" sz="quarter" idx="19"/>
          </p:nvPr>
        </p:nvSpPr>
        <p:spPr>
          <a:xfrm>
            <a:off x="2596784"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8"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8"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2" name="Espace réservé du texte 10">
            <a:extLst>
              <a:ext uri="{FF2B5EF4-FFF2-40B4-BE49-F238E27FC236}">
                <a16:creationId xmlns:a16="http://schemas.microsoft.com/office/drawing/2014/main" id="{B890002F-81F9-4778-93CB-9221C7910BED}"/>
              </a:ext>
            </a:extLst>
          </p:cNvPr>
          <p:cNvSpPr>
            <a:spLocks noGrp="1"/>
          </p:cNvSpPr>
          <p:nvPr>
            <p:ph type="body" sz="quarter" idx="22" hasCustomPrompt="1"/>
          </p:nvPr>
        </p:nvSpPr>
        <p:spPr>
          <a:xfrm>
            <a:off x="6755046" y="1723857"/>
            <a:ext cx="1581802"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3" name="Espace réservé du texte 9">
            <a:extLst>
              <a:ext uri="{FF2B5EF4-FFF2-40B4-BE49-F238E27FC236}">
                <a16:creationId xmlns:a16="http://schemas.microsoft.com/office/drawing/2014/main" id="{69BBDEAD-028C-4010-8649-60E520717AE7}"/>
              </a:ext>
            </a:extLst>
          </p:cNvPr>
          <p:cNvSpPr>
            <a:spLocks noGrp="1"/>
          </p:cNvSpPr>
          <p:nvPr>
            <p:ph type="body" sz="quarter" idx="23"/>
          </p:nvPr>
        </p:nvSpPr>
        <p:spPr>
          <a:xfrm>
            <a:off x="6755046" y="1261369"/>
            <a:ext cx="1581785"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2348097"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2ABFFF35-EF37-48CB-BD5C-B26D9053EB85}"/>
              </a:ext>
            </a:extLst>
          </p:cNvPr>
          <p:cNvCxnSpPr>
            <a:cxnSpLocks/>
          </p:cNvCxnSpPr>
          <p:nvPr userDrawn="1"/>
        </p:nvCxnSpPr>
        <p:spPr>
          <a:xfrm>
            <a:off x="6506445"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Espace réservé du texte 8">
            <a:extLst>
              <a:ext uri="{FF2B5EF4-FFF2-40B4-BE49-F238E27FC236}">
                <a16:creationId xmlns:a16="http://schemas.microsoft.com/office/drawing/2014/main" id="{B4A93AB5-24BE-4651-BF5E-2BE5557AB514}"/>
              </a:ext>
            </a:extLst>
          </p:cNvPr>
          <p:cNvSpPr>
            <a:spLocks noGrp="1"/>
          </p:cNvSpPr>
          <p:nvPr>
            <p:ph type="body" sz="quarter" idx="24"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24"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25"/>
          </p:nvPr>
        </p:nvSpPr>
        <p:spPr>
          <a:xfrm>
            <a:off x="8607765" y="4846821"/>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spTree>
    <p:extLst>
      <p:ext uri="{BB962C8B-B14F-4D97-AF65-F5344CB8AC3E}">
        <p14:creationId xmlns:p14="http://schemas.microsoft.com/office/powerpoint/2010/main" val="18464724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_1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9" y="173626"/>
            <a:ext cx="7247171" cy="824594"/>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cxnSp>
        <p:nvCxnSpPr>
          <p:cNvPr id="25" name="Connecteur droit 24">
            <a:extLst>
              <a:ext uri="{FF2B5EF4-FFF2-40B4-BE49-F238E27FC236}">
                <a16:creationId xmlns:a16="http://schemas.microsoft.com/office/drawing/2014/main" id="{2AC6082B-3FE1-445B-82EF-41BF5DB2E80D}"/>
              </a:ext>
            </a:extLst>
          </p:cNvPr>
          <p:cNvCxnSpPr>
            <a:cxnSpLocks/>
          </p:cNvCxnSpPr>
          <p:nvPr userDrawn="1"/>
        </p:nvCxnSpPr>
        <p:spPr>
          <a:xfrm>
            <a:off x="382137" y="1363980"/>
            <a:ext cx="0" cy="432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Espace réservé du texte 10">
            <a:extLst>
              <a:ext uri="{FF2B5EF4-FFF2-40B4-BE49-F238E27FC236}">
                <a16:creationId xmlns:a16="http://schemas.microsoft.com/office/drawing/2014/main" id="{656FE585-A0DF-4FA9-A891-1E894E475181}"/>
              </a:ext>
            </a:extLst>
          </p:cNvPr>
          <p:cNvSpPr>
            <a:spLocks noGrp="1"/>
          </p:cNvSpPr>
          <p:nvPr>
            <p:ph type="body" sz="quarter" idx="24" hasCustomPrompt="1"/>
          </p:nvPr>
        </p:nvSpPr>
        <p:spPr>
          <a:xfrm>
            <a:off x="517610" y="2820482"/>
            <a:ext cx="3541433" cy="262784"/>
          </a:xfrm>
        </p:spPr>
        <p:txBody>
          <a:bodyPr rIns="36000">
            <a:normAutofit/>
          </a:bodyPr>
          <a:lstStyle>
            <a:lvl1pPr>
              <a:defRPr sz="1200"/>
            </a:lvl1pPr>
            <a:lvl2pPr>
              <a:defRPr sz="1100"/>
            </a:lvl2pPr>
            <a:lvl3pPr>
              <a:defRPr sz="1050"/>
            </a:lvl3pPr>
            <a:lvl4pPr>
              <a:defRPr sz="1000"/>
            </a:lvl4pPr>
          </a:lstStyle>
          <a:p>
            <a:pPr lvl="2"/>
            <a:r>
              <a:rPr lang="en-US" dirty="0"/>
              <a:t>Click to change the text styles of the mask</a:t>
            </a:r>
          </a:p>
        </p:txBody>
      </p:sp>
      <p:sp>
        <p:nvSpPr>
          <p:cNvPr id="24" name="Espace réservé du texte 9">
            <a:extLst>
              <a:ext uri="{FF2B5EF4-FFF2-40B4-BE49-F238E27FC236}">
                <a16:creationId xmlns:a16="http://schemas.microsoft.com/office/drawing/2014/main" id="{84B33C97-F803-4123-8549-06640E0548E0}"/>
              </a:ext>
            </a:extLst>
          </p:cNvPr>
          <p:cNvSpPr>
            <a:spLocks noGrp="1"/>
          </p:cNvSpPr>
          <p:nvPr>
            <p:ph type="body" sz="quarter" idx="25"/>
          </p:nvPr>
        </p:nvSpPr>
        <p:spPr>
          <a:xfrm>
            <a:off x="517526" y="3083265"/>
            <a:ext cx="3541395" cy="419100"/>
          </a:xfrm>
        </p:spPr>
        <p:txBody>
          <a:bodyPr rIns="36000" anchor="t"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1" name="Espace réservé du texte 10">
            <a:extLst>
              <a:ext uri="{FF2B5EF4-FFF2-40B4-BE49-F238E27FC236}">
                <a16:creationId xmlns:a16="http://schemas.microsoft.com/office/drawing/2014/main" id="{B3F9CF99-F963-43B8-A2A1-CAB1943B9348}"/>
              </a:ext>
            </a:extLst>
          </p:cNvPr>
          <p:cNvSpPr>
            <a:spLocks noGrp="1"/>
          </p:cNvSpPr>
          <p:nvPr>
            <p:ph type="body" sz="quarter" idx="26" hasCustomPrompt="1"/>
          </p:nvPr>
        </p:nvSpPr>
        <p:spPr>
          <a:xfrm>
            <a:off x="4666972" y="1363980"/>
            <a:ext cx="3749327" cy="2989020"/>
          </a:xfrm>
        </p:spPr>
        <p:txBody>
          <a:bodyPr rIns="36000">
            <a:noAutofit/>
          </a:bodyPr>
          <a:lstStyle>
            <a:lvl1pPr>
              <a:defRPr sz="1100"/>
            </a:lvl1pPr>
            <a:lvl2pPr>
              <a:spcBef>
                <a:spcPts val="500"/>
              </a:spcBef>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pour une image  12">
            <a:extLst>
              <a:ext uri="{FF2B5EF4-FFF2-40B4-BE49-F238E27FC236}">
                <a16:creationId xmlns:a16="http://schemas.microsoft.com/office/drawing/2014/main" id="{EEFD0060-2F48-4F68-94DD-1ABE6EBC8827}"/>
              </a:ext>
            </a:extLst>
          </p:cNvPr>
          <p:cNvSpPr>
            <a:spLocks noGrp="1"/>
          </p:cNvSpPr>
          <p:nvPr>
            <p:ph type="pic" sz="quarter" idx="30"/>
          </p:nvPr>
        </p:nvSpPr>
        <p:spPr>
          <a:xfrm>
            <a:off x="615996" y="1325220"/>
            <a:ext cx="1539908" cy="497256"/>
          </a:xfrm>
        </p:spPr>
        <p:txBody>
          <a:bodyPr anchor="ctr" anchorCtr="0"/>
          <a:lstStyle>
            <a:lvl1pPr algn="ctr">
              <a:defRPr b="1">
                <a:solidFill>
                  <a:schemeClr val="bg2"/>
                </a:solidFill>
              </a:defRPr>
            </a:lvl1pPr>
          </a:lstStyle>
          <a:p>
            <a:endParaRPr lang="en-GB" dirty="0"/>
          </a:p>
        </p:txBody>
      </p:sp>
      <p:sp>
        <p:nvSpPr>
          <p:cNvPr id="37" name="Espace réservé pour une image  12">
            <a:extLst>
              <a:ext uri="{FF2B5EF4-FFF2-40B4-BE49-F238E27FC236}">
                <a16:creationId xmlns:a16="http://schemas.microsoft.com/office/drawing/2014/main" id="{96D1A85D-69E6-4D91-8D22-9A15DDD6792A}"/>
              </a:ext>
            </a:extLst>
          </p:cNvPr>
          <p:cNvSpPr>
            <a:spLocks noGrp="1"/>
          </p:cNvSpPr>
          <p:nvPr>
            <p:ph type="pic" sz="quarter" idx="31"/>
          </p:nvPr>
        </p:nvSpPr>
        <p:spPr>
          <a:xfrm>
            <a:off x="2389761" y="1326936"/>
            <a:ext cx="1539908" cy="495540"/>
          </a:xfrm>
        </p:spPr>
        <p:txBody>
          <a:bodyPr anchor="ctr" anchorCtr="0"/>
          <a:lstStyle>
            <a:lvl1pPr algn="ctr">
              <a:defRPr b="1">
                <a:solidFill>
                  <a:schemeClr val="bg2"/>
                </a:solidFill>
              </a:defRPr>
            </a:lvl1pPr>
          </a:lstStyle>
          <a:p>
            <a:endParaRPr lang="en-GB" dirty="0"/>
          </a:p>
        </p:txBody>
      </p:sp>
      <p:sp>
        <p:nvSpPr>
          <p:cNvPr id="38" name="Espace réservé du texte 9">
            <a:extLst>
              <a:ext uri="{FF2B5EF4-FFF2-40B4-BE49-F238E27FC236}">
                <a16:creationId xmlns:a16="http://schemas.microsoft.com/office/drawing/2014/main" id="{22BDD468-9552-4038-837E-C07ACB70286B}"/>
              </a:ext>
            </a:extLst>
          </p:cNvPr>
          <p:cNvSpPr>
            <a:spLocks noGrp="1"/>
          </p:cNvSpPr>
          <p:nvPr>
            <p:ph type="body" sz="quarter" idx="32"/>
          </p:nvPr>
        </p:nvSpPr>
        <p:spPr>
          <a:xfrm>
            <a:off x="517526" y="2030307"/>
            <a:ext cx="3541395" cy="541444"/>
          </a:xfrm>
        </p:spPr>
        <p:txBody>
          <a:bodyPr rIns="36000" anchor="t" anchorCtr="0">
            <a:noAutofit/>
          </a:bodyPr>
          <a:lstStyle>
            <a:lvl1pPr>
              <a:defRPr sz="16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9" name="Espace réservé pour une image  12">
            <a:extLst>
              <a:ext uri="{FF2B5EF4-FFF2-40B4-BE49-F238E27FC236}">
                <a16:creationId xmlns:a16="http://schemas.microsoft.com/office/drawing/2014/main" id="{73951113-5A32-4C3E-967B-F90F357B7AD4}"/>
              </a:ext>
            </a:extLst>
          </p:cNvPr>
          <p:cNvSpPr>
            <a:spLocks noGrp="1"/>
          </p:cNvSpPr>
          <p:nvPr>
            <p:ph type="pic" sz="quarter" idx="33" hasCustomPrompt="1"/>
          </p:nvPr>
        </p:nvSpPr>
        <p:spPr>
          <a:xfrm>
            <a:off x="7940041" y="173626"/>
            <a:ext cx="575311" cy="584564"/>
          </a:xfrm>
        </p:spPr>
        <p:txBody>
          <a:bodyPr lIns="0" rIns="0" anchor="ctr" anchorCtr="0">
            <a:noAutofit/>
          </a:bodyPr>
          <a:lstStyle>
            <a:lvl1pPr algn="ctr">
              <a:defRPr sz="1000" b="1">
                <a:solidFill>
                  <a:schemeClr val="accent3"/>
                </a:solidFill>
              </a:defRPr>
            </a:lvl1pPr>
          </a:lstStyle>
          <a:p>
            <a:r>
              <a:rPr lang="fr-FR" dirty="0"/>
              <a:t>drapeau</a:t>
            </a:r>
            <a:endParaRPr lang="en-GB" dirty="0"/>
          </a:p>
        </p:txBody>
      </p:sp>
      <p:sp>
        <p:nvSpPr>
          <p:cNvPr id="40" name="Espace réservé du texte 10">
            <a:extLst>
              <a:ext uri="{FF2B5EF4-FFF2-40B4-BE49-F238E27FC236}">
                <a16:creationId xmlns:a16="http://schemas.microsoft.com/office/drawing/2014/main" id="{D62D1879-CBC7-4272-98C5-F9939033470C}"/>
              </a:ext>
            </a:extLst>
          </p:cNvPr>
          <p:cNvSpPr>
            <a:spLocks noGrp="1"/>
          </p:cNvSpPr>
          <p:nvPr>
            <p:ph type="body" sz="quarter" idx="34" hasCustomPrompt="1"/>
          </p:nvPr>
        </p:nvSpPr>
        <p:spPr>
          <a:xfrm>
            <a:off x="517610" y="3671118"/>
            <a:ext cx="3541433" cy="262784"/>
          </a:xfrm>
        </p:spPr>
        <p:txBody>
          <a:bodyPr rIns="36000">
            <a:normAutofit/>
          </a:bodyPr>
          <a:lstStyle>
            <a:lvl1pPr>
              <a:defRPr sz="1200"/>
            </a:lvl1pPr>
            <a:lvl2pPr>
              <a:defRPr sz="1100"/>
            </a:lvl2pPr>
            <a:lvl3pPr>
              <a:defRPr sz="1050"/>
            </a:lvl3pPr>
            <a:lvl4pPr>
              <a:defRPr sz="1000"/>
            </a:lvl4pPr>
          </a:lstStyle>
          <a:p>
            <a:pPr lvl="2"/>
            <a:r>
              <a:rPr lang="en-US" dirty="0"/>
              <a:t>Click to change the text styles of the mask</a:t>
            </a:r>
          </a:p>
        </p:txBody>
      </p:sp>
      <p:sp>
        <p:nvSpPr>
          <p:cNvPr id="41" name="Espace réservé du texte 9">
            <a:extLst>
              <a:ext uri="{FF2B5EF4-FFF2-40B4-BE49-F238E27FC236}">
                <a16:creationId xmlns:a16="http://schemas.microsoft.com/office/drawing/2014/main" id="{26D7FA52-02B0-4C4B-8A8C-774E1467174D}"/>
              </a:ext>
            </a:extLst>
          </p:cNvPr>
          <p:cNvSpPr>
            <a:spLocks noGrp="1"/>
          </p:cNvSpPr>
          <p:nvPr>
            <p:ph type="body" sz="quarter" idx="35"/>
          </p:nvPr>
        </p:nvSpPr>
        <p:spPr>
          <a:xfrm>
            <a:off x="517526" y="3933900"/>
            <a:ext cx="3541395" cy="419100"/>
          </a:xfrm>
        </p:spPr>
        <p:txBody>
          <a:bodyPr rIns="36000" anchor="t"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42" name="Connecteur droit 41">
            <a:extLst>
              <a:ext uri="{FF2B5EF4-FFF2-40B4-BE49-F238E27FC236}">
                <a16:creationId xmlns:a16="http://schemas.microsoft.com/office/drawing/2014/main" id="{6DCF3C66-EB4E-4D42-8B2C-0E5335280658}"/>
              </a:ext>
            </a:extLst>
          </p:cNvPr>
          <p:cNvCxnSpPr>
            <a:cxnSpLocks/>
          </p:cNvCxnSpPr>
          <p:nvPr userDrawn="1"/>
        </p:nvCxnSpPr>
        <p:spPr>
          <a:xfrm>
            <a:off x="4399219" y="1363980"/>
            <a:ext cx="0" cy="298902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0164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_1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1485666" y="1558484"/>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1485581" y="1288161"/>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7" name="Espace réservé pour une image  6">
            <a:extLst>
              <a:ext uri="{FF2B5EF4-FFF2-40B4-BE49-F238E27FC236}">
                <a16:creationId xmlns:a16="http://schemas.microsoft.com/office/drawing/2014/main" id="{505CD692-332B-45D3-8814-4099035C34D9}"/>
              </a:ext>
            </a:extLst>
          </p:cNvPr>
          <p:cNvSpPr>
            <a:spLocks noGrp="1"/>
          </p:cNvSpPr>
          <p:nvPr>
            <p:ph type="pic" sz="quarter" idx="24"/>
          </p:nvPr>
        </p:nvSpPr>
        <p:spPr>
          <a:xfrm>
            <a:off x="622413" y="1257308"/>
            <a:ext cx="666559" cy="774693"/>
          </a:xfrm>
        </p:spPr>
        <p:txBody>
          <a:bodyPr>
            <a:normAutofit/>
          </a:bodyPr>
          <a:lstStyle>
            <a:lvl1pPr algn="ctr">
              <a:defRPr sz="1100" b="1">
                <a:solidFill>
                  <a:schemeClr val="bg2"/>
                </a:solidFill>
              </a:defRPr>
            </a:lvl1pPr>
          </a:lstStyle>
          <a:p>
            <a:endParaRPr lang="en-GB" dirty="0"/>
          </a:p>
        </p:txBody>
      </p:sp>
      <p:sp>
        <p:nvSpPr>
          <p:cNvPr id="36" name="Espace réservé du texte 10">
            <a:extLst>
              <a:ext uri="{FF2B5EF4-FFF2-40B4-BE49-F238E27FC236}">
                <a16:creationId xmlns:a16="http://schemas.microsoft.com/office/drawing/2014/main" id="{399A5DFA-0B9D-4A82-8AF2-980A5BB762D8}"/>
              </a:ext>
            </a:extLst>
          </p:cNvPr>
          <p:cNvSpPr>
            <a:spLocks noGrp="1"/>
          </p:cNvSpPr>
          <p:nvPr>
            <p:ph type="body" sz="quarter" idx="25" hasCustomPrompt="1"/>
          </p:nvPr>
        </p:nvSpPr>
        <p:spPr>
          <a:xfrm>
            <a:off x="1485666" y="2637985"/>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37" name="Espace réservé du texte 9">
            <a:extLst>
              <a:ext uri="{FF2B5EF4-FFF2-40B4-BE49-F238E27FC236}">
                <a16:creationId xmlns:a16="http://schemas.microsoft.com/office/drawing/2014/main" id="{F7500000-C125-4CAC-B8B3-49BCB3E6B43B}"/>
              </a:ext>
            </a:extLst>
          </p:cNvPr>
          <p:cNvSpPr>
            <a:spLocks noGrp="1"/>
          </p:cNvSpPr>
          <p:nvPr>
            <p:ph type="body" sz="quarter" idx="26"/>
          </p:nvPr>
        </p:nvSpPr>
        <p:spPr>
          <a:xfrm>
            <a:off x="1485581" y="2367662"/>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38" name="Espace réservé pour une image  6">
            <a:extLst>
              <a:ext uri="{FF2B5EF4-FFF2-40B4-BE49-F238E27FC236}">
                <a16:creationId xmlns:a16="http://schemas.microsoft.com/office/drawing/2014/main" id="{EA6CEE02-FA37-41F8-B077-5BD93DC8E97F}"/>
              </a:ext>
            </a:extLst>
          </p:cNvPr>
          <p:cNvSpPr>
            <a:spLocks noGrp="1"/>
          </p:cNvSpPr>
          <p:nvPr>
            <p:ph type="pic" sz="quarter" idx="27"/>
          </p:nvPr>
        </p:nvSpPr>
        <p:spPr>
          <a:xfrm>
            <a:off x="622413" y="2336809"/>
            <a:ext cx="666559" cy="774693"/>
          </a:xfrm>
        </p:spPr>
        <p:txBody>
          <a:bodyPr>
            <a:normAutofit/>
          </a:bodyPr>
          <a:lstStyle>
            <a:lvl1pPr algn="ctr">
              <a:defRPr sz="1100" b="1">
                <a:solidFill>
                  <a:schemeClr val="bg2"/>
                </a:solidFill>
              </a:defRPr>
            </a:lvl1pPr>
          </a:lstStyle>
          <a:p>
            <a:endParaRPr lang="en-GB" dirty="0"/>
          </a:p>
        </p:txBody>
      </p:sp>
      <p:sp>
        <p:nvSpPr>
          <p:cNvPr id="39" name="Espace réservé du texte 10">
            <a:extLst>
              <a:ext uri="{FF2B5EF4-FFF2-40B4-BE49-F238E27FC236}">
                <a16:creationId xmlns:a16="http://schemas.microsoft.com/office/drawing/2014/main" id="{81F04FE6-AA5A-4003-BC56-01F0945724D9}"/>
              </a:ext>
            </a:extLst>
          </p:cNvPr>
          <p:cNvSpPr>
            <a:spLocks noGrp="1"/>
          </p:cNvSpPr>
          <p:nvPr>
            <p:ph type="body" sz="quarter" idx="28" hasCustomPrompt="1"/>
          </p:nvPr>
        </p:nvSpPr>
        <p:spPr>
          <a:xfrm>
            <a:off x="1485666" y="3717486"/>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40" name="Espace réservé du texte 9">
            <a:extLst>
              <a:ext uri="{FF2B5EF4-FFF2-40B4-BE49-F238E27FC236}">
                <a16:creationId xmlns:a16="http://schemas.microsoft.com/office/drawing/2014/main" id="{7FCA421D-6292-442C-B5AD-E9F0CEB3173B}"/>
              </a:ext>
            </a:extLst>
          </p:cNvPr>
          <p:cNvSpPr>
            <a:spLocks noGrp="1"/>
          </p:cNvSpPr>
          <p:nvPr>
            <p:ph type="body" sz="quarter" idx="29"/>
          </p:nvPr>
        </p:nvSpPr>
        <p:spPr>
          <a:xfrm>
            <a:off x="1485581" y="3447163"/>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41" name="Espace réservé pour une image  6">
            <a:extLst>
              <a:ext uri="{FF2B5EF4-FFF2-40B4-BE49-F238E27FC236}">
                <a16:creationId xmlns:a16="http://schemas.microsoft.com/office/drawing/2014/main" id="{E6ED6256-27CC-49AA-8A38-B3FB2DBA9500}"/>
              </a:ext>
            </a:extLst>
          </p:cNvPr>
          <p:cNvSpPr>
            <a:spLocks noGrp="1"/>
          </p:cNvSpPr>
          <p:nvPr>
            <p:ph type="pic" sz="quarter" idx="30"/>
          </p:nvPr>
        </p:nvSpPr>
        <p:spPr>
          <a:xfrm>
            <a:off x="622413" y="3416309"/>
            <a:ext cx="666559" cy="774693"/>
          </a:xfrm>
        </p:spPr>
        <p:txBody>
          <a:bodyPr>
            <a:normAutofit/>
          </a:bodyPr>
          <a:lstStyle>
            <a:lvl1pPr algn="ctr">
              <a:defRPr sz="1100" b="1">
                <a:solidFill>
                  <a:schemeClr val="bg2"/>
                </a:solidFill>
              </a:defRPr>
            </a:lvl1pPr>
          </a:lstStyle>
          <a:p>
            <a:endParaRPr lang="en-GB" dirty="0"/>
          </a:p>
        </p:txBody>
      </p:sp>
      <p:sp>
        <p:nvSpPr>
          <p:cNvPr id="53" name="Espace réservé du texte 10">
            <a:extLst>
              <a:ext uri="{FF2B5EF4-FFF2-40B4-BE49-F238E27FC236}">
                <a16:creationId xmlns:a16="http://schemas.microsoft.com/office/drawing/2014/main" id="{41A9A72B-4D43-402D-AC02-49EBF9C8DA75}"/>
              </a:ext>
            </a:extLst>
          </p:cNvPr>
          <p:cNvSpPr>
            <a:spLocks noGrp="1"/>
          </p:cNvSpPr>
          <p:nvPr>
            <p:ph type="body" sz="quarter" idx="31" hasCustomPrompt="1"/>
          </p:nvPr>
        </p:nvSpPr>
        <p:spPr>
          <a:xfrm>
            <a:off x="5715384" y="1558484"/>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54" name="Espace réservé du texte 9">
            <a:extLst>
              <a:ext uri="{FF2B5EF4-FFF2-40B4-BE49-F238E27FC236}">
                <a16:creationId xmlns:a16="http://schemas.microsoft.com/office/drawing/2014/main" id="{E32611A7-F8B8-41E0-A9B5-CC45B3265D09}"/>
              </a:ext>
            </a:extLst>
          </p:cNvPr>
          <p:cNvSpPr>
            <a:spLocks noGrp="1"/>
          </p:cNvSpPr>
          <p:nvPr>
            <p:ph type="body" sz="quarter" idx="32"/>
          </p:nvPr>
        </p:nvSpPr>
        <p:spPr>
          <a:xfrm>
            <a:off x="5715299" y="1288161"/>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55" name="Espace réservé pour une image  6">
            <a:extLst>
              <a:ext uri="{FF2B5EF4-FFF2-40B4-BE49-F238E27FC236}">
                <a16:creationId xmlns:a16="http://schemas.microsoft.com/office/drawing/2014/main" id="{B01C242D-F8CD-4877-B097-C386CB9BC948}"/>
              </a:ext>
            </a:extLst>
          </p:cNvPr>
          <p:cNvSpPr>
            <a:spLocks noGrp="1"/>
          </p:cNvSpPr>
          <p:nvPr>
            <p:ph type="pic" sz="quarter" idx="33"/>
          </p:nvPr>
        </p:nvSpPr>
        <p:spPr>
          <a:xfrm>
            <a:off x="4852131" y="1257308"/>
            <a:ext cx="666559" cy="774693"/>
          </a:xfrm>
        </p:spPr>
        <p:txBody>
          <a:bodyPr>
            <a:normAutofit/>
          </a:bodyPr>
          <a:lstStyle>
            <a:lvl1pPr algn="ctr">
              <a:defRPr sz="1100" b="1">
                <a:solidFill>
                  <a:schemeClr val="bg2"/>
                </a:solidFill>
              </a:defRPr>
            </a:lvl1pPr>
          </a:lstStyle>
          <a:p>
            <a:endParaRPr lang="en-GB" dirty="0"/>
          </a:p>
        </p:txBody>
      </p:sp>
      <p:sp>
        <p:nvSpPr>
          <p:cNvPr id="56" name="Espace réservé du texte 10">
            <a:extLst>
              <a:ext uri="{FF2B5EF4-FFF2-40B4-BE49-F238E27FC236}">
                <a16:creationId xmlns:a16="http://schemas.microsoft.com/office/drawing/2014/main" id="{987D6271-73C2-43B7-9B70-FC65E23BA099}"/>
              </a:ext>
            </a:extLst>
          </p:cNvPr>
          <p:cNvSpPr>
            <a:spLocks noGrp="1"/>
          </p:cNvSpPr>
          <p:nvPr>
            <p:ph type="body" sz="quarter" idx="34" hasCustomPrompt="1"/>
          </p:nvPr>
        </p:nvSpPr>
        <p:spPr>
          <a:xfrm>
            <a:off x="5715384" y="2637985"/>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57" name="Espace réservé du texte 9">
            <a:extLst>
              <a:ext uri="{FF2B5EF4-FFF2-40B4-BE49-F238E27FC236}">
                <a16:creationId xmlns:a16="http://schemas.microsoft.com/office/drawing/2014/main" id="{2E7001AC-A342-4DC7-A318-0EA93FC10D98}"/>
              </a:ext>
            </a:extLst>
          </p:cNvPr>
          <p:cNvSpPr>
            <a:spLocks noGrp="1"/>
          </p:cNvSpPr>
          <p:nvPr>
            <p:ph type="body" sz="quarter" idx="35"/>
          </p:nvPr>
        </p:nvSpPr>
        <p:spPr>
          <a:xfrm>
            <a:off x="5715299" y="2367662"/>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58" name="Espace réservé pour une image  6">
            <a:extLst>
              <a:ext uri="{FF2B5EF4-FFF2-40B4-BE49-F238E27FC236}">
                <a16:creationId xmlns:a16="http://schemas.microsoft.com/office/drawing/2014/main" id="{D8866A67-5141-4156-8DBF-847D982135A2}"/>
              </a:ext>
            </a:extLst>
          </p:cNvPr>
          <p:cNvSpPr>
            <a:spLocks noGrp="1"/>
          </p:cNvSpPr>
          <p:nvPr>
            <p:ph type="pic" sz="quarter" idx="36"/>
          </p:nvPr>
        </p:nvSpPr>
        <p:spPr>
          <a:xfrm>
            <a:off x="4852131" y="2336809"/>
            <a:ext cx="666559" cy="774693"/>
          </a:xfrm>
        </p:spPr>
        <p:txBody>
          <a:bodyPr>
            <a:normAutofit/>
          </a:bodyPr>
          <a:lstStyle>
            <a:lvl1pPr algn="ctr">
              <a:defRPr sz="1100" b="1">
                <a:solidFill>
                  <a:schemeClr val="bg2"/>
                </a:solidFill>
              </a:defRPr>
            </a:lvl1pPr>
          </a:lstStyle>
          <a:p>
            <a:endParaRPr lang="en-GB" dirty="0"/>
          </a:p>
        </p:txBody>
      </p:sp>
      <p:sp>
        <p:nvSpPr>
          <p:cNvPr id="59" name="Espace réservé du texte 10">
            <a:extLst>
              <a:ext uri="{FF2B5EF4-FFF2-40B4-BE49-F238E27FC236}">
                <a16:creationId xmlns:a16="http://schemas.microsoft.com/office/drawing/2014/main" id="{F187A3F1-3295-464C-B4FB-63EC963ADF80}"/>
              </a:ext>
            </a:extLst>
          </p:cNvPr>
          <p:cNvSpPr>
            <a:spLocks noGrp="1"/>
          </p:cNvSpPr>
          <p:nvPr>
            <p:ph type="body" sz="quarter" idx="37" hasCustomPrompt="1"/>
          </p:nvPr>
        </p:nvSpPr>
        <p:spPr>
          <a:xfrm>
            <a:off x="5715384" y="3717486"/>
            <a:ext cx="2575584" cy="330744"/>
          </a:xfrm>
        </p:spPr>
        <p:txBody>
          <a:bodyPr rIns="36000">
            <a:normAutofit/>
          </a:bodyPr>
          <a:lstStyle>
            <a:lvl1pPr>
              <a:defRPr sz="1050"/>
            </a:lvl1pPr>
            <a:lvl2pPr>
              <a:defRPr sz="1050"/>
            </a:lvl2pPr>
            <a:lvl3pPr>
              <a:defRPr sz="1050"/>
            </a:lvl3pPr>
            <a:lvl4pPr>
              <a:defRPr sz="1000"/>
            </a:lvl4pPr>
          </a:lstStyle>
          <a:p>
            <a:pPr lvl="0"/>
            <a:r>
              <a:rPr lang="en-US" dirty="0"/>
              <a:t>Click to change the text styles of the mask</a:t>
            </a:r>
          </a:p>
          <a:p>
            <a:pPr lvl="1"/>
            <a:r>
              <a:rPr lang="fr-FR" dirty="0"/>
              <a:t>Second </a:t>
            </a:r>
            <a:r>
              <a:rPr lang="fr-FR" dirty="0" err="1"/>
              <a:t>level</a:t>
            </a:r>
            <a:endParaRPr lang="fr-FR" dirty="0"/>
          </a:p>
        </p:txBody>
      </p:sp>
      <p:sp>
        <p:nvSpPr>
          <p:cNvPr id="60" name="Espace réservé du texte 9">
            <a:extLst>
              <a:ext uri="{FF2B5EF4-FFF2-40B4-BE49-F238E27FC236}">
                <a16:creationId xmlns:a16="http://schemas.microsoft.com/office/drawing/2014/main" id="{9C672168-6EC3-464C-879E-DDA81CDA3E20}"/>
              </a:ext>
            </a:extLst>
          </p:cNvPr>
          <p:cNvSpPr>
            <a:spLocks noGrp="1"/>
          </p:cNvSpPr>
          <p:nvPr>
            <p:ph type="body" sz="quarter" idx="38"/>
          </p:nvPr>
        </p:nvSpPr>
        <p:spPr>
          <a:xfrm>
            <a:off x="5715299" y="3447163"/>
            <a:ext cx="2575557" cy="284933"/>
          </a:xfrm>
        </p:spPr>
        <p:txBody>
          <a:bodyPr rIns="36000" anchor="b" anchorCtr="0">
            <a:noAutofit/>
          </a:bodyPr>
          <a:lstStyle>
            <a:lvl1pPr>
              <a:defRPr sz="11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61" name="Espace réservé pour une image  6">
            <a:extLst>
              <a:ext uri="{FF2B5EF4-FFF2-40B4-BE49-F238E27FC236}">
                <a16:creationId xmlns:a16="http://schemas.microsoft.com/office/drawing/2014/main" id="{0B4DA4AF-1228-46AE-BDB0-0226FCD1EC37}"/>
              </a:ext>
            </a:extLst>
          </p:cNvPr>
          <p:cNvSpPr>
            <a:spLocks noGrp="1"/>
          </p:cNvSpPr>
          <p:nvPr>
            <p:ph type="pic" sz="quarter" idx="39"/>
          </p:nvPr>
        </p:nvSpPr>
        <p:spPr>
          <a:xfrm>
            <a:off x="4852131" y="3416309"/>
            <a:ext cx="666559" cy="774693"/>
          </a:xfrm>
        </p:spPr>
        <p:txBody>
          <a:bodyPr>
            <a:normAutofit/>
          </a:bodyPr>
          <a:lstStyle>
            <a:lvl1pPr algn="ctr">
              <a:defRPr sz="1100" b="1">
                <a:solidFill>
                  <a:schemeClr val="bg2"/>
                </a:solidFill>
              </a:defRPr>
            </a:lvl1pPr>
          </a:lstStyle>
          <a:p>
            <a:endParaRPr lang="en-GB" dirty="0"/>
          </a:p>
        </p:txBody>
      </p:sp>
    </p:spTree>
    <p:extLst>
      <p:ext uri="{BB962C8B-B14F-4D97-AF65-F5344CB8AC3E}">
        <p14:creationId xmlns:p14="http://schemas.microsoft.com/office/powerpoint/2010/main" val="33728340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_1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3661096"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sp>
        <p:nvSpPr>
          <p:cNvPr id="20" name="Espace réservé du texte 10">
            <a:extLst>
              <a:ext uri="{FF2B5EF4-FFF2-40B4-BE49-F238E27FC236}">
                <a16:creationId xmlns:a16="http://schemas.microsoft.com/office/drawing/2014/main" id="{22C8923A-9EF2-4604-9FE1-EF3612DB56B0}"/>
              </a:ext>
            </a:extLst>
          </p:cNvPr>
          <p:cNvSpPr>
            <a:spLocks noGrp="1"/>
          </p:cNvSpPr>
          <p:nvPr>
            <p:ph type="body" sz="quarter" idx="20" hasCustomPrompt="1"/>
          </p:nvPr>
        </p:nvSpPr>
        <p:spPr>
          <a:xfrm>
            <a:off x="4675957" y="1723857"/>
            <a:ext cx="3661093" cy="2656415"/>
          </a:xfrm>
        </p:spPr>
        <p:txBody>
          <a:bodyPr rIns="36000">
            <a:noAutofit/>
          </a:bodyPr>
          <a:lstStyle>
            <a:lvl1pPr>
              <a:defRPr sz="1100"/>
            </a:lvl1pPr>
            <a:lvl2pPr>
              <a:defRPr sz="1100"/>
            </a:lvl2pPr>
            <a:lvl3pPr>
              <a:defRPr sz="1050"/>
            </a:lvl3pPr>
            <a:lvl4pPr>
              <a:defRPr sz="1000"/>
            </a:lvl4p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1" name="Espace réservé du texte 9">
            <a:extLst>
              <a:ext uri="{FF2B5EF4-FFF2-40B4-BE49-F238E27FC236}">
                <a16:creationId xmlns:a16="http://schemas.microsoft.com/office/drawing/2014/main" id="{9AE0C259-809D-4DAC-92C5-A371FB06012A}"/>
              </a:ext>
            </a:extLst>
          </p:cNvPr>
          <p:cNvSpPr>
            <a:spLocks noGrp="1"/>
          </p:cNvSpPr>
          <p:nvPr>
            <p:ph type="body" sz="quarter" idx="21"/>
          </p:nvPr>
        </p:nvSpPr>
        <p:spPr>
          <a:xfrm>
            <a:off x="4675958" y="1261369"/>
            <a:ext cx="3661054"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31246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67659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_1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4427271" y="1546302"/>
            <a:ext cx="0" cy="259451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8">
            <a:extLst>
              <a:ext uri="{FF2B5EF4-FFF2-40B4-BE49-F238E27FC236}">
                <a16:creationId xmlns:a16="http://schemas.microsoft.com/office/drawing/2014/main" id="{EE511D6E-8D75-49F5-8CB3-179A7E343040}"/>
              </a:ext>
            </a:extLst>
          </p:cNvPr>
          <p:cNvSpPr>
            <a:spLocks noGrp="1"/>
          </p:cNvSpPr>
          <p:nvPr>
            <p:ph type="body" sz="quarter" idx="19"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
        <p:nvSpPr>
          <p:cNvPr id="13" name="Espace réservé du texte 10">
            <a:extLst>
              <a:ext uri="{FF2B5EF4-FFF2-40B4-BE49-F238E27FC236}">
                <a16:creationId xmlns:a16="http://schemas.microsoft.com/office/drawing/2014/main" id="{D4096D08-EB32-4C41-A345-3911BCCF5141}"/>
              </a:ext>
            </a:extLst>
          </p:cNvPr>
          <p:cNvSpPr>
            <a:spLocks noGrp="1"/>
          </p:cNvSpPr>
          <p:nvPr>
            <p:ph type="body" sz="quarter" idx="25" hasCustomPrompt="1"/>
          </p:nvPr>
        </p:nvSpPr>
        <p:spPr>
          <a:xfrm>
            <a:off x="517610" y="1261369"/>
            <a:ext cx="3661096" cy="3118902"/>
          </a:xfrm>
        </p:spPr>
        <p:txBody>
          <a:bodyPr rIns="36000">
            <a:noAutofit/>
          </a:bodyPr>
          <a:lstStyle>
            <a:lvl1pPr>
              <a:defRPr sz="1100"/>
            </a:lvl1pPr>
            <a:lvl2pPr>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4" name="Espace réservé du texte 10">
            <a:extLst>
              <a:ext uri="{FF2B5EF4-FFF2-40B4-BE49-F238E27FC236}">
                <a16:creationId xmlns:a16="http://schemas.microsoft.com/office/drawing/2014/main" id="{AFC7ED14-9B25-4EFF-8B73-F6338D7B2720}"/>
              </a:ext>
            </a:extLst>
          </p:cNvPr>
          <p:cNvSpPr>
            <a:spLocks noGrp="1"/>
          </p:cNvSpPr>
          <p:nvPr>
            <p:ph type="body" sz="quarter" idx="26" hasCustomPrompt="1"/>
          </p:nvPr>
        </p:nvSpPr>
        <p:spPr>
          <a:xfrm>
            <a:off x="4675957" y="1261369"/>
            <a:ext cx="3661093" cy="3118902"/>
          </a:xfrm>
        </p:spPr>
        <p:txBody>
          <a:bodyPr rIns="36000">
            <a:noAutofit/>
          </a:bodyPr>
          <a:lstStyle>
            <a:lvl1pPr>
              <a:defRPr sz="1100"/>
            </a:lvl1pPr>
            <a:lvl2pPr>
              <a:defRPr sz="1100"/>
            </a:lvl2pPr>
            <a:lvl3pPr>
              <a:defRPr sz="1050"/>
            </a:lvl3pPr>
            <a:lvl4pPr>
              <a:defRPr sz="1000"/>
            </a:lvl4pPr>
          </a:lstStyle>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Tree>
    <p:extLst>
      <p:ext uri="{BB962C8B-B14F-4D97-AF65-F5344CB8AC3E}">
        <p14:creationId xmlns:p14="http://schemas.microsoft.com/office/powerpoint/2010/main" val="262111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0"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 name="Rectangle 2"/>
          <p:cNvSpPr/>
          <p:nvPr userDrawn="1"/>
        </p:nvSpPr>
        <p:spPr>
          <a:xfrm>
            <a:off x="252000" y="0"/>
            <a:ext cx="4584159" cy="5143499"/>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0"/>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5181600" y="1724722"/>
            <a:ext cx="3483710" cy="1694054"/>
          </a:xfrm>
        </p:spPr>
        <p:txBody>
          <a:bodyPr anchor="ctr" anchorCtr="0"/>
          <a:lstStyle>
            <a:lvl1pPr>
              <a:lnSpc>
                <a:spcPct val="100000"/>
              </a:lnSpc>
              <a:defRPr sz="2600">
                <a:solidFill>
                  <a:schemeClr val="tx2"/>
                </a:solidFill>
                <a:latin typeface="+mj-lt"/>
              </a:defRPr>
            </a:lvl1pPr>
          </a:lstStyle>
          <a:p>
            <a:r>
              <a:rPr lang="en-US" dirty="0"/>
              <a:t>Insert the title of your chapter.</a:t>
            </a:r>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0"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0"/>
            <a:ext cx="525046" cy="304373"/>
          </a:xfrm>
        </p:spPr>
        <p:txBody>
          <a:bodyPr/>
          <a:lstStyle>
            <a:lvl1pPr>
              <a:defRPr>
                <a:solidFill>
                  <a:schemeClr val="bg1"/>
                </a:solidFill>
                <a:latin typeface="+mj-lt"/>
              </a:defRPr>
            </a:lvl1pPr>
          </a:lstStyle>
          <a:p>
            <a:fld id="{98BD2159-827C-4021-9B0E-DCD852BEB59E}" type="slidenum">
              <a:rPr lang="en-GB" smtClean="0"/>
              <a:pPr/>
              <a:t>‹N°›</a:t>
            </a:fld>
            <a:endParaRPr lang="en-GB" dirty="0"/>
          </a:p>
        </p:txBody>
      </p:sp>
      <p:pic>
        <p:nvPicPr>
          <p:cNvPr id="15" name="Picture 14"/>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23553572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375661"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10">
            <a:extLst>
              <a:ext uri="{FF2B5EF4-FFF2-40B4-BE49-F238E27FC236}">
                <a16:creationId xmlns:a16="http://schemas.microsoft.com/office/drawing/2014/main" id="{884ED785-1C5E-4F78-A275-F34C3AEAE06F}"/>
              </a:ext>
            </a:extLst>
          </p:cNvPr>
          <p:cNvSpPr>
            <a:spLocks noGrp="1"/>
          </p:cNvSpPr>
          <p:nvPr>
            <p:ph type="body" sz="quarter" idx="22" hasCustomPrompt="1"/>
          </p:nvPr>
        </p:nvSpPr>
        <p:spPr>
          <a:xfrm>
            <a:off x="517610"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9">
            <a:extLst>
              <a:ext uri="{FF2B5EF4-FFF2-40B4-BE49-F238E27FC236}">
                <a16:creationId xmlns:a16="http://schemas.microsoft.com/office/drawing/2014/main" id="{8992EC07-F579-4A40-AAD6-B8347D980B99}"/>
              </a:ext>
            </a:extLst>
          </p:cNvPr>
          <p:cNvSpPr>
            <a:spLocks noGrp="1"/>
          </p:cNvSpPr>
          <p:nvPr>
            <p:ph type="body" sz="quarter" idx="23"/>
          </p:nvPr>
        </p:nvSpPr>
        <p:spPr>
          <a:xfrm>
            <a:off x="517526"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14" name="Connecteur droit 13">
            <a:extLst>
              <a:ext uri="{FF2B5EF4-FFF2-40B4-BE49-F238E27FC236}">
                <a16:creationId xmlns:a16="http://schemas.microsoft.com/office/drawing/2014/main" id="{7C5E9985-FD1E-428E-A038-1833C2306C28}"/>
              </a:ext>
            </a:extLst>
          </p:cNvPr>
          <p:cNvCxnSpPr>
            <a:cxnSpLocks/>
          </p:cNvCxnSpPr>
          <p:nvPr userDrawn="1"/>
        </p:nvCxnSpPr>
        <p:spPr>
          <a:xfrm>
            <a:off x="375661"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texte 10">
            <a:extLst>
              <a:ext uri="{FF2B5EF4-FFF2-40B4-BE49-F238E27FC236}">
                <a16:creationId xmlns:a16="http://schemas.microsoft.com/office/drawing/2014/main" id="{B3933DBD-2D64-49E5-9665-2D4D428F0437}"/>
              </a:ext>
            </a:extLst>
          </p:cNvPr>
          <p:cNvSpPr>
            <a:spLocks noGrp="1"/>
          </p:cNvSpPr>
          <p:nvPr>
            <p:ph type="body" sz="quarter" idx="24" hasCustomPrompt="1"/>
          </p:nvPr>
        </p:nvSpPr>
        <p:spPr>
          <a:xfrm>
            <a:off x="4572084"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5" name="Espace réservé du texte 9">
            <a:extLst>
              <a:ext uri="{FF2B5EF4-FFF2-40B4-BE49-F238E27FC236}">
                <a16:creationId xmlns:a16="http://schemas.microsoft.com/office/drawing/2014/main" id="{6500DBB1-D65A-4FD5-9F9B-A5027F560FD1}"/>
              </a:ext>
            </a:extLst>
          </p:cNvPr>
          <p:cNvSpPr>
            <a:spLocks noGrp="1"/>
          </p:cNvSpPr>
          <p:nvPr>
            <p:ph type="body" sz="quarter" idx="25"/>
          </p:nvPr>
        </p:nvSpPr>
        <p:spPr>
          <a:xfrm>
            <a:off x="4572001"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6" name="Connecteur droit 25">
            <a:extLst>
              <a:ext uri="{FF2B5EF4-FFF2-40B4-BE49-F238E27FC236}">
                <a16:creationId xmlns:a16="http://schemas.microsoft.com/office/drawing/2014/main" id="{C778CDC4-5FA1-4048-9A78-5B42F7B95A26}"/>
              </a:ext>
            </a:extLst>
          </p:cNvPr>
          <p:cNvCxnSpPr>
            <a:cxnSpLocks/>
          </p:cNvCxnSpPr>
          <p:nvPr userDrawn="1"/>
        </p:nvCxnSpPr>
        <p:spPr>
          <a:xfrm>
            <a:off x="4430136"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Espace réservé du texte 10">
            <a:extLst>
              <a:ext uri="{FF2B5EF4-FFF2-40B4-BE49-F238E27FC236}">
                <a16:creationId xmlns:a16="http://schemas.microsoft.com/office/drawing/2014/main" id="{58300066-BB96-4C12-B605-19344574F918}"/>
              </a:ext>
            </a:extLst>
          </p:cNvPr>
          <p:cNvSpPr>
            <a:spLocks noGrp="1"/>
          </p:cNvSpPr>
          <p:nvPr>
            <p:ph type="body" sz="quarter" idx="26" hasCustomPrompt="1"/>
          </p:nvPr>
        </p:nvSpPr>
        <p:spPr>
          <a:xfrm>
            <a:off x="4572084"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9" name="Espace réservé du texte 9">
            <a:extLst>
              <a:ext uri="{FF2B5EF4-FFF2-40B4-BE49-F238E27FC236}">
                <a16:creationId xmlns:a16="http://schemas.microsoft.com/office/drawing/2014/main" id="{90E4005E-EE52-414F-9FD7-3E4E4439CC01}"/>
              </a:ext>
            </a:extLst>
          </p:cNvPr>
          <p:cNvSpPr>
            <a:spLocks noGrp="1"/>
          </p:cNvSpPr>
          <p:nvPr>
            <p:ph type="body" sz="quarter" idx="27"/>
          </p:nvPr>
        </p:nvSpPr>
        <p:spPr>
          <a:xfrm>
            <a:off x="4572001"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30" name="Connecteur droit 29">
            <a:extLst>
              <a:ext uri="{FF2B5EF4-FFF2-40B4-BE49-F238E27FC236}">
                <a16:creationId xmlns:a16="http://schemas.microsoft.com/office/drawing/2014/main" id="{920CA81A-996E-455B-A7A4-21D294E47153}"/>
              </a:ext>
            </a:extLst>
          </p:cNvPr>
          <p:cNvCxnSpPr>
            <a:cxnSpLocks/>
          </p:cNvCxnSpPr>
          <p:nvPr userDrawn="1"/>
        </p:nvCxnSpPr>
        <p:spPr>
          <a:xfrm>
            <a:off x="4430136"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897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_1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01B627-F7AA-4D34-92E8-D8D31A15EB96}"/>
              </a:ext>
            </a:extLst>
          </p:cNvPr>
          <p:cNvSpPr>
            <a:spLocks noGrp="1"/>
          </p:cNvSpPr>
          <p:nvPr>
            <p:ph type="title" hasCustomPrompt="1"/>
          </p:nvPr>
        </p:nvSpPr>
        <p:spPr>
          <a:xfrm>
            <a:off x="517608" y="135877"/>
            <a:ext cx="7997742" cy="424733"/>
          </a:xfrm>
        </p:spPr>
        <p:txBody>
          <a:bodyPr/>
          <a:lstStyle>
            <a:lvl1pPr>
              <a:defRPr sz="2200"/>
            </a:lvl1pPr>
          </a:lstStyle>
          <a:p>
            <a:r>
              <a:rPr lang="fr-FR" dirty="0"/>
              <a:t>Edit the </a:t>
            </a:r>
            <a:r>
              <a:rPr lang="fr-FR" dirty="0" err="1"/>
              <a:t>title</a:t>
            </a:r>
            <a:r>
              <a:rPr lang="fr-FR" dirty="0"/>
              <a:t> </a:t>
            </a:r>
            <a:r>
              <a:rPr lang="fr-FR" dirty="0" err="1"/>
              <a:t>text</a:t>
            </a:r>
            <a:endParaRPr lang="en-GB" dirty="0"/>
          </a:p>
        </p:txBody>
      </p:sp>
      <p:sp>
        <p:nvSpPr>
          <p:cNvPr id="5" name="Espace réservé du numéro de diapositive 4">
            <a:extLst>
              <a:ext uri="{FF2B5EF4-FFF2-40B4-BE49-F238E27FC236}">
                <a16:creationId xmlns:a16="http://schemas.microsoft.com/office/drawing/2014/main" id="{D932AC5D-AAB8-4E4F-A578-1D738288D8D0}"/>
              </a:ext>
            </a:extLst>
          </p:cNvPr>
          <p:cNvSpPr>
            <a:spLocks noGrp="1"/>
          </p:cNvSpPr>
          <p:nvPr>
            <p:ph type="sldNum" sz="quarter" idx="12"/>
          </p:nvPr>
        </p:nvSpPr>
        <p:spPr/>
        <p:txBody>
          <a:bodyPr/>
          <a:lstStyle/>
          <a:p>
            <a:fld id="{98BD2159-827C-4021-9B0E-DCD852BEB59E}" type="slidenum">
              <a:rPr lang="en-GB" smtClean="0"/>
              <a:t>‹N°›</a:t>
            </a:fld>
            <a:endParaRPr lang="en-GB"/>
          </a:p>
        </p:txBody>
      </p:sp>
      <p:sp>
        <p:nvSpPr>
          <p:cNvPr id="11" name="Espace réservé du texte 10">
            <a:extLst>
              <a:ext uri="{FF2B5EF4-FFF2-40B4-BE49-F238E27FC236}">
                <a16:creationId xmlns:a16="http://schemas.microsoft.com/office/drawing/2014/main" id="{7B3237B3-CD71-4B63-9187-581ED906852D}"/>
              </a:ext>
            </a:extLst>
          </p:cNvPr>
          <p:cNvSpPr>
            <a:spLocks noGrp="1"/>
          </p:cNvSpPr>
          <p:nvPr>
            <p:ph type="body" sz="quarter" idx="16" hasCustomPrompt="1"/>
          </p:nvPr>
        </p:nvSpPr>
        <p:spPr>
          <a:xfrm>
            <a:off x="517610"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0" name="Espace réservé du texte 9">
            <a:extLst>
              <a:ext uri="{FF2B5EF4-FFF2-40B4-BE49-F238E27FC236}">
                <a16:creationId xmlns:a16="http://schemas.microsoft.com/office/drawing/2014/main" id="{7EF65E6A-B7C4-48E3-A677-6D4F2740A914}"/>
              </a:ext>
            </a:extLst>
          </p:cNvPr>
          <p:cNvSpPr>
            <a:spLocks noGrp="1"/>
          </p:cNvSpPr>
          <p:nvPr>
            <p:ph type="body" sz="quarter" idx="17"/>
          </p:nvPr>
        </p:nvSpPr>
        <p:spPr>
          <a:xfrm>
            <a:off x="517526"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7" name="Connecteur droit 26">
            <a:extLst>
              <a:ext uri="{FF2B5EF4-FFF2-40B4-BE49-F238E27FC236}">
                <a16:creationId xmlns:a16="http://schemas.microsoft.com/office/drawing/2014/main" id="{5406B3CC-08BC-4C1F-B520-DA73B0609F3A}"/>
              </a:ext>
            </a:extLst>
          </p:cNvPr>
          <p:cNvCxnSpPr>
            <a:cxnSpLocks/>
          </p:cNvCxnSpPr>
          <p:nvPr userDrawn="1"/>
        </p:nvCxnSpPr>
        <p:spPr>
          <a:xfrm>
            <a:off x="375661"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texte 10">
            <a:extLst>
              <a:ext uri="{FF2B5EF4-FFF2-40B4-BE49-F238E27FC236}">
                <a16:creationId xmlns:a16="http://schemas.microsoft.com/office/drawing/2014/main" id="{884ED785-1C5E-4F78-A275-F34C3AEAE06F}"/>
              </a:ext>
            </a:extLst>
          </p:cNvPr>
          <p:cNvSpPr>
            <a:spLocks noGrp="1"/>
          </p:cNvSpPr>
          <p:nvPr>
            <p:ph type="body" sz="quarter" idx="22" hasCustomPrompt="1"/>
          </p:nvPr>
        </p:nvSpPr>
        <p:spPr>
          <a:xfrm>
            <a:off x="517610"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13" name="Espace réservé du texte 9">
            <a:extLst>
              <a:ext uri="{FF2B5EF4-FFF2-40B4-BE49-F238E27FC236}">
                <a16:creationId xmlns:a16="http://schemas.microsoft.com/office/drawing/2014/main" id="{8992EC07-F579-4A40-AAD6-B8347D980B99}"/>
              </a:ext>
            </a:extLst>
          </p:cNvPr>
          <p:cNvSpPr>
            <a:spLocks noGrp="1"/>
          </p:cNvSpPr>
          <p:nvPr>
            <p:ph type="body" sz="quarter" idx="23"/>
          </p:nvPr>
        </p:nvSpPr>
        <p:spPr>
          <a:xfrm>
            <a:off x="517526"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14" name="Connecteur droit 13">
            <a:extLst>
              <a:ext uri="{FF2B5EF4-FFF2-40B4-BE49-F238E27FC236}">
                <a16:creationId xmlns:a16="http://schemas.microsoft.com/office/drawing/2014/main" id="{7C5E9985-FD1E-428E-A038-1833C2306C28}"/>
              </a:ext>
            </a:extLst>
          </p:cNvPr>
          <p:cNvCxnSpPr>
            <a:cxnSpLocks/>
          </p:cNvCxnSpPr>
          <p:nvPr userDrawn="1"/>
        </p:nvCxnSpPr>
        <p:spPr>
          <a:xfrm>
            <a:off x="375661"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Espace réservé du texte 10">
            <a:extLst>
              <a:ext uri="{FF2B5EF4-FFF2-40B4-BE49-F238E27FC236}">
                <a16:creationId xmlns:a16="http://schemas.microsoft.com/office/drawing/2014/main" id="{B3933DBD-2D64-49E5-9665-2D4D428F0437}"/>
              </a:ext>
            </a:extLst>
          </p:cNvPr>
          <p:cNvSpPr>
            <a:spLocks noGrp="1"/>
          </p:cNvSpPr>
          <p:nvPr>
            <p:ph type="body" sz="quarter" idx="24" hasCustomPrompt="1"/>
          </p:nvPr>
        </p:nvSpPr>
        <p:spPr>
          <a:xfrm>
            <a:off x="4572084" y="1723857"/>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5" name="Espace réservé du texte 9">
            <a:extLst>
              <a:ext uri="{FF2B5EF4-FFF2-40B4-BE49-F238E27FC236}">
                <a16:creationId xmlns:a16="http://schemas.microsoft.com/office/drawing/2014/main" id="{6500DBB1-D65A-4FD5-9F9B-A5027F560FD1}"/>
              </a:ext>
            </a:extLst>
          </p:cNvPr>
          <p:cNvSpPr>
            <a:spLocks noGrp="1"/>
          </p:cNvSpPr>
          <p:nvPr>
            <p:ph type="body" sz="quarter" idx="25"/>
          </p:nvPr>
        </p:nvSpPr>
        <p:spPr>
          <a:xfrm>
            <a:off x="4572001" y="1261369"/>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26" name="Connecteur droit 25">
            <a:extLst>
              <a:ext uri="{FF2B5EF4-FFF2-40B4-BE49-F238E27FC236}">
                <a16:creationId xmlns:a16="http://schemas.microsoft.com/office/drawing/2014/main" id="{C778CDC4-5FA1-4048-9A78-5B42F7B95A26}"/>
              </a:ext>
            </a:extLst>
          </p:cNvPr>
          <p:cNvCxnSpPr>
            <a:cxnSpLocks/>
          </p:cNvCxnSpPr>
          <p:nvPr userDrawn="1"/>
        </p:nvCxnSpPr>
        <p:spPr>
          <a:xfrm>
            <a:off x="4430136" y="1353015"/>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Espace réservé du texte 10">
            <a:extLst>
              <a:ext uri="{FF2B5EF4-FFF2-40B4-BE49-F238E27FC236}">
                <a16:creationId xmlns:a16="http://schemas.microsoft.com/office/drawing/2014/main" id="{58300066-BB96-4C12-B605-19344574F918}"/>
              </a:ext>
            </a:extLst>
          </p:cNvPr>
          <p:cNvSpPr>
            <a:spLocks noGrp="1"/>
          </p:cNvSpPr>
          <p:nvPr>
            <p:ph type="body" sz="quarter" idx="26" hasCustomPrompt="1"/>
          </p:nvPr>
        </p:nvSpPr>
        <p:spPr>
          <a:xfrm>
            <a:off x="4572084" y="3344202"/>
            <a:ext cx="3661096" cy="847894"/>
          </a:xfrm>
        </p:spPr>
        <p:txBody>
          <a:bodyPr rIns="36000">
            <a:noAutofit/>
          </a:bodyPr>
          <a:lstStyle>
            <a:lvl1pPr>
              <a:defRPr sz="1100"/>
            </a:lvl1pPr>
            <a:lvl2pPr>
              <a:defRPr sz="1100"/>
            </a:lvl2pPr>
            <a:lvl3pPr>
              <a:defRPr sz="1050"/>
            </a:lvl3pPr>
            <a:lvl4pPr>
              <a:defRPr sz="1000"/>
            </a:lvl4pPr>
          </a:lstStyle>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sp>
        <p:nvSpPr>
          <p:cNvPr id="29" name="Espace réservé du texte 9">
            <a:extLst>
              <a:ext uri="{FF2B5EF4-FFF2-40B4-BE49-F238E27FC236}">
                <a16:creationId xmlns:a16="http://schemas.microsoft.com/office/drawing/2014/main" id="{90E4005E-EE52-414F-9FD7-3E4E4439CC01}"/>
              </a:ext>
            </a:extLst>
          </p:cNvPr>
          <p:cNvSpPr>
            <a:spLocks noGrp="1"/>
          </p:cNvSpPr>
          <p:nvPr>
            <p:ph type="body" sz="quarter" idx="27"/>
          </p:nvPr>
        </p:nvSpPr>
        <p:spPr>
          <a:xfrm>
            <a:off x="4572001" y="2881714"/>
            <a:ext cx="3661057" cy="419100"/>
          </a:xfrm>
        </p:spPr>
        <p:txBody>
          <a:bodyPr rIns="36000" anchor="b" anchorCtr="0">
            <a:noAutofit/>
          </a:bodyPr>
          <a:lstStyle>
            <a:lvl1pPr>
              <a:defRPr sz="1200" b="1">
                <a:solidFill>
                  <a:schemeClr val="accent3"/>
                </a:solidFill>
                <a:latin typeface="+mn-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endParaRPr lang="en-GB" dirty="0"/>
          </a:p>
        </p:txBody>
      </p:sp>
      <p:cxnSp>
        <p:nvCxnSpPr>
          <p:cNvPr id="30" name="Connecteur droit 29">
            <a:extLst>
              <a:ext uri="{FF2B5EF4-FFF2-40B4-BE49-F238E27FC236}">
                <a16:creationId xmlns:a16="http://schemas.microsoft.com/office/drawing/2014/main" id="{920CA81A-996E-455B-A7A4-21D294E47153}"/>
              </a:ext>
            </a:extLst>
          </p:cNvPr>
          <p:cNvCxnSpPr>
            <a:cxnSpLocks/>
          </p:cNvCxnSpPr>
          <p:nvPr userDrawn="1"/>
        </p:nvCxnSpPr>
        <p:spPr>
          <a:xfrm>
            <a:off x="4430136" y="2973360"/>
            <a:ext cx="0" cy="11448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 name="Espace réservé du texte 8">
            <a:extLst>
              <a:ext uri="{FF2B5EF4-FFF2-40B4-BE49-F238E27FC236}">
                <a16:creationId xmlns:a16="http://schemas.microsoft.com/office/drawing/2014/main" id="{2CD24995-E0DC-4BC5-9CD6-9E2365DF84E6}"/>
              </a:ext>
            </a:extLst>
          </p:cNvPr>
          <p:cNvSpPr>
            <a:spLocks noGrp="1"/>
          </p:cNvSpPr>
          <p:nvPr>
            <p:ph type="body" sz="quarter" idx="19" hasCustomPrompt="1"/>
          </p:nvPr>
        </p:nvSpPr>
        <p:spPr>
          <a:xfrm>
            <a:off x="517608" y="523146"/>
            <a:ext cx="7997742" cy="424733"/>
          </a:xfrm>
        </p:spPr>
        <p:txBody>
          <a:bodyPr>
            <a:noAutofit/>
          </a:bodyPr>
          <a:lstStyle>
            <a:lvl1pPr>
              <a:defRPr sz="2000">
                <a:solidFill>
                  <a:schemeClr val="tx2"/>
                </a:solidFill>
                <a:latin typeface="+mj-lt"/>
              </a:defRPr>
            </a:lvl1pPr>
          </a:lstStyle>
          <a:p>
            <a:pPr lvl="0"/>
            <a:r>
              <a:rPr lang="en-US" dirty="0"/>
              <a:t>Continuation of the title or subheading</a:t>
            </a:r>
            <a:endParaRPr lang="en-GB" dirty="0"/>
          </a:p>
        </p:txBody>
      </p:sp>
    </p:spTree>
    <p:extLst>
      <p:ext uri="{BB962C8B-B14F-4D97-AF65-F5344CB8AC3E}">
        <p14:creationId xmlns:p14="http://schemas.microsoft.com/office/powerpoint/2010/main" val="8000878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ank you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6522721" y="1724722"/>
            <a:ext cx="2142590" cy="1694054"/>
          </a:xfrm>
        </p:spPr>
        <p:txBody>
          <a:bodyPr anchor="ctr" anchorCtr="0"/>
          <a:lstStyle>
            <a:lvl1pPr>
              <a:lnSpc>
                <a:spcPct val="100000"/>
              </a:lnSpc>
              <a:defRPr sz="2600">
                <a:solidFill>
                  <a:schemeClr val="tx2"/>
                </a:solidFill>
                <a:latin typeface="+mj-lt"/>
              </a:defRPr>
            </a:lvl1pPr>
          </a:lstStyle>
          <a:p>
            <a:r>
              <a:rPr lang="en-US" dirty="0"/>
              <a:t>Thank you for your time.</a:t>
            </a:r>
            <a:endParaRPr lang="en-GB" dirty="0"/>
          </a:p>
        </p:txBody>
      </p:sp>
      <p:sp>
        <p:nvSpPr>
          <p:cNvPr id="5" name="Espace réservé du numéro de diapositive 4">
            <a:extLst>
              <a:ext uri="{FF2B5EF4-FFF2-40B4-BE49-F238E27FC236}">
                <a16:creationId xmlns:a16="http://schemas.microsoft.com/office/drawing/2014/main" id="{06E43FDB-370E-4FD7-BAB8-C9EDA7E050E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pic>
        <p:nvPicPr>
          <p:cNvPr id="10" name="Image 9">
            <a:extLst>
              <a:ext uri="{FF2B5EF4-FFF2-40B4-BE49-F238E27FC236}">
                <a16:creationId xmlns:a16="http://schemas.microsoft.com/office/drawing/2014/main" id="{1A3D8EE0-285A-4BE4-8AFD-3AA0313F25B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617835" y="4666659"/>
            <a:ext cx="738761" cy="382981"/>
          </a:xfrm>
          <a:prstGeom prst="rect">
            <a:avLst/>
          </a:prstGeom>
        </p:spPr>
      </p:pic>
      <p:sp>
        <p:nvSpPr>
          <p:cNvPr id="15" name="Espace réservé pour une image  15">
            <a:extLst>
              <a:ext uri="{FF2B5EF4-FFF2-40B4-BE49-F238E27FC236}">
                <a16:creationId xmlns:a16="http://schemas.microsoft.com/office/drawing/2014/main" id="{733DF233-71B1-4D15-B5DF-82B4314D44B2}"/>
              </a:ext>
            </a:extLst>
          </p:cNvPr>
          <p:cNvSpPr>
            <a:spLocks noGrp="1"/>
          </p:cNvSpPr>
          <p:nvPr>
            <p:ph type="pic" sz="quarter" idx="16"/>
          </p:nvPr>
        </p:nvSpPr>
        <p:spPr>
          <a:xfrm>
            <a:off x="252000" y="0"/>
            <a:ext cx="5925280" cy="5143500"/>
          </a:xfrm>
          <a:custGeom>
            <a:avLst/>
            <a:gdLst>
              <a:gd name="connsiteX0" fmla="*/ 394 w 4702809"/>
              <a:gd name="connsiteY0" fmla="*/ 0 h 5143498"/>
              <a:gd name="connsiteX1" fmla="*/ 1116608 w 4702809"/>
              <a:gd name="connsiteY1" fmla="*/ 0 h 5143498"/>
              <a:gd name="connsiteX2" fmla="*/ 1750366 w 4702809"/>
              <a:gd name="connsiteY2" fmla="*/ 0 h 5143498"/>
              <a:gd name="connsiteX3" fmla="*/ 4702809 w 4702809"/>
              <a:gd name="connsiteY3" fmla="*/ 0 h 5143498"/>
              <a:gd name="connsiteX4" fmla="*/ 4702809 w 4702809"/>
              <a:gd name="connsiteY4" fmla="*/ 5143498 h 5143498"/>
              <a:gd name="connsiteX5" fmla="*/ 2100263 w 4702809"/>
              <a:gd name="connsiteY5" fmla="*/ 5143498 h 5143498"/>
              <a:gd name="connsiteX6" fmla="*/ 1116608 w 4702809"/>
              <a:gd name="connsiteY6" fmla="*/ 5143498 h 5143498"/>
              <a:gd name="connsiteX7" fmla="*/ 0 w 4702809"/>
              <a:gd name="connsiteY7" fmla="*/ 5143498 h 5143498"/>
              <a:gd name="connsiteX8" fmla="*/ 0 w 4702809"/>
              <a:gd name="connsiteY8" fmla="*/ 3236911 h 5143498"/>
              <a:gd name="connsiteX9" fmla="*/ 394 w 4702809"/>
              <a:gd name="connsiteY9" fmla="*/ 3236911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2809" h="5143498">
                <a:moveTo>
                  <a:pt x="394" y="0"/>
                </a:moveTo>
                <a:lnTo>
                  <a:pt x="1116608" y="0"/>
                </a:lnTo>
                <a:lnTo>
                  <a:pt x="1750366" y="0"/>
                </a:lnTo>
                <a:lnTo>
                  <a:pt x="4702809" y="0"/>
                </a:lnTo>
                <a:lnTo>
                  <a:pt x="4702809" y="5143498"/>
                </a:lnTo>
                <a:lnTo>
                  <a:pt x="2100263" y="5143498"/>
                </a:lnTo>
                <a:lnTo>
                  <a:pt x="1116608" y="5143498"/>
                </a:lnTo>
                <a:lnTo>
                  <a:pt x="0" y="5143498"/>
                </a:lnTo>
                <a:lnTo>
                  <a:pt x="0" y="3236911"/>
                </a:lnTo>
                <a:lnTo>
                  <a:pt x="394" y="3236911"/>
                </a:lnTo>
                <a:close/>
              </a:path>
            </a:pathLst>
          </a:custGeom>
        </p:spPr>
        <p:txBody>
          <a:bodyPr wrap="square">
            <a:noAutofit/>
          </a:bodyPr>
          <a:lstStyle>
            <a:lvl1pPr>
              <a:defRPr b="1">
                <a:solidFill>
                  <a:schemeClr val="bg2"/>
                </a:solidFill>
              </a:defRPr>
            </a:lvl1pPr>
          </a:lstStyle>
          <a:p>
            <a:endParaRPr lang="en-GB"/>
          </a:p>
        </p:txBody>
      </p:sp>
    </p:spTree>
    <p:extLst>
      <p:ext uri="{BB962C8B-B14F-4D97-AF65-F5344CB8AC3E}">
        <p14:creationId xmlns:p14="http://schemas.microsoft.com/office/powerpoint/2010/main" val="155516249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36A0E7B-4200-4F8F-B316-06C669051451}"/>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mj-lt"/>
            </a:endParaRPr>
          </a:p>
        </p:txBody>
      </p:sp>
      <p:sp>
        <p:nvSpPr>
          <p:cNvPr id="4" name="Rectangle 3"/>
          <p:cNvSpPr/>
          <p:nvPr userDrawn="1"/>
        </p:nvSpPr>
        <p:spPr>
          <a:xfrm>
            <a:off x="251163" y="1"/>
            <a:ext cx="5926117" cy="5143499"/>
          </a:xfrm>
          <a:prstGeom prst="rect">
            <a:avLst/>
          </a:prstGeom>
          <a:blipFill dpi="0" rotWithShape="1">
            <a:blip r:embed="rId2"/>
            <a:srcRect/>
            <a:tile tx="0" ty="0" sx="100000" sy="100000" flip="x"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a:extLst>
              <a:ext uri="{FF2B5EF4-FFF2-40B4-BE49-F238E27FC236}">
                <a16:creationId xmlns:a16="http://schemas.microsoft.com/office/drawing/2014/main" id="{C8B67BDD-B63A-4E53-AE68-D82537C2E53B}"/>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Titre 1">
            <a:extLst>
              <a:ext uri="{FF2B5EF4-FFF2-40B4-BE49-F238E27FC236}">
                <a16:creationId xmlns:a16="http://schemas.microsoft.com/office/drawing/2014/main" id="{2FC1EB3A-46E2-4B73-9AB7-102A0E7AD6B7}"/>
              </a:ext>
            </a:extLst>
          </p:cNvPr>
          <p:cNvSpPr>
            <a:spLocks noGrp="1"/>
          </p:cNvSpPr>
          <p:nvPr>
            <p:ph type="title" hasCustomPrompt="1"/>
          </p:nvPr>
        </p:nvSpPr>
        <p:spPr>
          <a:xfrm>
            <a:off x="6522721" y="1724722"/>
            <a:ext cx="2142590" cy="1694054"/>
          </a:xfrm>
        </p:spPr>
        <p:txBody>
          <a:bodyPr anchor="ctr" anchorCtr="0"/>
          <a:lstStyle>
            <a:lvl1pPr>
              <a:lnSpc>
                <a:spcPct val="100000"/>
              </a:lnSpc>
              <a:defRPr sz="2600">
                <a:solidFill>
                  <a:schemeClr val="tx2"/>
                </a:solidFill>
                <a:latin typeface="+mj-lt"/>
              </a:defRPr>
            </a:lvl1pPr>
          </a:lstStyle>
          <a:p>
            <a:r>
              <a:rPr lang="en-US" dirty="0"/>
              <a:t>Thank you for your time.</a:t>
            </a:r>
            <a:endParaRPr lang="en-GB" dirty="0"/>
          </a:p>
        </p:txBody>
      </p:sp>
      <p:sp>
        <p:nvSpPr>
          <p:cNvPr id="5" name="Espace réservé du numéro de diapositive 4">
            <a:extLst>
              <a:ext uri="{FF2B5EF4-FFF2-40B4-BE49-F238E27FC236}">
                <a16:creationId xmlns:a16="http://schemas.microsoft.com/office/drawing/2014/main" id="{06E43FDB-370E-4FD7-BAB8-C9EDA7E050EB}"/>
              </a:ext>
            </a:extLst>
          </p:cNvPr>
          <p:cNvSpPr>
            <a:spLocks noGrp="1"/>
          </p:cNvSpPr>
          <p:nvPr>
            <p:ph type="sldNum" sz="quarter" idx="12"/>
          </p:nvPr>
        </p:nvSpPr>
        <p:spPr/>
        <p:txBody>
          <a:bodyPr/>
          <a:lstStyle>
            <a:lvl1pPr>
              <a:defRPr>
                <a:latin typeface="+mj-lt"/>
              </a:defRPr>
            </a:lvl1pPr>
          </a:lstStyle>
          <a:p>
            <a:fld id="{98BD2159-827C-4021-9B0E-DCD852BEB59E}" type="slidenum">
              <a:rPr lang="en-GB" smtClean="0"/>
              <a:pPr/>
              <a:t>‹N°›</a:t>
            </a:fld>
            <a:endParaRPr lang="en-GB" dirty="0"/>
          </a:p>
        </p:txBody>
      </p:sp>
      <p:sp>
        <p:nvSpPr>
          <p:cNvPr id="7" name="Rectangle 6">
            <a:extLst>
              <a:ext uri="{FF2B5EF4-FFF2-40B4-BE49-F238E27FC236}">
                <a16:creationId xmlns:a16="http://schemas.microsoft.com/office/drawing/2014/main" id="{4C8695BD-A721-4ED0-B638-52397117AB82}"/>
              </a:ext>
            </a:extLst>
          </p:cNvPr>
          <p:cNvSpPr/>
          <p:nvPr userDrawn="1"/>
        </p:nvSpPr>
        <p:spPr>
          <a:xfrm>
            <a:off x="8413310"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pic>
        <p:nvPicPr>
          <p:cNvPr id="9" name="Picture 8"/>
          <p:cNvPicPr>
            <a:picLocks noChangeAspect="1"/>
          </p:cNvPicPr>
          <p:nvPr userDrawn="1"/>
        </p:nvPicPr>
        <p:blipFill>
          <a:blip r:embed="rId3"/>
          <a:stretch>
            <a:fillRect/>
          </a:stretch>
        </p:blipFill>
        <p:spPr>
          <a:xfrm>
            <a:off x="7888627" y="4752975"/>
            <a:ext cx="719138" cy="398219"/>
          </a:xfrm>
          <a:prstGeom prst="rect">
            <a:avLst/>
          </a:prstGeom>
        </p:spPr>
      </p:pic>
    </p:spTree>
    <p:extLst>
      <p:ext uri="{BB962C8B-B14F-4D97-AF65-F5344CB8AC3E}">
        <p14:creationId xmlns:p14="http://schemas.microsoft.com/office/powerpoint/2010/main" val="2557141249"/>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ront page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grpSp>
        <p:nvGrpSpPr>
          <p:cNvPr id="12" name="Groupe 11"/>
          <p:cNvGrpSpPr/>
          <p:nvPr userDrawn="1"/>
        </p:nvGrpSpPr>
        <p:grpSpPr>
          <a:xfrm>
            <a:off x="5120641" y="1"/>
            <a:ext cx="3760807" cy="5143499"/>
            <a:chOff x="5120640" y="0"/>
            <a:chExt cx="3760807" cy="5143499"/>
          </a:xfrm>
          <a:blipFill dpi="0" rotWithShape="1">
            <a:blip r:embed="rId2"/>
            <a:srcRect/>
            <a:stretch>
              <a:fillRect l="-20000" t="-2000"/>
            </a:stretch>
          </a:blipFill>
        </p:grpSpPr>
        <p:sp>
          <p:nvSpPr>
            <p:cNvPr id="16" name="Rectangle 15"/>
            <p:cNvSpPr/>
            <p:nvPr userDrawn="1"/>
          </p:nvSpPr>
          <p:spPr>
            <a:xfrm>
              <a:off x="5120640" y="0"/>
              <a:ext cx="1754722" cy="40644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p:cNvSpPr/>
            <p:nvPr userDrawn="1"/>
          </p:nvSpPr>
          <p:spPr>
            <a:xfrm>
              <a:off x="7134837" y="952150"/>
              <a:ext cx="1746610" cy="41913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gr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pic>
        <p:nvPicPr>
          <p:cNvPr id="15"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3891431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ront page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2" name="Espace réservé pour une image  11">
            <a:extLst>
              <a:ext uri="{FF2B5EF4-FFF2-40B4-BE49-F238E27FC236}">
                <a16:creationId xmlns:a16="http://schemas.microsoft.com/office/drawing/2014/main" id="{8BF4F207-E709-42A4-9B4C-9D25C5BF97B5}"/>
              </a:ext>
            </a:extLst>
          </p:cNvPr>
          <p:cNvSpPr>
            <a:spLocks noGrp="1"/>
          </p:cNvSpPr>
          <p:nvPr>
            <p:ph type="pic" sz="quarter" idx="10"/>
          </p:nvPr>
        </p:nvSpPr>
        <p:spPr>
          <a:xfrm>
            <a:off x="5120641" y="3"/>
            <a:ext cx="3763616" cy="5143499"/>
          </a:xfrm>
          <a:custGeom>
            <a:avLst/>
            <a:gdLst>
              <a:gd name="connsiteX0" fmla="*/ 2013644 w 3763616"/>
              <a:gd name="connsiteY0" fmla="*/ 954192 h 5143499"/>
              <a:gd name="connsiteX1" fmla="*/ 3763616 w 3763616"/>
              <a:gd name="connsiteY1" fmla="*/ 954192 h 5143499"/>
              <a:gd name="connsiteX2" fmla="*/ 3763616 w 3763616"/>
              <a:gd name="connsiteY2" fmla="*/ 5143499 h 5143499"/>
              <a:gd name="connsiteX3" fmla="*/ 2013644 w 3763616"/>
              <a:gd name="connsiteY3" fmla="*/ 5143499 h 5143499"/>
              <a:gd name="connsiteX4" fmla="*/ 0 w 3763616"/>
              <a:gd name="connsiteY4" fmla="*/ 0 h 5143499"/>
              <a:gd name="connsiteX5" fmla="*/ 1749972 w 3763616"/>
              <a:gd name="connsiteY5" fmla="*/ 0 h 5143499"/>
              <a:gd name="connsiteX6" fmla="*/ 1749972 w 3763616"/>
              <a:gd name="connsiteY6" fmla="*/ 4067882 h 5143499"/>
              <a:gd name="connsiteX7" fmla="*/ 0 w 3763616"/>
              <a:gd name="connsiteY7" fmla="*/ 406788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3616" h="5143499">
                <a:moveTo>
                  <a:pt x="2013644" y="954192"/>
                </a:moveTo>
                <a:lnTo>
                  <a:pt x="3763616" y="954192"/>
                </a:lnTo>
                <a:lnTo>
                  <a:pt x="3763616" y="5143499"/>
                </a:lnTo>
                <a:lnTo>
                  <a:pt x="2013644" y="5143499"/>
                </a:lnTo>
                <a:close/>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pic>
        <p:nvPicPr>
          <p:cNvPr id="8"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142461303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ront page_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sp>
        <p:nvSpPr>
          <p:cNvPr id="8" name="Espace réservé du texte 3">
            <a:extLst>
              <a:ext uri="{FF2B5EF4-FFF2-40B4-BE49-F238E27FC236}">
                <a16:creationId xmlns:a16="http://schemas.microsoft.com/office/drawing/2014/main" id="{382570B0-A940-4837-AF85-EB90947594C7}"/>
              </a:ext>
            </a:extLst>
          </p:cNvPr>
          <p:cNvSpPr>
            <a:spLocks noGrp="1"/>
          </p:cNvSpPr>
          <p:nvPr>
            <p:ph type="body" sz="quarter" idx="14" hasCustomPrompt="1"/>
          </p:nvPr>
        </p:nvSpPr>
        <p:spPr>
          <a:xfrm>
            <a:off x="335280" y="3157326"/>
            <a:ext cx="4785360" cy="462800"/>
          </a:xfrm>
          <a:solidFill>
            <a:schemeClr val="bg1"/>
          </a:solidFill>
        </p:spPr>
        <p:txBody>
          <a:bodyPr lIns="180000" rIns="180000">
            <a:normAutofit/>
          </a:bodyPr>
          <a:lstStyle>
            <a:lvl1pPr>
              <a:lnSpc>
                <a:spcPct val="100000"/>
              </a:lnSpc>
              <a:defRPr sz="1400">
                <a:solidFill>
                  <a:schemeClr val="accent3"/>
                </a:solidFill>
                <a:latin typeface="+mn-lt"/>
              </a:defRPr>
            </a:lvl1pPr>
            <a:lvl2pPr>
              <a:defRPr sz="1200"/>
            </a:lvl2pPr>
            <a:lvl3pPr>
              <a:defRPr sz="1200"/>
            </a:lvl3pPr>
            <a:lvl4pPr>
              <a:defRPr sz="1200"/>
            </a:lvl4pPr>
            <a:lvl5pPr>
              <a:defRPr sz="1200"/>
            </a:lvl5pPr>
          </a:lstStyle>
          <a:p>
            <a:pPr lvl="0"/>
            <a:r>
              <a:rPr lang="en-US" dirty="0"/>
              <a:t>Enter the subtitle of your presentation</a:t>
            </a:r>
          </a:p>
        </p:txBody>
      </p:sp>
      <p:grpSp>
        <p:nvGrpSpPr>
          <p:cNvPr id="13" name="Groupe 12"/>
          <p:cNvGrpSpPr/>
          <p:nvPr userDrawn="1"/>
        </p:nvGrpSpPr>
        <p:grpSpPr>
          <a:xfrm>
            <a:off x="5120641" y="1"/>
            <a:ext cx="3760807" cy="5143499"/>
            <a:chOff x="5120640" y="0"/>
            <a:chExt cx="3760807" cy="5143499"/>
          </a:xfrm>
          <a:blipFill dpi="0" rotWithShape="1">
            <a:blip r:embed="rId2"/>
            <a:srcRect/>
            <a:stretch>
              <a:fillRect l="-20000" t="-2000"/>
            </a:stretch>
          </a:blipFill>
        </p:grpSpPr>
        <p:sp>
          <p:nvSpPr>
            <p:cNvPr id="16" name="Rectangle 15"/>
            <p:cNvSpPr/>
            <p:nvPr userDrawn="1"/>
          </p:nvSpPr>
          <p:spPr>
            <a:xfrm>
              <a:off x="5120640" y="0"/>
              <a:ext cx="1754722" cy="40644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7" name="Rectangle 16"/>
            <p:cNvSpPr/>
            <p:nvPr userDrawn="1"/>
          </p:nvSpPr>
          <p:spPr>
            <a:xfrm>
              <a:off x="7134837" y="952150"/>
              <a:ext cx="1746610" cy="41913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grpSp>
      <p:pic>
        <p:nvPicPr>
          <p:cNvPr id="12"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16693566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ront page_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2" name="Espace réservé pour une image  11">
            <a:extLst>
              <a:ext uri="{FF2B5EF4-FFF2-40B4-BE49-F238E27FC236}">
                <a16:creationId xmlns:a16="http://schemas.microsoft.com/office/drawing/2014/main" id="{8BF4F207-E709-42A4-9B4C-9D25C5BF97B5}"/>
              </a:ext>
            </a:extLst>
          </p:cNvPr>
          <p:cNvSpPr>
            <a:spLocks noGrp="1"/>
          </p:cNvSpPr>
          <p:nvPr>
            <p:ph type="pic" sz="quarter" idx="10"/>
          </p:nvPr>
        </p:nvSpPr>
        <p:spPr>
          <a:xfrm>
            <a:off x="5120641" y="3"/>
            <a:ext cx="3763616" cy="5143499"/>
          </a:xfrm>
          <a:custGeom>
            <a:avLst/>
            <a:gdLst>
              <a:gd name="connsiteX0" fmla="*/ 2013644 w 3763616"/>
              <a:gd name="connsiteY0" fmla="*/ 954192 h 5143499"/>
              <a:gd name="connsiteX1" fmla="*/ 3763616 w 3763616"/>
              <a:gd name="connsiteY1" fmla="*/ 954192 h 5143499"/>
              <a:gd name="connsiteX2" fmla="*/ 3763616 w 3763616"/>
              <a:gd name="connsiteY2" fmla="*/ 5143499 h 5143499"/>
              <a:gd name="connsiteX3" fmla="*/ 2013644 w 3763616"/>
              <a:gd name="connsiteY3" fmla="*/ 5143499 h 5143499"/>
              <a:gd name="connsiteX4" fmla="*/ 0 w 3763616"/>
              <a:gd name="connsiteY4" fmla="*/ 0 h 5143499"/>
              <a:gd name="connsiteX5" fmla="*/ 1749972 w 3763616"/>
              <a:gd name="connsiteY5" fmla="*/ 0 h 5143499"/>
              <a:gd name="connsiteX6" fmla="*/ 1749972 w 3763616"/>
              <a:gd name="connsiteY6" fmla="*/ 4067882 h 5143499"/>
              <a:gd name="connsiteX7" fmla="*/ 0 w 3763616"/>
              <a:gd name="connsiteY7" fmla="*/ 406788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3616" h="5143499">
                <a:moveTo>
                  <a:pt x="2013644" y="954192"/>
                </a:moveTo>
                <a:lnTo>
                  <a:pt x="3763616" y="954192"/>
                </a:lnTo>
                <a:lnTo>
                  <a:pt x="3763616" y="5143499"/>
                </a:lnTo>
                <a:lnTo>
                  <a:pt x="2013644" y="5143499"/>
                </a:lnTo>
                <a:close/>
                <a:moveTo>
                  <a:pt x="0" y="0"/>
                </a:moveTo>
                <a:lnTo>
                  <a:pt x="1749972" y="0"/>
                </a:lnTo>
                <a:lnTo>
                  <a:pt x="1749972" y="4067882"/>
                </a:lnTo>
                <a:lnTo>
                  <a:pt x="0" y="4067882"/>
                </a:lnTo>
                <a:close/>
              </a:path>
            </a:pathLst>
          </a:custGeom>
          <a:ln>
            <a:noFill/>
          </a:ln>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549744" y="1"/>
            <a:ext cx="252000"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9" name="Rectangle 8">
            <a:extLst>
              <a:ext uri="{FF2B5EF4-FFF2-40B4-BE49-F238E27FC236}">
                <a16:creationId xmlns:a16="http://schemas.microsoft.com/office/drawing/2014/main" id="{803BD226-10FE-4376-B3D2-2BE1614F8849}"/>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335280" y="1946793"/>
            <a:ext cx="4785360" cy="1249912"/>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en-US" dirty="0"/>
              <a:t>Insert the title of your presentation here.</a:t>
            </a:r>
            <a:endParaRPr lang="en-GB" dirty="0"/>
          </a:p>
        </p:txBody>
      </p:sp>
      <p:sp>
        <p:nvSpPr>
          <p:cNvPr id="8" name="Espace réservé du texte 3">
            <a:extLst>
              <a:ext uri="{FF2B5EF4-FFF2-40B4-BE49-F238E27FC236}">
                <a16:creationId xmlns:a16="http://schemas.microsoft.com/office/drawing/2014/main" id="{382570B0-A940-4837-AF85-EB90947594C7}"/>
              </a:ext>
            </a:extLst>
          </p:cNvPr>
          <p:cNvSpPr>
            <a:spLocks noGrp="1"/>
          </p:cNvSpPr>
          <p:nvPr>
            <p:ph type="body" sz="quarter" idx="14" hasCustomPrompt="1"/>
          </p:nvPr>
        </p:nvSpPr>
        <p:spPr>
          <a:xfrm>
            <a:off x="335280" y="3157326"/>
            <a:ext cx="4785360" cy="462800"/>
          </a:xfrm>
          <a:solidFill>
            <a:schemeClr val="bg1"/>
          </a:solidFill>
        </p:spPr>
        <p:txBody>
          <a:bodyPr lIns="180000" rIns="180000">
            <a:normAutofit/>
          </a:bodyPr>
          <a:lstStyle>
            <a:lvl1pPr>
              <a:lnSpc>
                <a:spcPct val="100000"/>
              </a:lnSpc>
              <a:defRPr sz="1400">
                <a:solidFill>
                  <a:schemeClr val="accent3"/>
                </a:solidFill>
                <a:latin typeface="+mn-lt"/>
              </a:defRPr>
            </a:lvl1pPr>
            <a:lvl2pPr>
              <a:defRPr sz="1200"/>
            </a:lvl2pPr>
            <a:lvl3pPr>
              <a:defRPr sz="1200"/>
            </a:lvl3pPr>
            <a:lvl4pPr>
              <a:defRPr sz="1200"/>
            </a:lvl4pPr>
            <a:lvl5pPr>
              <a:defRPr sz="1200"/>
            </a:lvl5pPr>
          </a:lstStyle>
          <a:p>
            <a:pPr lvl="0"/>
            <a:r>
              <a:rPr lang="en-US" dirty="0"/>
              <a:t>Enter the subtitle of your presentation</a:t>
            </a:r>
          </a:p>
        </p:txBody>
      </p:sp>
      <p:pic>
        <p:nvPicPr>
          <p:cNvPr id="10" name="Image 14">
            <a:extLst>
              <a:ext uri="{FF2B5EF4-FFF2-40B4-BE49-F238E27FC236}">
                <a16:creationId xmlns:a16="http://schemas.microsoft.com/office/drawing/2014/main" id="{4CF0A797-637A-4552-80A4-2691BFBF555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383232" y="4291692"/>
            <a:ext cx="1223750" cy="634404"/>
          </a:xfrm>
          <a:prstGeom prst="rect">
            <a:avLst/>
          </a:prstGeom>
        </p:spPr>
      </p:pic>
    </p:spTree>
    <p:extLst>
      <p:ext uri="{BB962C8B-B14F-4D97-AF65-F5344CB8AC3E}">
        <p14:creationId xmlns:p14="http://schemas.microsoft.com/office/powerpoint/2010/main" val="15072125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ummary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2" name="Rectangle 1"/>
          <p:cNvSpPr/>
          <p:nvPr userDrawn="1"/>
        </p:nvSpPr>
        <p:spPr>
          <a:xfrm>
            <a:off x="133744" y="0"/>
            <a:ext cx="1749972" cy="4067884"/>
          </a:xfrm>
          <a:prstGeom prst="rect">
            <a:avLst/>
          </a:prstGeom>
          <a:blipFill dpi="0" rotWithShape="1">
            <a:blip r:embed="rId2"/>
            <a:srcRect/>
            <a:tile tx="-1524000" ty="-1016000" sx="100000" sy="100000" flip="y"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07304" y="1104901"/>
            <a:ext cx="653672" cy="689175"/>
          </a:xfrm>
        </p:spPr>
        <p:txBody>
          <a:bodyPr anchor="ctr" anchorCtr="0">
            <a:noAutofit/>
          </a:bodyPr>
          <a:lstStyle>
            <a:lvl1pPr algn="r">
              <a:defRPr sz="44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322638" y="110490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07304" y="2016092"/>
            <a:ext cx="653672" cy="689175"/>
          </a:xfrm>
        </p:spPr>
        <p:txBody>
          <a:bodyPr anchor="ctr" anchorCtr="0">
            <a:noAutofit/>
          </a:bodyPr>
          <a:lstStyle>
            <a:lvl1pPr algn="r">
              <a:defRPr sz="44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322638" y="201609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07304" y="2927083"/>
            <a:ext cx="653672" cy="689175"/>
          </a:xfrm>
        </p:spPr>
        <p:txBody>
          <a:bodyPr anchor="ctr" anchorCtr="0">
            <a:noAutofit/>
          </a:bodyPr>
          <a:lstStyle>
            <a:lvl1pPr algn="r">
              <a:defRPr sz="44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322638" y="292708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07304" y="3837872"/>
            <a:ext cx="653672" cy="689175"/>
          </a:xfrm>
        </p:spPr>
        <p:txBody>
          <a:bodyPr anchor="ctr" anchorCtr="0">
            <a:noAutofit/>
          </a:bodyPr>
          <a:lstStyle>
            <a:lvl1pPr algn="r">
              <a:defRPr sz="44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322638" y="383787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25"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19" name="Picture 18"/>
          <p:cNvPicPr>
            <a:picLocks noChangeAspect="1"/>
          </p:cNvPicPr>
          <p:nvPr userDrawn="1"/>
        </p:nvPicPr>
        <p:blipFill>
          <a:blip r:embed="rId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09401415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ummary_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FBC1F9-0AD9-4035-9A9A-5A5068CE793A}"/>
              </a:ext>
            </a:extLst>
          </p:cNvPr>
          <p:cNvSpPr/>
          <p:nvPr userDrawn="1"/>
        </p:nvSpPr>
        <p:spPr>
          <a:xfrm>
            <a:off x="1" y="0"/>
            <a:ext cx="913281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Titre 9">
            <a:extLst>
              <a:ext uri="{FF2B5EF4-FFF2-40B4-BE49-F238E27FC236}">
                <a16:creationId xmlns:a16="http://schemas.microsoft.com/office/drawing/2014/main" id="{F6B2C08F-28D9-4D5F-9F2E-4073EF21B5B1}"/>
              </a:ext>
            </a:extLst>
          </p:cNvPr>
          <p:cNvSpPr>
            <a:spLocks noGrp="1"/>
          </p:cNvSpPr>
          <p:nvPr>
            <p:ph type="title" hasCustomPrompt="1"/>
          </p:nvPr>
        </p:nvSpPr>
        <p:spPr>
          <a:xfrm>
            <a:off x="1971160" y="149095"/>
            <a:ext cx="4785360" cy="806714"/>
          </a:xfrm>
          <a:solidFill>
            <a:schemeClr val="bg1"/>
          </a:solidFill>
        </p:spPr>
        <p:txBody>
          <a:bodyPr wrap="square" lIns="180000" tIns="180000" rIns="180000" bIns="180000" anchor="ctr" anchorCtr="0">
            <a:spAutoFit/>
          </a:bodyPr>
          <a:lstStyle>
            <a:lvl1pPr>
              <a:defRPr sz="3200">
                <a:solidFill>
                  <a:schemeClr val="tx2"/>
                </a:solidFill>
                <a:latin typeface="+mj-lt"/>
              </a:defRPr>
            </a:lvl1pPr>
          </a:lstStyle>
          <a:p>
            <a:r>
              <a:rPr lang="fr-FR" dirty="0" err="1"/>
              <a:t>Summary</a:t>
            </a:r>
            <a:endParaRPr lang="en-GB" dirty="0"/>
          </a:p>
        </p:txBody>
      </p:sp>
      <p:sp>
        <p:nvSpPr>
          <p:cNvPr id="10" name="Espace réservé pour une image  9">
            <a:extLst>
              <a:ext uri="{FF2B5EF4-FFF2-40B4-BE49-F238E27FC236}">
                <a16:creationId xmlns:a16="http://schemas.microsoft.com/office/drawing/2014/main" id="{2481741F-42DC-4FF8-AD9C-1FB7F7BE9822}"/>
              </a:ext>
            </a:extLst>
          </p:cNvPr>
          <p:cNvSpPr>
            <a:spLocks noGrp="1"/>
          </p:cNvSpPr>
          <p:nvPr>
            <p:ph type="pic" sz="quarter" idx="10"/>
          </p:nvPr>
        </p:nvSpPr>
        <p:spPr>
          <a:xfrm>
            <a:off x="133744" y="3"/>
            <a:ext cx="1749972" cy="4067882"/>
          </a:xfrm>
          <a:custGeom>
            <a:avLst/>
            <a:gdLst>
              <a:gd name="connsiteX0" fmla="*/ 0 w 1749972"/>
              <a:gd name="connsiteY0" fmla="*/ 0 h 4067882"/>
              <a:gd name="connsiteX1" fmla="*/ 1749972 w 1749972"/>
              <a:gd name="connsiteY1" fmla="*/ 0 h 4067882"/>
              <a:gd name="connsiteX2" fmla="*/ 1749972 w 1749972"/>
              <a:gd name="connsiteY2" fmla="*/ 4067882 h 4067882"/>
              <a:gd name="connsiteX3" fmla="*/ 0 w 1749972"/>
              <a:gd name="connsiteY3" fmla="*/ 4067882 h 4067882"/>
            </a:gdLst>
            <a:ahLst/>
            <a:cxnLst>
              <a:cxn ang="0">
                <a:pos x="connsiteX0" y="connsiteY0"/>
              </a:cxn>
              <a:cxn ang="0">
                <a:pos x="connsiteX1" y="connsiteY1"/>
              </a:cxn>
              <a:cxn ang="0">
                <a:pos x="connsiteX2" y="connsiteY2"/>
              </a:cxn>
              <a:cxn ang="0">
                <a:pos x="connsiteX3" y="connsiteY3"/>
              </a:cxn>
            </a:cxnLst>
            <a:rect l="l" t="t" r="r" b="b"/>
            <a:pathLst>
              <a:path w="1749972" h="4067882">
                <a:moveTo>
                  <a:pt x="0" y="0"/>
                </a:moveTo>
                <a:lnTo>
                  <a:pt x="1749972" y="0"/>
                </a:lnTo>
                <a:lnTo>
                  <a:pt x="1749972" y="4067882"/>
                </a:lnTo>
                <a:lnTo>
                  <a:pt x="0" y="4067882"/>
                </a:lnTo>
                <a:close/>
              </a:path>
            </a:pathLst>
          </a:custGeom>
        </p:spPr>
        <p:txBody>
          <a:bodyPr wrap="square">
            <a:noAutofit/>
          </a:bodyPr>
          <a:lstStyle>
            <a:lvl1pPr>
              <a:defRPr b="1">
                <a:solidFill>
                  <a:schemeClr val="bg2"/>
                </a:solidFill>
                <a:latin typeface="+mj-lt"/>
              </a:defRPr>
            </a:lvl1pPr>
          </a:lstStyle>
          <a:p>
            <a:endParaRPr lang="en-GB" dirty="0"/>
          </a:p>
        </p:txBody>
      </p:sp>
      <p:sp>
        <p:nvSpPr>
          <p:cNvPr id="5" name="Rectangle 4">
            <a:extLst>
              <a:ext uri="{FF2B5EF4-FFF2-40B4-BE49-F238E27FC236}">
                <a16:creationId xmlns:a16="http://schemas.microsoft.com/office/drawing/2014/main" id="{32342BCC-772B-4854-B618-6B17C139ACAA}"/>
              </a:ext>
            </a:extLst>
          </p:cNvPr>
          <p:cNvSpPr/>
          <p:nvPr userDrawn="1"/>
        </p:nvSpPr>
        <p:spPr>
          <a:xfrm>
            <a:off x="2149989" y="1104902"/>
            <a:ext cx="252000" cy="40385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4" name="Espace réservé du texte 3">
            <a:extLst>
              <a:ext uri="{FF2B5EF4-FFF2-40B4-BE49-F238E27FC236}">
                <a16:creationId xmlns:a16="http://schemas.microsoft.com/office/drawing/2014/main" id="{E4A412A9-0E74-4A28-B6FE-D6D22F298E0A}"/>
              </a:ext>
            </a:extLst>
          </p:cNvPr>
          <p:cNvSpPr>
            <a:spLocks noGrp="1"/>
          </p:cNvSpPr>
          <p:nvPr>
            <p:ph type="body" sz="quarter" idx="11" hasCustomPrompt="1"/>
          </p:nvPr>
        </p:nvSpPr>
        <p:spPr>
          <a:xfrm>
            <a:off x="2607304" y="1104901"/>
            <a:ext cx="653672" cy="689175"/>
          </a:xfrm>
        </p:spPr>
        <p:txBody>
          <a:bodyPr anchor="ctr" anchorCtr="0">
            <a:noAutofit/>
          </a:bodyPr>
          <a:lstStyle>
            <a:lvl1pPr algn="r">
              <a:defRPr sz="4400" b="1">
                <a:latin typeface="+mj-lt"/>
              </a:defRPr>
            </a:lvl1pPr>
          </a:lstStyle>
          <a:p>
            <a:pPr lvl="0"/>
            <a:r>
              <a:rPr lang="fr-FR" dirty="0"/>
              <a:t>1</a:t>
            </a:r>
            <a:endParaRPr lang="en-GB" dirty="0"/>
          </a:p>
        </p:txBody>
      </p:sp>
      <p:sp>
        <p:nvSpPr>
          <p:cNvPr id="8" name="Espace réservé du texte 7">
            <a:extLst>
              <a:ext uri="{FF2B5EF4-FFF2-40B4-BE49-F238E27FC236}">
                <a16:creationId xmlns:a16="http://schemas.microsoft.com/office/drawing/2014/main" id="{BE7C6E45-7330-47C6-B741-B669874D44AA}"/>
              </a:ext>
            </a:extLst>
          </p:cNvPr>
          <p:cNvSpPr>
            <a:spLocks noGrp="1"/>
          </p:cNvSpPr>
          <p:nvPr>
            <p:ph type="body" sz="quarter" idx="12" hasCustomPrompt="1"/>
          </p:nvPr>
        </p:nvSpPr>
        <p:spPr>
          <a:xfrm>
            <a:off x="3322638" y="110490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irst chapter</a:t>
            </a:r>
            <a:endParaRPr lang="fr-FR" dirty="0"/>
          </a:p>
        </p:txBody>
      </p:sp>
      <p:sp>
        <p:nvSpPr>
          <p:cNvPr id="16" name="Espace réservé du texte 3">
            <a:extLst>
              <a:ext uri="{FF2B5EF4-FFF2-40B4-BE49-F238E27FC236}">
                <a16:creationId xmlns:a16="http://schemas.microsoft.com/office/drawing/2014/main" id="{7A748A71-3097-4111-8789-6EB2A24CBC9A}"/>
              </a:ext>
            </a:extLst>
          </p:cNvPr>
          <p:cNvSpPr>
            <a:spLocks noGrp="1"/>
          </p:cNvSpPr>
          <p:nvPr>
            <p:ph type="body" sz="quarter" idx="13" hasCustomPrompt="1"/>
          </p:nvPr>
        </p:nvSpPr>
        <p:spPr>
          <a:xfrm>
            <a:off x="2607304" y="2016092"/>
            <a:ext cx="653672" cy="689175"/>
          </a:xfrm>
        </p:spPr>
        <p:txBody>
          <a:bodyPr anchor="ctr" anchorCtr="0">
            <a:noAutofit/>
          </a:bodyPr>
          <a:lstStyle>
            <a:lvl1pPr algn="r">
              <a:defRPr sz="4400" b="1">
                <a:latin typeface="+mj-lt"/>
              </a:defRPr>
            </a:lvl1pPr>
          </a:lstStyle>
          <a:p>
            <a:pPr lvl="0"/>
            <a:r>
              <a:rPr lang="fr-FR" dirty="0"/>
              <a:t>2</a:t>
            </a:r>
            <a:endParaRPr lang="en-GB" dirty="0"/>
          </a:p>
        </p:txBody>
      </p:sp>
      <p:sp>
        <p:nvSpPr>
          <p:cNvPr id="17" name="Espace réservé du texte 7">
            <a:extLst>
              <a:ext uri="{FF2B5EF4-FFF2-40B4-BE49-F238E27FC236}">
                <a16:creationId xmlns:a16="http://schemas.microsoft.com/office/drawing/2014/main" id="{ACFFE6A6-7635-485B-86C2-D1116A6251BC}"/>
              </a:ext>
            </a:extLst>
          </p:cNvPr>
          <p:cNvSpPr>
            <a:spLocks noGrp="1"/>
          </p:cNvSpPr>
          <p:nvPr>
            <p:ph type="body" sz="quarter" idx="14" hasCustomPrompt="1"/>
          </p:nvPr>
        </p:nvSpPr>
        <p:spPr>
          <a:xfrm>
            <a:off x="3322638" y="201609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second chapter</a:t>
            </a:r>
            <a:endParaRPr lang="fr-FR" dirty="0"/>
          </a:p>
        </p:txBody>
      </p:sp>
      <p:sp>
        <p:nvSpPr>
          <p:cNvPr id="21" name="Espace réservé du texte 3">
            <a:extLst>
              <a:ext uri="{FF2B5EF4-FFF2-40B4-BE49-F238E27FC236}">
                <a16:creationId xmlns:a16="http://schemas.microsoft.com/office/drawing/2014/main" id="{80CB605E-A54D-48A2-B7DB-156202679D2D}"/>
              </a:ext>
            </a:extLst>
          </p:cNvPr>
          <p:cNvSpPr>
            <a:spLocks noGrp="1"/>
          </p:cNvSpPr>
          <p:nvPr>
            <p:ph type="body" sz="quarter" idx="15" hasCustomPrompt="1"/>
          </p:nvPr>
        </p:nvSpPr>
        <p:spPr>
          <a:xfrm>
            <a:off x="2607304" y="2927083"/>
            <a:ext cx="653672" cy="689175"/>
          </a:xfrm>
        </p:spPr>
        <p:txBody>
          <a:bodyPr anchor="ctr" anchorCtr="0">
            <a:noAutofit/>
          </a:bodyPr>
          <a:lstStyle>
            <a:lvl1pPr algn="r">
              <a:defRPr sz="4400" b="1">
                <a:latin typeface="+mj-lt"/>
              </a:defRPr>
            </a:lvl1pPr>
          </a:lstStyle>
          <a:p>
            <a:pPr lvl="0"/>
            <a:r>
              <a:rPr lang="fr-FR" dirty="0"/>
              <a:t>3</a:t>
            </a:r>
            <a:endParaRPr lang="en-GB" dirty="0"/>
          </a:p>
        </p:txBody>
      </p:sp>
      <p:sp>
        <p:nvSpPr>
          <p:cNvPr id="22" name="Espace réservé du texte 7">
            <a:extLst>
              <a:ext uri="{FF2B5EF4-FFF2-40B4-BE49-F238E27FC236}">
                <a16:creationId xmlns:a16="http://schemas.microsoft.com/office/drawing/2014/main" id="{D80BC0E6-A361-44B7-94B1-54617DE955F4}"/>
              </a:ext>
            </a:extLst>
          </p:cNvPr>
          <p:cNvSpPr>
            <a:spLocks noGrp="1"/>
          </p:cNvSpPr>
          <p:nvPr>
            <p:ph type="body" sz="quarter" idx="16" hasCustomPrompt="1"/>
          </p:nvPr>
        </p:nvSpPr>
        <p:spPr>
          <a:xfrm>
            <a:off x="3322638" y="2927082"/>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third chapter</a:t>
            </a:r>
            <a:endParaRPr lang="fr-FR" dirty="0"/>
          </a:p>
        </p:txBody>
      </p:sp>
      <p:sp>
        <p:nvSpPr>
          <p:cNvPr id="23" name="Espace réservé du texte 3">
            <a:extLst>
              <a:ext uri="{FF2B5EF4-FFF2-40B4-BE49-F238E27FC236}">
                <a16:creationId xmlns:a16="http://schemas.microsoft.com/office/drawing/2014/main" id="{95836CCC-2B10-4501-B556-882AE2F2E25B}"/>
              </a:ext>
            </a:extLst>
          </p:cNvPr>
          <p:cNvSpPr>
            <a:spLocks noGrp="1"/>
          </p:cNvSpPr>
          <p:nvPr>
            <p:ph type="body" sz="quarter" idx="17" hasCustomPrompt="1"/>
          </p:nvPr>
        </p:nvSpPr>
        <p:spPr>
          <a:xfrm>
            <a:off x="2607304" y="3837872"/>
            <a:ext cx="653672" cy="689175"/>
          </a:xfrm>
        </p:spPr>
        <p:txBody>
          <a:bodyPr anchor="ctr" anchorCtr="0">
            <a:noAutofit/>
          </a:bodyPr>
          <a:lstStyle>
            <a:lvl1pPr algn="r">
              <a:defRPr sz="4400" b="1">
                <a:latin typeface="+mj-lt"/>
              </a:defRPr>
            </a:lvl1pPr>
          </a:lstStyle>
          <a:p>
            <a:pPr lvl="0"/>
            <a:r>
              <a:rPr lang="fr-FR" dirty="0"/>
              <a:t>4</a:t>
            </a:r>
            <a:endParaRPr lang="en-GB" dirty="0"/>
          </a:p>
        </p:txBody>
      </p:sp>
      <p:sp>
        <p:nvSpPr>
          <p:cNvPr id="24" name="Espace réservé du texte 7">
            <a:extLst>
              <a:ext uri="{FF2B5EF4-FFF2-40B4-BE49-F238E27FC236}">
                <a16:creationId xmlns:a16="http://schemas.microsoft.com/office/drawing/2014/main" id="{3DA9F530-DFFD-4A14-AEA9-07A56A93C9BD}"/>
              </a:ext>
            </a:extLst>
          </p:cNvPr>
          <p:cNvSpPr>
            <a:spLocks noGrp="1"/>
          </p:cNvSpPr>
          <p:nvPr>
            <p:ph type="body" sz="quarter" idx="18" hasCustomPrompt="1"/>
          </p:nvPr>
        </p:nvSpPr>
        <p:spPr>
          <a:xfrm>
            <a:off x="3322638" y="3837871"/>
            <a:ext cx="5497512" cy="688975"/>
          </a:xfrm>
        </p:spPr>
        <p:txBody>
          <a:bodyPr anchor="ctr" anchorCtr="0">
            <a:noAutofit/>
          </a:bodyPr>
          <a:lstStyle>
            <a:lvl1pPr>
              <a:defRPr sz="1600">
                <a:solidFill>
                  <a:schemeClr val="tx2"/>
                </a:solidFill>
                <a:latin typeface="+mn-lt"/>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dirty="0"/>
              <a:t>Title of the fourth chapter</a:t>
            </a:r>
          </a:p>
        </p:txBody>
      </p:sp>
      <p:sp>
        <p:nvSpPr>
          <p:cNvPr id="19" name="Espace réservé du numéro de diapositive 4">
            <a:extLst>
              <a:ext uri="{FF2B5EF4-FFF2-40B4-BE49-F238E27FC236}">
                <a16:creationId xmlns:a16="http://schemas.microsoft.com/office/drawing/2014/main" id="{228C96B0-9E5E-472D-944B-475EE4054DED}"/>
              </a:ext>
            </a:extLst>
          </p:cNvPr>
          <p:cNvSpPr>
            <a:spLocks noGrp="1"/>
          </p:cNvSpPr>
          <p:nvPr>
            <p:ph type="sldNum" sz="quarter" idx="19"/>
          </p:nvPr>
        </p:nvSpPr>
        <p:spPr>
          <a:xfrm>
            <a:off x="8607765" y="4846821"/>
            <a:ext cx="525046" cy="304373"/>
          </a:xfrm>
        </p:spPr>
        <p:txBody>
          <a:bodyPr/>
          <a:lstStyle>
            <a:lvl1pPr>
              <a:defRPr>
                <a:solidFill>
                  <a:schemeClr val="bg2"/>
                </a:solidFill>
                <a:latin typeface="+mj-lt"/>
              </a:defRPr>
            </a:lvl1pPr>
          </a:lstStyle>
          <a:p>
            <a:fld id="{98BD2159-827C-4021-9B0E-DCD852BEB59E}" type="slidenum">
              <a:rPr lang="en-GB" smtClean="0"/>
              <a:pPr/>
              <a:t>‹N°›</a:t>
            </a:fld>
            <a:endParaRPr lang="en-GB" dirty="0"/>
          </a:p>
        </p:txBody>
      </p:sp>
      <p:pic>
        <p:nvPicPr>
          <p:cNvPr id="20" name="Picture 19"/>
          <p:cNvPicPr>
            <a:picLocks noChangeAspect="1"/>
          </p:cNvPicPr>
          <p:nvPr userDrawn="1"/>
        </p:nvPicPr>
        <p:blipFill>
          <a:blip r:embed="rId2"/>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91065423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8"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image" Target="../media/image1.png"/><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8"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34" Type="http://schemas.openxmlformats.org/officeDocument/2006/relationships/theme" Target="../theme/theme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image" Target="../media/image1.png"/><Relationship Id="rId8"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1AEBDC3-26FE-4EB0-B015-002C5850DCF0}"/>
              </a:ext>
            </a:extLst>
          </p:cNvPr>
          <p:cNvSpPr>
            <a:spLocks noGrp="1"/>
          </p:cNvSpPr>
          <p:nvPr>
            <p:ph type="title"/>
          </p:nvPr>
        </p:nvSpPr>
        <p:spPr>
          <a:xfrm>
            <a:off x="517608" y="173626"/>
            <a:ext cx="7997742" cy="824594"/>
          </a:xfrm>
          <a:prstGeom prst="rect">
            <a:avLst/>
          </a:prstGeom>
        </p:spPr>
        <p:txBody>
          <a:bodyPr vert="horz" lIns="91440" tIns="45720" rIns="91440" bIns="45720" rtlCol="0" anchor="t" anchorCtr="0">
            <a:noAutofit/>
          </a:bodyPr>
          <a:lstStyle/>
          <a:p>
            <a:r>
              <a:rPr lang="fr-FR" dirty="0"/>
              <a:t>Edit the </a:t>
            </a:r>
            <a:r>
              <a:rPr lang="fr-FR" dirty="0" err="1"/>
              <a:t>title</a:t>
            </a:r>
            <a:r>
              <a:rPr lang="fr-FR" dirty="0"/>
              <a:t> </a:t>
            </a:r>
            <a:r>
              <a:rPr lang="fr-FR" dirty="0" err="1"/>
              <a:t>text</a:t>
            </a:r>
            <a:endParaRPr lang="en-GB" dirty="0"/>
          </a:p>
        </p:txBody>
      </p:sp>
      <p:sp>
        <p:nvSpPr>
          <p:cNvPr id="3" name="Espace réservé du texte 2">
            <a:extLst>
              <a:ext uri="{FF2B5EF4-FFF2-40B4-BE49-F238E27FC236}">
                <a16:creationId xmlns:a16="http://schemas.microsoft.com/office/drawing/2014/main" id="{13D40A60-2699-4F82-AA36-D739F88D1C6B}"/>
              </a:ext>
            </a:extLst>
          </p:cNvPr>
          <p:cNvSpPr>
            <a:spLocks noGrp="1"/>
          </p:cNvSpPr>
          <p:nvPr>
            <p:ph type="body" idx="1"/>
          </p:nvPr>
        </p:nvSpPr>
        <p:spPr>
          <a:xfrm>
            <a:off x="517608" y="1273215"/>
            <a:ext cx="7997742" cy="3359109"/>
          </a:xfrm>
          <a:prstGeom prst="rect">
            <a:avLst/>
          </a:prstGeom>
        </p:spPr>
        <p:txBody>
          <a:bodyPr vert="horz" lIns="91440" tIns="45720" rIns="91440" bIns="45720" rtlCol="0">
            <a:normAutofit/>
          </a:body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cxnSp>
        <p:nvCxnSpPr>
          <p:cNvPr id="12" name="Connecteur droit 11">
            <a:extLst>
              <a:ext uri="{FF2B5EF4-FFF2-40B4-BE49-F238E27FC236}">
                <a16:creationId xmlns:a16="http://schemas.microsoft.com/office/drawing/2014/main" id="{4D19B860-48AF-4BBF-8422-6E9C5B6D54D4}"/>
              </a:ext>
            </a:extLst>
          </p:cNvPr>
          <p:cNvCxnSpPr>
            <a:cxnSpLocks/>
          </p:cNvCxnSpPr>
          <p:nvPr userDrawn="1"/>
        </p:nvCxnSpPr>
        <p:spPr>
          <a:xfrm>
            <a:off x="1976751" y="4919098"/>
            <a:ext cx="0" cy="144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0437ED2-3E3E-48D5-8132-9B257F304D2E}"/>
              </a:ext>
            </a:extLst>
          </p:cNvPr>
          <p:cNvSpPr/>
          <p:nvPr userDrawn="1"/>
        </p:nvSpPr>
        <p:spPr>
          <a:xfrm>
            <a:off x="8759161" y="548640"/>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4" name="Rectangle 13">
            <a:extLst>
              <a:ext uri="{FF2B5EF4-FFF2-40B4-BE49-F238E27FC236}">
                <a16:creationId xmlns:a16="http://schemas.microsoft.com/office/drawing/2014/main" id="{A9983EF5-FFDA-4EEB-8E55-87E4842F2F68}"/>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6" name="Espace réservé du numéro de diapositive 5">
            <a:extLst>
              <a:ext uri="{FF2B5EF4-FFF2-40B4-BE49-F238E27FC236}">
                <a16:creationId xmlns:a16="http://schemas.microsoft.com/office/drawing/2014/main" id="{1C6EC598-686E-4664-93B6-134A06AE2886}"/>
              </a:ext>
            </a:extLst>
          </p:cNvPr>
          <p:cNvSpPr>
            <a:spLocks noGrp="1"/>
          </p:cNvSpPr>
          <p:nvPr>
            <p:ph type="sldNum" sz="quarter" idx="4"/>
          </p:nvPr>
        </p:nvSpPr>
        <p:spPr>
          <a:xfrm>
            <a:off x="8607765" y="4846820"/>
            <a:ext cx="525046" cy="296679"/>
          </a:xfrm>
          <a:prstGeom prst="rect">
            <a:avLst/>
          </a:prstGeom>
        </p:spPr>
        <p:txBody>
          <a:bodyPr vert="horz" lIns="0" tIns="45720" rIns="0" bIns="45720" rtlCol="0" anchor="ctr"/>
          <a:lstStyle>
            <a:lvl1pPr algn="ctr">
              <a:defRPr sz="900" b="1">
                <a:solidFill>
                  <a:schemeClr val="bg1"/>
                </a:solidFill>
                <a:latin typeface="+mj-lt"/>
              </a:defRPr>
            </a:lvl1pPr>
          </a:lstStyle>
          <a:p>
            <a:fld id="{98BD2159-827C-4021-9B0E-DCD852BEB59E}" type="slidenum">
              <a:rPr lang="en-GB" smtClean="0"/>
              <a:pPr/>
              <a:t>‹N°›</a:t>
            </a:fld>
            <a:endParaRPr lang="en-GB" dirty="0"/>
          </a:p>
        </p:txBody>
      </p:sp>
      <p:sp>
        <p:nvSpPr>
          <p:cNvPr id="19" name="TextBox 18"/>
          <p:cNvSpPr txBox="1"/>
          <p:nvPr userDrawn="1"/>
        </p:nvSpPr>
        <p:spPr>
          <a:xfrm>
            <a:off x="0" y="4622110"/>
            <a:ext cx="876300" cy="530915"/>
          </a:xfrm>
          <a:prstGeom prst="rect">
            <a:avLst/>
          </a:prstGeom>
          <a:solidFill>
            <a:schemeClr val="bg1"/>
          </a:solidFill>
        </p:spPr>
        <p:txBody>
          <a:bodyPr wrap="square" rtlCol="0">
            <a:spAutoFit/>
          </a:bodyPr>
          <a:lstStyle/>
          <a:p>
            <a:endParaRPr lang="fr-FR" sz="1000" dirty="0"/>
          </a:p>
          <a:p>
            <a:endParaRPr lang="fr-FR" dirty="0"/>
          </a:p>
        </p:txBody>
      </p:sp>
      <p:sp>
        <p:nvSpPr>
          <p:cNvPr id="20" name="TextBox 19"/>
          <p:cNvSpPr txBox="1"/>
          <p:nvPr userDrawn="1"/>
        </p:nvSpPr>
        <p:spPr>
          <a:xfrm>
            <a:off x="876299" y="4612585"/>
            <a:ext cx="7012328" cy="538609"/>
          </a:xfrm>
          <a:prstGeom prst="rect">
            <a:avLst/>
          </a:prstGeom>
          <a:solidFill>
            <a:schemeClr val="bg1"/>
          </a:solidFill>
        </p:spPr>
        <p:txBody>
          <a:bodyPr wrap="square" rtlCol="0">
            <a:spAutoFit/>
          </a:bodyPr>
          <a:lstStyle/>
          <a:p>
            <a:endParaRPr lang="fr-FR" sz="400" dirty="0"/>
          </a:p>
          <a:p>
            <a:endParaRPr lang="fr-FR" sz="600" dirty="0"/>
          </a:p>
          <a:p>
            <a:endParaRPr lang="en-US" dirty="0"/>
          </a:p>
        </p:txBody>
      </p:sp>
      <p:pic>
        <p:nvPicPr>
          <p:cNvPr id="21" name="Picture 20"/>
          <p:cNvPicPr>
            <a:picLocks noChangeAspect="1"/>
          </p:cNvPicPr>
          <p:nvPr userDrawn="1"/>
        </p:nvPicPr>
        <p:blipFill>
          <a:blip r:embed="rId3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3433110396"/>
      </p:ext>
    </p:extLst>
  </p:cSld>
  <p:clrMap bg1="lt1" tx1="dk1" bg2="lt2" tx2="dk2" accent1="accent1" accent2="accent2" accent3="accent3" accent4="accent4" accent5="accent5" accent6="accent6" hlink="hlink" folHlink="folHlink"/>
  <p:sldLayoutIdLst>
    <p:sldLayoutId id="2147483770" r:id="rId1"/>
    <p:sldLayoutId id="2147483793" r:id="rId2"/>
    <p:sldLayoutId id="2147483794" r:id="rId3"/>
    <p:sldLayoutId id="2147483791" r:id="rId4"/>
    <p:sldLayoutId id="2147483771" r:id="rId5"/>
    <p:sldLayoutId id="2147483795" r:id="rId6"/>
    <p:sldLayoutId id="2147483796" r:id="rId7"/>
    <p:sldLayoutId id="2147483772" r:id="rId8"/>
    <p:sldLayoutId id="2147483773" r:id="rId9"/>
    <p:sldLayoutId id="2147483797" r:id="rId10"/>
    <p:sldLayoutId id="2147483774" r:id="rId11"/>
    <p:sldLayoutId id="2147483798" r:id="rId12"/>
    <p:sldLayoutId id="2147483775" r:id="rId13"/>
    <p:sldLayoutId id="2147483776" r:id="rId14"/>
    <p:sldLayoutId id="2147483799" r:id="rId15"/>
    <p:sldLayoutId id="2147483777" r:id="rId16"/>
    <p:sldLayoutId id="2147483800"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801" r:id="rId31"/>
  </p:sldLayoutIdLst>
  <p:hf hdr="0"/>
  <p:txStyles>
    <p:titleStyle>
      <a:lvl1pPr algn="l" defTabSz="914400" rtl="0" eaLnBrk="1" latinLnBrk="0" hangingPunct="1">
        <a:lnSpc>
          <a:spcPct val="90000"/>
        </a:lnSpc>
        <a:spcBef>
          <a:spcPct val="0"/>
        </a:spcBef>
        <a:buNone/>
        <a:defRPr sz="2400" b="1" kern="1200">
          <a:solidFill>
            <a:schemeClr val="bg2"/>
          </a:solidFill>
          <a:latin typeface="+mj-lt"/>
          <a:ea typeface="+mj-ea"/>
          <a:cs typeface="+mj-cs"/>
        </a:defRPr>
      </a:lvl1pPr>
    </p:titleStyle>
    <p:bodyStyle>
      <a:lvl1pPr marL="0" indent="0" algn="l" defTabSz="914400" rtl="0" eaLnBrk="1" latinLnBrk="0" hangingPunct="1">
        <a:lnSpc>
          <a:spcPct val="90000"/>
        </a:lnSpc>
        <a:spcBef>
          <a:spcPts val="300"/>
        </a:spcBef>
        <a:buFontTx/>
        <a:buNone/>
        <a:defRPr sz="1400" kern="1200">
          <a:solidFill>
            <a:schemeClr val="tx2"/>
          </a:solidFill>
          <a:latin typeface="+mn-lt"/>
          <a:ea typeface="+mn-ea"/>
          <a:cs typeface="+mn-cs"/>
        </a:defRPr>
      </a:lvl1pPr>
      <a:lvl2pPr marL="0" indent="0" algn="l" defTabSz="914400" rtl="0" eaLnBrk="1" latinLnBrk="0" hangingPunct="1">
        <a:lnSpc>
          <a:spcPct val="90000"/>
        </a:lnSpc>
        <a:spcBef>
          <a:spcPts val="500"/>
        </a:spcBef>
        <a:buFontTx/>
        <a:buNone/>
        <a:defRPr sz="1300" b="1" kern="1200">
          <a:solidFill>
            <a:schemeClr val="accent3"/>
          </a:solidFill>
          <a:latin typeface="+mn-lt"/>
          <a:ea typeface="+mn-ea"/>
          <a:cs typeface="+mn-cs"/>
        </a:defRPr>
      </a:lvl2pPr>
      <a:lvl3pPr marL="180000" indent="-180000" algn="l" defTabSz="914400" rtl="0" eaLnBrk="1" latinLnBrk="0" hangingPunct="1">
        <a:lnSpc>
          <a:spcPct val="90000"/>
        </a:lnSpc>
        <a:spcBef>
          <a:spcPts val="500"/>
        </a:spcBef>
        <a:buClr>
          <a:schemeClr val="accent3"/>
        </a:buClr>
        <a:buSzPct val="115000"/>
        <a:buFont typeface="Poppins Light"/>
        <a:buChar char="│"/>
        <a:defRPr sz="1200" kern="1200">
          <a:solidFill>
            <a:schemeClr val="tx2"/>
          </a:solidFill>
          <a:latin typeface="+mn-lt"/>
          <a:ea typeface="+mn-ea"/>
          <a:cs typeface="+mn-cs"/>
        </a:defRPr>
      </a:lvl3pPr>
      <a:lvl4pPr marL="360000" indent="-144000" algn="l" defTabSz="914400" rtl="0" eaLnBrk="1" latinLnBrk="0" hangingPunct="1">
        <a:lnSpc>
          <a:spcPct val="90000"/>
        </a:lnSpc>
        <a:spcBef>
          <a:spcPts val="500"/>
        </a:spcBef>
        <a:buClr>
          <a:schemeClr val="accent3"/>
        </a:buClr>
        <a:buFont typeface="Avenir Next LT Pro" panose="020B0504020202020204" pitchFamily="34" charset="0"/>
        <a:buChar char="»"/>
        <a:defRPr sz="1100" b="1"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1AEBDC3-26FE-4EB0-B015-002C5850DCF0}"/>
              </a:ext>
            </a:extLst>
          </p:cNvPr>
          <p:cNvSpPr>
            <a:spLocks noGrp="1"/>
          </p:cNvSpPr>
          <p:nvPr>
            <p:ph type="title"/>
          </p:nvPr>
        </p:nvSpPr>
        <p:spPr>
          <a:xfrm>
            <a:off x="517608" y="173626"/>
            <a:ext cx="7997742" cy="824594"/>
          </a:xfrm>
          <a:prstGeom prst="rect">
            <a:avLst/>
          </a:prstGeom>
        </p:spPr>
        <p:txBody>
          <a:bodyPr vert="horz" lIns="91440" tIns="45720" rIns="91440" bIns="45720" rtlCol="0" anchor="t" anchorCtr="0">
            <a:noAutofit/>
          </a:bodyPr>
          <a:lstStyle/>
          <a:p>
            <a:r>
              <a:rPr lang="fr-FR" dirty="0"/>
              <a:t>Edit the </a:t>
            </a:r>
            <a:r>
              <a:rPr lang="fr-FR" dirty="0" err="1"/>
              <a:t>title</a:t>
            </a:r>
            <a:r>
              <a:rPr lang="fr-FR" dirty="0"/>
              <a:t> </a:t>
            </a:r>
            <a:r>
              <a:rPr lang="fr-FR" dirty="0" err="1"/>
              <a:t>text</a:t>
            </a:r>
            <a:endParaRPr lang="en-GB" dirty="0"/>
          </a:p>
        </p:txBody>
      </p:sp>
      <p:sp>
        <p:nvSpPr>
          <p:cNvPr id="3" name="Espace réservé du texte 2">
            <a:extLst>
              <a:ext uri="{FF2B5EF4-FFF2-40B4-BE49-F238E27FC236}">
                <a16:creationId xmlns:a16="http://schemas.microsoft.com/office/drawing/2014/main" id="{13D40A60-2699-4F82-AA36-D739F88D1C6B}"/>
              </a:ext>
            </a:extLst>
          </p:cNvPr>
          <p:cNvSpPr>
            <a:spLocks noGrp="1"/>
          </p:cNvSpPr>
          <p:nvPr>
            <p:ph type="body" idx="1"/>
          </p:nvPr>
        </p:nvSpPr>
        <p:spPr>
          <a:xfrm>
            <a:off x="517608" y="1273216"/>
            <a:ext cx="7997742" cy="3359109"/>
          </a:xfrm>
          <a:prstGeom prst="rect">
            <a:avLst/>
          </a:prstGeom>
        </p:spPr>
        <p:txBody>
          <a:bodyPr vert="horz" lIns="91440" tIns="45720" rIns="91440" bIns="45720" rtlCol="0">
            <a:normAutofit/>
          </a:body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cxnSp>
        <p:nvCxnSpPr>
          <p:cNvPr id="12" name="Connecteur droit 11">
            <a:extLst>
              <a:ext uri="{FF2B5EF4-FFF2-40B4-BE49-F238E27FC236}">
                <a16:creationId xmlns:a16="http://schemas.microsoft.com/office/drawing/2014/main" id="{4D19B860-48AF-4BBF-8422-6E9C5B6D54D4}"/>
              </a:ext>
            </a:extLst>
          </p:cNvPr>
          <p:cNvCxnSpPr>
            <a:cxnSpLocks/>
          </p:cNvCxnSpPr>
          <p:nvPr userDrawn="1"/>
        </p:nvCxnSpPr>
        <p:spPr>
          <a:xfrm>
            <a:off x="1976751" y="4919098"/>
            <a:ext cx="0" cy="144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0437ED2-3E3E-48D5-8132-9B257F304D2E}"/>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Rectangle 13">
            <a:extLst>
              <a:ext uri="{FF2B5EF4-FFF2-40B4-BE49-F238E27FC236}">
                <a16:creationId xmlns:a16="http://schemas.microsoft.com/office/drawing/2014/main" id="{A9983EF5-FFDA-4EEB-8E55-87E4842F2F68}"/>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6" name="Espace réservé du numéro de diapositive 5">
            <a:extLst>
              <a:ext uri="{FF2B5EF4-FFF2-40B4-BE49-F238E27FC236}">
                <a16:creationId xmlns:a16="http://schemas.microsoft.com/office/drawing/2014/main" id="{1C6EC598-686E-4664-93B6-134A06AE2886}"/>
              </a:ext>
            </a:extLst>
          </p:cNvPr>
          <p:cNvSpPr>
            <a:spLocks noGrp="1"/>
          </p:cNvSpPr>
          <p:nvPr>
            <p:ph type="sldNum" sz="quarter" idx="4"/>
          </p:nvPr>
        </p:nvSpPr>
        <p:spPr>
          <a:xfrm>
            <a:off x="8607765" y="4846820"/>
            <a:ext cx="525046" cy="296679"/>
          </a:xfrm>
          <a:prstGeom prst="rect">
            <a:avLst/>
          </a:prstGeom>
        </p:spPr>
        <p:txBody>
          <a:bodyPr vert="horz" lIns="0" tIns="45720" rIns="0" bIns="45720" rtlCol="0" anchor="ctr"/>
          <a:lstStyle>
            <a:lvl1pPr algn="ctr">
              <a:defRPr sz="900" b="1">
                <a:solidFill>
                  <a:schemeClr val="bg1"/>
                </a:solidFill>
                <a:latin typeface="+mj-lt"/>
              </a:defRPr>
            </a:lvl1pPr>
          </a:lstStyle>
          <a:p>
            <a:fld id="{98BD2159-827C-4021-9B0E-DCD852BEB59E}" type="slidenum">
              <a:rPr lang="en-GB" smtClean="0"/>
              <a:pPr/>
              <a:t>‹N°›</a:t>
            </a:fld>
            <a:endParaRPr lang="en-GB" dirty="0"/>
          </a:p>
        </p:txBody>
      </p:sp>
      <p:sp>
        <p:nvSpPr>
          <p:cNvPr id="19" name="TextBox 18"/>
          <p:cNvSpPr txBox="1"/>
          <p:nvPr userDrawn="1"/>
        </p:nvSpPr>
        <p:spPr>
          <a:xfrm>
            <a:off x="0" y="4622110"/>
            <a:ext cx="876300" cy="523220"/>
          </a:xfrm>
          <a:prstGeom prst="rect">
            <a:avLst/>
          </a:prstGeom>
          <a:solidFill>
            <a:schemeClr val="bg1"/>
          </a:solidFill>
        </p:spPr>
        <p:txBody>
          <a:bodyPr wrap="square" rtlCol="0">
            <a:spAutoFit/>
          </a:bodyPr>
          <a:lstStyle/>
          <a:p>
            <a:endParaRPr lang="fr-FR" sz="1000" dirty="0"/>
          </a:p>
          <a:p>
            <a:endParaRPr lang="fr-FR" sz="1800" dirty="0"/>
          </a:p>
        </p:txBody>
      </p:sp>
      <p:sp>
        <p:nvSpPr>
          <p:cNvPr id="20" name="TextBox 19"/>
          <p:cNvSpPr txBox="1"/>
          <p:nvPr userDrawn="1"/>
        </p:nvSpPr>
        <p:spPr>
          <a:xfrm>
            <a:off x="876300" y="4612585"/>
            <a:ext cx="7012328"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pic>
        <p:nvPicPr>
          <p:cNvPr id="21" name="Picture 20"/>
          <p:cNvPicPr>
            <a:picLocks noChangeAspect="1"/>
          </p:cNvPicPr>
          <p:nvPr userDrawn="1"/>
        </p:nvPicPr>
        <p:blipFill>
          <a:blip r:embed="rId3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2364278797"/>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Lst>
  <p:hf sldNum="0" hdr="0" ftr="0" dt="0"/>
  <p:txStyles>
    <p:titleStyle>
      <a:lvl1pPr algn="l" defTabSz="914378" rtl="0" eaLnBrk="1" latinLnBrk="0" hangingPunct="1">
        <a:lnSpc>
          <a:spcPct val="90000"/>
        </a:lnSpc>
        <a:spcBef>
          <a:spcPct val="0"/>
        </a:spcBef>
        <a:buNone/>
        <a:defRPr sz="2400" b="1" kern="1200">
          <a:solidFill>
            <a:schemeClr val="bg2"/>
          </a:solidFill>
          <a:latin typeface="+mj-lt"/>
          <a:ea typeface="+mj-ea"/>
          <a:cs typeface="+mj-cs"/>
        </a:defRPr>
      </a:lvl1pPr>
    </p:titleStyle>
    <p:bodyStyle>
      <a:lvl1pPr marL="0" indent="0" algn="l" defTabSz="914378" rtl="0" eaLnBrk="1" latinLnBrk="0" hangingPunct="1">
        <a:lnSpc>
          <a:spcPct val="90000"/>
        </a:lnSpc>
        <a:spcBef>
          <a:spcPts val="300"/>
        </a:spcBef>
        <a:buFontTx/>
        <a:buNone/>
        <a:defRPr sz="1400" kern="1200">
          <a:solidFill>
            <a:schemeClr val="tx2"/>
          </a:solidFill>
          <a:latin typeface="+mn-lt"/>
          <a:ea typeface="+mn-ea"/>
          <a:cs typeface="+mn-cs"/>
        </a:defRPr>
      </a:lvl1pPr>
      <a:lvl2pPr marL="0" indent="0" algn="l" defTabSz="914378" rtl="0" eaLnBrk="1" latinLnBrk="0" hangingPunct="1">
        <a:lnSpc>
          <a:spcPct val="90000"/>
        </a:lnSpc>
        <a:spcBef>
          <a:spcPts val="500"/>
        </a:spcBef>
        <a:buFontTx/>
        <a:buNone/>
        <a:defRPr sz="1300" b="1" kern="1200">
          <a:solidFill>
            <a:schemeClr val="accent3"/>
          </a:solidFill>
          <a:latin typeface="+mn-lt"/>
          <a:ea typeface="+mn-ea"/>
          <a:cs typeface="+mn-cs"/>
        </a:defRPr>
      </a:lvl2pPr>
      <a:lvl3pPr marL="179996" indent="-179996" algn="l" defTabSz="914378" rtl="0" eaLnBrk="1" latinLnBrk="0" hangingPunct="1">
        <a:lnSpc>
          <a:spcPct val="90000"/>
        </a:lnSpc>
        <a:spcBef>
          <a:spcPts val="500"/>
        </a:spcBef>
        <a:buClr>
          <a:schemeClr val="accent3"/>
        </a:buClr>
        <a:buSzPct val="115000"/>
        <a:buFont typeface="Poppins Light"/>
        <a:buChar char="│"/>
        <a:defRPr sz="1200" kern="1200">
          <a:solidFill>
            <a:schemeClr val="tx2"/>
          </a:solidFill>
          <a:latin typeface="+mn-lt"/>
          <a:ea typeface="+mn-ea"/>
          <a:cs typeface="+mn-cs"/>
        </a:defRPr>
      </a:lvl3pPr>
      <a:lvl4pPr marL="359991" indent="-143996" algn="l" defTabSz="914378" rtl="0" eaLnBrk="1" latinLnBrk="0" hangingPunct="1">
        <a:lnSpc>
          <a:spcPct val="90000"/>
        </a:lnSpc>
        <a:spcBef>
          <a:spcPts val="500"/>
        </a:spcBef>
        <a:buClr>
          <a:schemeClr val="accent3"/>
        </a:buClr>
        <a:buFont typeface="Avenir Next LT Pro" panose="020B0504020202020204" pitchFamily="34" charset="0"/>
        <a:buChar char="»"/>
        <a:defRPr sz="1100" b="1" kern="1200">
          <a:solidFill>
            <a:schemeClr val="accent3"/>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1AEBDC3-26FE-4EB0-B015-002C5850DCF0}"/>
              </a:ext>
            </a:extLst>
          </p:cNvPr>
          <p:cNvSpPr>
            <a:spLocks noGrp="1"/>
          </p:cNvSpPr>
          <p:nvPr>
            <p:ph type="title"/>
          </p:nvPr>
        </p:nvSpPr>
        <p:spPr>
          <a:xfrm>
            <a:off x="517608" y="173626"/>
            <a:ext cx="7997742" cy="824594"/>
          </a:xfrm>
          <a:prstGeom prst="rect">
            <a:avLst/>
          </a:prstGeom>
        </p:spPr>
        <p:txBody>
          <a:bodyPr vert="horz" lIns="91440" tIns="45720" rIns="91440" bIns="45720" rtlCol="0" anchor="t" anchorCtr="0">
            <a:noAutofit/>
          </a:bodyPr>
          <a:lstStyle/>
          <a:p>
            <a:r>
              <a:rPr lang="fr-FR" dirty="0"/>
              <a:t>Edit the </a:t>
            </a:r>
            <a:r>
              <a:rPr lang="fr-FR" dirty="0" err="1"/>
              <a:t>title</a:t>
            </a:r>
            <a:r>
              <a:rPr lang="fr-FR" dirty="0"/>
              <a:t> </a:t>
            </a:r>
            <a:r>
              <a:rPr lang="fr-FR" dirty="0" err="1"/>
              <a:t>text</a:t>
            </a:r>
            <a:endParaRPr lang="en-GB" dirty="0"/>
          </a:p>
        </p:txBody>
      </p:sp>
      <p:sp>
        <p:nvSpPr>
          <p:cNvPr id="3" name="Espace réservé du texte 2">
            <a:extLst>
              <a:ext uri="{FF2B5EF4-FFF2-40B4-BE49-F238E27FC236}">
                <a16:creationId xmlns:a16="http://schemas.microsoft.com/office/drawing/2014/main" id="{13D40A60-2699-4F82-AA36-D739F88D1C6B}"/>
              </a:ext>
            </a:extLst>
          </p:cNvPr>
          <p:cNvSpPr>
            <a:spLocks noGrp="1"/>
          </p:cNvSpPr>
          <p:nvPr>
            <p:ph type="body" idx="1"/>
          </p:nvPr>
        </p:nvSpPr>
        <p:spPr>
          <a:xfrm>
            <a:off x="517608" y="1273216"/>
            <a:ext cx="7997742" cy="3359109"/>
          </a:xfrm>
          <a:prstGeom prst="rect">
            <a:avLst/>
          </a:prstGeom>
        </p:spPr>
        <p:txBody>
          <a:bodyPr vert="horz" lIns="91440" tIns="45720" rIns="91440" bIns="45720" rtlCol="0">
            <a:normAutofit/>
          </a:body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cxnSp>
        <p:nvCxnSpPr>
          <p:cNvPr id="12" name="Connecteur droit 11">
            <a:extLst>
              <a:ext uri="{FF2B5EF4-FFF2-40B4-BE49-F238E27FC236}">
                <a16:creationId xmlns:a16="http://schemas.microsoft.com/office/drawing/2014/main" id="{4D19B860-48AF-4BBF-8422-6E9C5B6D54D4}"/>
              </a:ext>
            </a:extLst>
          </p:cNvPr>
          <p:cNvCxnSpPr>
            <a:cxnSpLocks/>
          </p:cNvCxnSpPr>
          <p:nvPr userDrawn="1"/>
        </p:nvCxnSpPr>
        <p:spPr>
          <a:xfrm>
            <a:off x="1976751" y="4919098"/>
            <a:ext cx="0" cy="144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0437ED2-3E3E-48D5-8132-9B257F304D2E}"/>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Rectangle 13">
            <a:extLst>
              <a:ext uri="{FF2B5EF4-FFF2-40B4-BE49-F238E27FC236}">
                <a16:creationId xmlns:a16="http://schemas.microsoft.com/office/drawing/2014/main" id="{A9983EF5-FFDA-4EEB-8E55-87E4842F2F68}"/>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6" name="Espace réservé du numéro de diapositive 5">
            <a:extLst>
              <a:ext uri="{FF2B5EF4-FFF2-40B4-BE49-F238E27FC236}">
                <a16:creationId xmlns:a16="http://schemas.microsoft.com/office/drawing/2014/main" id="{1C6EC598-686E-4664-93B6-134A06AE2886}"/>
              </a:ext>
            </a:extLst>
          </p:cNvPr>
          <p:cNvSpPr>
            <a:spLocks noGrp="1"/>
          </p:cNvSpPr>
          <p:nvPr>
            <p:ph type="sldNum" sz="quarter" idx="4"/>
          </p:nvPr>
        </p:nvSpPr>
        <p:spPr>
          <a:xfrm>
            <a:off x="8607765" y="4846820"/>
            <a:ext cx="525046" cy="296679"/>
          </a:xfrm>
          <a:prstGeom prst="rect">
            <a:avLst/>
          </a:prstGeom>
        </p:spPr>
        <p:txBody>
          <a:bodyPr vert="horz" lIns="0" tIns="45720" rIns="0" bIns="45720" rtlCol="0" anchor="ctr"/>
          <a:lstStyle>
            <a:lvl1pPr algn="ctr">
              <a:defRPr sz="900" b="1">
                <a:solidFill>
                  <a:schemeClr val="bg1"/>
                </a:solidFill>
                <a:latin typeface="+mj-lt"/>
              </a:defRPr>
            </a:lvl1pPr>
          </a:lstStyle>
          <a:p>
            <a:fld id="{98BD2159-827C-4021-9B0E-DCD852BEB59E}" type="slidenum">
              <a:rPr lang="en-GB" smtClean="0"/>
              <a:pPr/>
              <a:t>‹N°›</a:t>
            </a:fld>
            <a:endParaRPr lang="en-GB" dirty="0"/>
          </a:p>
        </p:txBody>
      </p:sp>
      <p:sp>
        <p:nvSpPr>
          <p:cNvPr id="19" name="TextBox 18"/>
          <p:cNvSpPr txBox="1"/>
          <p:nvPr userDrawn="1"/>
        </p:nvSpPr>
        <p:spPr>
          <a:xfrm>
            <a:off x="0" y="4622110"/>
            <a:ext cx="876300" cy="523220"/>
          </a:xfrm>
          <a:prstGeom prst="rect">
            <a:avLst/>
          </a:prstGeom>
          <a:solidFill>
            <a:schemeClr val="bg1"/>
          </a:solidFill>
        </p:spPr>
        <p:txBody>
          <a:bodyPr wrap="square" rtlCol="0">
            <a:spAutoFit/>
          </a:bodyPr>
          <a:lstStyle/>
          <a:p>
            <a:endParaRPr lang="fr-FR" sz="1000" dirty="0"/>
          </a:p>
          <a:p>
            <a:endParaRPr lang="fr-FR" sz="1800" dirty="0"/>
          </a:p>
        </p:txBody>
      </p:sp>
      <p:sp>
        <p:nvSpPr>
          <p:cNvPr id="20" name="TextBox 19"/>
          <p:cNvSpPr txBox="1"/>
          <p:nvPr userDrawn="1"/>
        </p:nvSpPr>
        <p:spPr>
          <a:xfrm>
            <a:off x="876300" y="4612585"/>
            <a:ext cx="7012328"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pic>
        <p:nvPicPr>
          <p:cNvPr id="21" name="Picture 20"/>
          <p:cNvPicPr>
            <a:picLocks noChangeAspect="1"/>
          </p:cNvPicPr>
          <p:nvPr userDrawn="1"/>
        </p:nvPicPr>
        <p:blipFill>
          <a:blip r:embed="rId33"/>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4145934453"/>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5" r:id="rId25"/>
    <p:sldLayoutId id="2147483866" r:id="rId26"/>
    <p:sldLayoutId id="2147483867" r:id="rId27"/>
    <p:sldLayoutId id="2147483868" r:id="rId28"/>
    <p:sldLayoutId id="2147483869" r:id="rId29"/>
    <p:sldLayoutId id="2147483870" r:id="rId30"/>
    <p:sldLayoutId id="2147483871" r:id="rId31"/>
  </p:sldLayoutIdLst>
  <p:hf hdr="0"/>
  <p:txStyles>
    <p:titleStyle>
      <a:lvl1pPr algn="l" defTabSz="914378" rtl="0" eaLnBrk="1" latinLnBrk="0" hangingPunct="1">
        <a:lnSpc>
          <a:spcPct val="90000"/>
        </a:lnSpc>
        <a:spcBef>
          <a:spcPct val="0"/>
        </a:spcBef>
        <a:buNone/>
        <a:defRPr sz="2400" b="1" kern="1200">
          <a:solidFill>
            <a:schemeClr val="bg2"/>
          </a:solidFill>
          <a:latin typeface="+mj-lt"/>
          <a:ea typeface="+mj-ea"/>
          <a:cs typeface="+mj-cs"/>
        </a:defRPr>
      </a:lvl1pPr>
    </p:titleStyle>
    <p:bodyStyle>
      <a:lvl1pPr marL="0" indent="0" algn="l" defTabSz="914378" rtl="0" eaLnBrk="1" latinLnBrk="0" hangingPunct="1">
        <a:lnSpc>
          <a:spcPct val="90000"/>
        </a:lnSpc>
        <a:spcBef>
          <a:spcPts val="300"/>
        </a:spcBef>
        <a:buFontTx/>
        <a:buNone/>
        <a:defRPr sz="1400" kern="1200">
          <a:solidFill>
            <a:schemeClr val="tx2"/>
          </a:solidFill>
          <a:latin typeface="+mn-lt"/>
          <a:ea typeface="+mn-ea"/>
          <a:cs typeface="+mn-cs"/>
        </a:defRPr>
      </a:lvl1pPr>
      <a:lvl2pPr marL="0" indent="0" algn="l" defTabSz="914378" rtl="0" eaLnBrk="1" latinLnBrk="0" hangingPunct="1">
        <a:lnSpc>
          <a:spcPct val="90000"/>
        </a:lnSpc>
        <a:spcBef>
          <a:spcPts val="500"/>
        </a:spcBef>
        <a:buFontTx/>
        <a:buNone/>
        <a:defRPr sz="1300" b="1" kern="1200">
          <a:solidFill>
            <a:schemeClr val="accent3"/>
          </a:solidFill>
          <a:latin typeface="+mn-lt"/>
          <a:ea typeface="+mn-ea"/>
          <a:cs typeface="+mn-cs"/>
        </a:defRPr>
      </a:lvl2pPr>
      <a:lvl3pPr marL="179996" indent="-179996" algn="l" defTabSz="914378" rtl="0" eaLnBrk="1" latinLnBrk="0" hangingPunct="1">
        <a:lnSpc>
          <a:spcPct val="90000"/>
        </a:lnSpc>
        <a:spcBef>
          <a:spcPts val="500"/>
        </a:spcBef>
        <a:buClr>
          <a:schemeClr val="accent3"/>
        </a:buClr>
        <a:buSzPct val="115000"/>
        <a:buFont typeface="Poppins Light"/>
        <a:buChar char="│"/>
        <a:defRPr sz="1200" kern="1200">
          <a:solidFill>
            <a:schemeClr val="tx2"/>
          </a:solidFill>
          <a:latin typeface="+mn-lt"/>
          <a:ea typeface="+mn-ea"/>
          <a:cs typeface="+mn-cs"/>
        </a:defRPr>
      </a:lvl3pPr>
      <a:lvl4pPr marL="359991" indent="-143996" algn="l" defTabSz="914378" rtl="0" eaLnBrk="1" latinLnBrk="0" hangingPunct="1">
        <a:lnSpc>
          <a:spcPct val="90000"/>
        </a:lnSpc>
        <a:spcBef>
          <a:spcPts val="500"/>
        </a:spcBef>
        <a:buClr>
          <a:schemeClr val="accent3"/>
        </a:buClr>
        <a:buFont typeface="Avenir Next LT Pro" panose="020B0504020202020204" pitchFamily="34" charset="0"/>
        <a:buChar char="»"/>
        <a:defRPr sz="1100" b="1" kern="1200">
          <a:solidFill>
            <a:schemeClr val="accent3"/>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1AEBDC3-26FE-4EB0-B015-002C5850DCF0}"/>
              </a:ext>
            </a:extLst>
          </p:cNvPr>
          <p:cNvSpPr>
            <a:spLocks noGrp="1"/>
          </p:cNvSpPr>
          <p:nvPr>
            <p:ph type="title"/>
          </p:nvPr>
        </p:nvSpPr>
        <p:spPr>
          <a:xfrm>
            <a:off x="517608" y="173626"/>
            <a:ext cx="7997742" cy="824594"/>
          </a:xfrm>
          <a:prstGeom prst="rect">
            <a:avLst/>
          </a:prstGeom>
        </p:spPr>
        <p:txBody>
          <a:bodyPr vert="horz" lIns="91440" tIns="45720" rIns="91440" bIns="45720" rtlCol="0" anchor="t" anchorCtr="0">
            <a:noAutofit/>
          </a:bodyPr>
          <a:lstStyle/>
          <a:p>
            <a:r>
              <a:rPr lang="fr-FR" dirty="0"/>
              <a:t>Edit the </a:t>
            </a:r>
            <a:r>
              <a:rPr lang="fr-FR" dirty="0" err="1"/>
              <a:t>title</a:t>
            </a:r>
            <a:r>
              <a:rPr lang="fr-FR" dirty="0"/>
              <a:t> </a:t>
            </a:r>
            <a:r>
              <a:rPr lang="fr-FR" dirty="0" err="1"/>
              <a:t>text</a:t>
            </a:r>
            <a:endParaRPr lang="en-GB" dirty="0"/>
          </a:p>
        </p:txBody>
      </p:sp>
      <p:sp>
        <p:nvSpPr>
          <p:cNvPr id="3" name="Espace réservé du texte 2">
            <a:extLst>
              <a:ext uri="{FF2B5EF4-FFF2-40B4-BE49-F238E27FC236}">
                <a16:creationId xmlns:a16="http://schemas.microsoft.com/office/drawing/2014/main" id="{13D40A60-2699-4F82-AA36-D739F88D1C6B}"/>
              </a:ext>
            </a:extLst>
          </p:cNvPr>
          <p:cNvSpPr>
            <a:spLocks noGrp="1"/>
          </p:cNvSpPr>
          <p:nvPr>
            <p:ph type="body" idx="1"/>
          </p:nvPr>
        </p:nvSpPr>
        <p:spPr>
          <a:xfrm>
            <a:off x="517608" y="1273216"/>
            <a:ext cx="7997742" cy="3359109"/>
          </a:xfrm>
          <a:prstGeom prst="rect">
            <a:avLst/>
          </a:prstGeom>
        </p:spPr>
        <p:txBody>
          <a:bodyPr vert="horz" lIns="91440" tIns="45720" rIns="91440" bIns="45720" rtlCol="0">
            <a:normAutofit/>
          </a:bodyPr>
          <a:lstStyle/>
          <a:p>
            <a:pPr lvl="0"/>
            <a:r>
              <a:rPr lang="en-US" b="0" i="0" dirty="0">
                <a:solidFill>
                  <a:srgbClr val="3D3D3D"/>
                </a:solidFill>
                <a:effectLst/>
                <a:latin typeface="Roboto"/>
              </a:rPr>
              <a:t>Click to change the text styles of the mask</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p:txBody>
      </p:sp>
      <p:cxnSp>
        <p:nvCxnSpPr>
          <p:cNvPr id="12" name="Connecteur droit 11">
            <a:extLst>
              <a:ext uri="{FF2B5EF4-FFF2-40B4-BE49-F238E27FC236}">
                <a16:creationId xmlns:a16="http://schemas.microsoft.com/office/drawing/2014/main" id="{4D19B860-48AF-4BBF-8422-6E9C5B6D54D4}"/>
              </a:ext>
            </a:extLst>
          </p:cNvPr>
          <p:cNvCxnSpPr>
            <a:cxnSpLocks/>
          </p:cNvCxnSpPr>
          <p:nvPr userDrawn="1"/>
        </p:nvCxnSpPr>
        <p:spPr>
          <a:xfrm>
            <a:off x="1976751" y="4919098"/>
            <a:ext cx="0" cy="144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0437ED2-3E3E-48D5-8132-9B257F304D2E}"/>
              </a:ext>
            </a:extLst>
          </p:cNvPr>
          <p:cNvSpPr/>
          <p:nvPr userDrawn="1"/>
        </p:nvSpPr>
        <p:spPr>
          <a:xfrm>
            <a:off x="8759161" y="548641"/>
            <a:ext cx="252000" cy="45948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14" name="Rectangle 13">
            <a:extLst>
              <a:ext uri="{FF2B5EF4-FFF2-40B4-BE49-F238E27FC236}">
                <a16:creationId xmlns:a16="http://schemas.microsoft.com/office/drawing/2014/main" id="{A9983EF5-FFDA-4EEB-8E55-87E4842F2F68}"/>
              </a:ext>
            </a:extLst>
          </p:cNvPr>
          <p:cNvSpPr/>
          <p:nvPr userDrawn="1"/>
        </p:nvSpPr>
        <p:spPr>
          <a:xfrm>
            <a:off x="133744" y="1"/>
            <a:ext cx="252000" cy="1104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mj-lt"/>
            </a:endParaRPr>
          </a:p>
        </p:txBody>
      </p:sp>
      <p:sp>
        <p:nvSpPr>
          <p:cNvPr id="6" name="Espace réservé du numéro de diapositive 5">
            <a:extLst>
              <a:ext uri="{FF2B5EF4-FFF2-40B4-BE49-F238E27FC236}">
                <a16:creationId xmlns:a16="http://schemas.microsoft.com/office/drawing/2014/main" id="{1C6EC598-686E-4664-93B6-134A06AE2886}"/>
              </a:ext>
            </a:extLst>
          </p:cNvPr>
          <p:cNvSpPr>
            <a:spLocks noGrp="1"/>
          </p:cNvSpPr>
          <p:nvPr>
            <p:ph type="sldNum" sz="quarter" idx="4"/>
          </p:nvPr>
        </p:nvSpPr>
        <p:spPr>
          <a:xfrm>
            <a:off x="8607765" y="4846820"/>
            <a:ext cx="525046" cy="296679"/>
          </a:xfrm>
          <a:prstGeom prst="rect">
            <a:avLst/>
          </a:prstGeom>
        </p:spPr>
        <p:txBody>
          <a:bodyPr vert="horz" lIns="0" tIns="45720" rIns="0" bIns="45720" rtlCol="0" anchor="ctr"/>
          <a:lstStyle>
            <a:lvl1pPr algn="ctr">
              <a:defRPr sz="900" b="1">
                <a:solidFill>
                  <a:schemeClr val="bg1"/>
                </a:solidFill>
                <a:latin typeface="+mj-lt"/>
              </a:defRPr>
            </a:lvl1pPr>
          </a:lstStyle>
          <a:p>
            <a:fld id="{98BD2159-827C-4021-9B0E-DCD852BEB59E}" type="slidenum">
              <a:rPr lang="en-GB" smtClean="0"/>
              <a:pPr/>
              <a:t>‹N°›</a:t>
            </a:fld>
            <a:endParaRPr lang="en-GB" dirty="0"/>
          </a:p>
        </p:txBody>
      </p:sp>
      <p:sp>
        <p:nvSpPr>
          <p:cNvPr id="19" name="TextBox 18"/>
          <p:cNvSpPr txBox="1"/>
          <p:nvPr userDrawn="1"/>
        </p:nvSpPr>
        <p:spPr>
          <a:xfrm>
            <a:off x="0" y="4622110"/>
            <a:ext cx="876300" cy="523220"/>
          </a:xfrm>
          <a:prstGeom prst="rect">
            <a:avLst/>
          </a:prstGeom>
          <a:solidFill>
            <a:schemeClr val="bg1"/>
          </a:solidFill>
        </p:spPr>
        <p:txBody>
          <a:bodyPr wrap="square" rtlCol="0">
            <a:spAutoFit/>
          </a:bodyPr>
          <a:lstStyle/>
          <a:p>
            <a:endParaRPr lang="fr-FR" sz="1000" dirty="0"/>
          </a:p>
          <a:p>
            <a:endParaRPr lang="fr-FR" sz="1800" dirty="0"/>
          </a:p>
        </p:txBody>
      </p:sp>
      <p:sp>
        <p:nvSpPr>
          <p:cNvPr id="20" name="TextBox 19"/>
          <p:cNvSpPr txBox="1"/>
          <p:nvPr userDrawn="1"/>
        </p:nvSpPr>
        <p:spPr>
          <a:xfrm>
            <a:off x="876300" y="4612585"/>
            <a:ext cx="7012328" cy="523220"/>
          </a:xfrm>
          <a:prstGeom prst="rect">
            <a:avLst/>
          </a:prstGeom>
          <a:solidFill>
            <a:schemeClr val="bg1"/>
          </a:solidFill>
        </p:spPr>
        <p:txBody>
          <a:bodyPr wrap="square" rtlCol="0">
            <a:spAutoFit/>
          </a:bodyPr>
          <a:lstStyle/>
          <a:p>
            <a:endParaRPr lang="fr-FR" sz="400" dirty="0"/>
          </a:p>
          <a:p>
            <a:endParaRPr lang="fr-FR" sz="600" dirty="0"/>
          </a:p>
          <a:p>
            <a:endParaRPr lang="en-US" sz="1800" dirty="0"/>
          </a:p>
        </p:txBody>
      </p:sp>
      <p:pic>
        <p:nvPicPr>
          <p:cNvPr id="21" name="Picture 20"/>
          <p:cNvPicPr>
            <a:picLocks noChangeAspect="1"/>
          </p:cNvPicPr>
          <p:nvPr userDrawn="1"/>
        </p:nvPicPr>
        <p:blipFill>
          <a:blip r:embed="rId35"/>
          <a:stretch>
            <a:fillRect/>
          </a:stretch>
        </p:blipFill>
        <p:spPr>
          <a:xfrm>
            <a:off x="7888627" y="4737586"/>
            <a:ext cx="719138" cy="405914"/>
          </a:xfrm>
          <a:prstGeom prst="rect">
            <a:avLst/>
          </a:prstGeom>
        </p:spPr>
      </p:pic>
    </p:spTree>
    <p:extLst>
      <p:ext uri="{BB962C8B-B14F-4D97-AF65-F5344CB8AC3E}">
        <p14:creationId xmlns:p14="http://schemas.microsoft.com/office/powerpoint/2010/main" val="1915099630"/>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Lst>
  <p:hf hdr="0"/>
  <p:txStyles>
    <p:titleStyle>
      <a:lvl1pPr algn="l" defTabSz="914378" rtl="0" eaLnBrk="1" latinLnBrk="0" hangingPunct="1">
        <a:lnSpc>
          <a:spcPct val="90000"/>
        </a:lnSpc>
        <a:spcBef>
          <a:spcPct val="0"/>
        </a:spcBef>
        <a:buNone/>
        <a:defRPr sz="2400" b="1" kern="1200">
          <a:solidFill>
            <a:schemeClr val="bg2"/>
          </a:solidFill>
          <a:latin typeface="+mj-lt"/>
          <a:ea typeface="+mj-ea"/>
          <a:cs typeface="+mj-cs"/>
        </a:defRPr>
      </a:lvl1pPr>
    </p:titleStyle>
    <p:bodyStyle>
      <a:lvl1pPr marL="0" indent="0" algn="l" defTabSz="914378" rtl="0" eaLnBrk="1" latinLnBrk="0" hangingPunct="1">
        <a:lnSpc>
          <a:spcPct val="90000"/>
        </a:lnSpc>
        <a:spcBef>
          <a:spcPts val="300"/>
        </a:spcBef>
        <a:buFontTx/>
        <a:buNone/>
        <a:defRPr sz="1400" kern="1200">
          <a:solidFill>
            <a:schemeClr val="tx2"/>
          </a:solidFill>
          <a:latin typeface="+mn-lt"/>
          <a:ea typeface="+mn-ea"/>
          <a:cs typeface="+mn-cs"/>
        </a:defRPr>
      </a:lvl1pPr>
      <a:lvl2pPr marL="0" indent="0" algn="l" defTabSz="914378" rtl="0" eaLnBrk="1" latinLnBrk="0" hangingPunct="1">
        <a:lnSpc>
          <a:spcPct val="90000"/>
        </a:lnSpc>
        <a:spcBef>
          <a:spcPts val="500"/>
        </a:spcBef>
        <a:buFontTx/>
        <a:buNone/>
        <a:defRPr sz="1300" b="1" kern="1200">
          <a:solidFill>
            <a:schemeClr val="accent3"/>
          </a:solidFill>
          <a:latin typeface="+mn-lt"/>
          <a:ea typeface="+mn-ea"/>
          <a:cs typeface="+mn-cs"/>
        </a:defRPr>
      </a:lvl2pPr>
      <a:lvl3pPr marL="179996" indent="-179996" algn="l" defTabSz="914378" rtl="0" eaLnBrk="1" latinLnBrk="0" hangingPunct="1">
        <a:lnSpc>
          <a:spcPct val="90000"/>
        </a:lnSpc>
        <a:spcBef>
          <a:spcPts val="500"/>
        </a:spcBef>
        <a:buClr>
          <a:schemeClr val="accent3"/>
        </a:buClr>
        <a:buSzPct val="115000"/>
        <a:buFont typeface="Poppins Light"/>
        <a:buChar char="│"/>
        <a:defRPr sz="1200" kern="1200">
          <a:solidFill>
            <a:schemeClr val="tx2"/>
          </a:solidFill>
          <a:latin typeface="+mn-lt"/>
          <a:ea typeface="+mn-ea"/>
          <a:cs typeface="+mn-cs"/>
        </a:defRPr>
      </a:lvl3pPr>
      <a:lvl4pPr marL="359991" indent="-143996" algn="l" defTabSz="914378" rtl="0" eaLnBrk="1" latinLnBrk="0" hangingPunct="1">
        <a:lnSpc>
          <a:spcPct val="90000"/>
        </a:lnSpc>
        <a:spcBef>
          <a:spcPts val="500"/>
        </a:spcBef>
        <a:buClr>
          <a:schemeClr val="accent3"/>
        </a:buClr>
        <a:buFont typeface="Avenir Next LT Pro" panose="020B0504020202020204" pitchFamily="34" charset="0"/>
        <a:buChar char="»"/>
        <a:defRPr sz="1100" b="1" kern="1200">
          <a:solidFill>
            <a:schemeClr val="accent3"/>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5.xml"/><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51.xml"/><Relationship Id="rId5" Type="http://schemas.openxmlformats.org/officeDocument/2006/relationships/chart" Target="../charts/chart8.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image" Target="../media/image29.png"/><Relationship Id="rId7" Type="http://schemas.openxmlformats.org/officeDocument/2006/relationships/image" Target="../media/image32.emf"/><Relationship Id="rId12" Type="http://schemas.openxmlformats.org/officeDocument/2006/relationships/image" Target="../media/image37.emf"/><Relationship Id="rId2" Type="http://schemas.openxmlformats.org/officeDocument/2006/relationships/image" Target="../media/image28.png"/><Relationship Id="rId1" Type="http://schemas.openxmlformats.org/officeDocument/2006/relationships/slideLayout" Target="../slideLayouts/slideLayout19.xml"/><Relationship Id="rId6" Type="http://schemas.openxmlformats.org/officeDocument/2006/relationships/image" Target="../media/image11.png"/><Relationship Id="rId11" Type="http://schemas.openxmlformats.org/officeDocument/2006/relationships/image" Target="../media/image36.emf"/><Relationship Id="rId5" Type="http://schemas.openxmlformats.org/officeDocument/2006/relationships/image" Target="../media/image31.emf"/><Relationship Id="rId10" Type="http://schemas.openxmlformats.org/officeDocument/2006/relationships/image" Target="../media/image35.emf"/><Relationship Id="rId4" Type="http://schemas.openxmlformats.org/officeDocument/2006/relationships/image" Target="../media/image30.png"/><Relationship Id="rId9" Type="http://schemas.openxmlformats.org/officeDocument/2006/relationships/image" Target="../media/image34.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2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39.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slideLayout" Target="../slideLayouts/slideLayout1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4.png"/><Relationship Id="rId11" Type="http://schemas.openxmlformats.org/officeDocument/2006/relationships/image" Target="../media/image19.jpe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jpeg"/><Relationship Id="rId9" Type="http://schemas.openxmlformats.org/officeDocument/2006/relationships/image" Target="../media/image17.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26.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39.emf"/><Relationship Id="rId4" Type="http://schemas.openxmlformats.org/officeDocument/2006/relationships/oleObject" Target="../embeddings/oleObject3.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26.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39.emf"/><Relationship Id="rId4" Type="http://schemas.openxmlformats.org/officeDocument/2006/relationships/oleObject" Target="../embeddings/oleObject4.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26.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39.emf"/><Relationship Id="rId4" Type="http://schemas.openxmlformats.org/officeDocument/2006/relationships/oleObject" Target="../embeddings/oleObject5.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26.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39.emf"/><Relationship Id="rId4" Type="http://schemas.openxmlformats.org/officeDocument/2006/relationships/oleObject" Target="../embeddings/oleObject6.bin"/></Relationships>
</file>

<file path=ppt/slides/_rels/slide7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2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20894" y="2005723"/>
            <a:ext cx="4899746" cy="1429961"/>
          </a:xfrm>
        </p:spPr>
        <p:txBody>
          <a:bodyPr/>
          <a:lstStyle/>
          <a:p>
            <a:pPr algn="ctr"/>
            <a:r>
              <a:rPr lang="fr-FR" sz="2400" dirty="0"/>
              <a:t>GINKGO </a:t>
            </a:r>
            <a:r>
              <a:rPr lang="fr-FR" sz="2400" dirty="0" err="1"/>
              <a:t>Debt</a:t>
            </a:r>
            <a:r>
              <a:rPr lang="fr-FR" sz="2400" dirty="0"/>
              <a:t> Conso 2024</a:t>
            </a:r>
            <a:br>
              <a:rPr lang="fr-FR" sz="2400" dirty="0"/>
            </a:br>
            <a:br>
              <a:rPr lang="en-US" sz="900" dirty="0"/>
            </a:br>
            <a:br>
              <a:rPr lang="en-US" sz="900" dirty="0"/>
            </a:br>
            <a:r>
              <a:rPr lang="en-US" sz="1100" dirty="0"/>
              <a:t>Due Diligence –March 2024</a:t>
            </a:r>
            <a:br>
              <a:rPr lang="en-US" sz="2800" dirty="0"/>
            </a:br>
            <a:endParaRPr lang="fr-FR" sz="2400" dirty="0"/>
          </a:p>
        </p:txBody>
      </p:sp>
    </p:spTree>
    <p:extLst>
      <p:ext uri="{BB962C8B-B14F-4D97-AF65-F5344CB8AC3E}">
        <p14:creationId xmlns:p14="http://schemas.microsoft.com/office/powerpoint/2010/main" val="3349645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Graphique 26"/>
          <p:cNvGraphicFramePr>
            <a:graphicFrameLocks/>
          </p:cNvGraphicFramePr>
          <p:nvPr>
            <p:extLst>
              <p:ext uri="{D42A27DB-BD31-4B8C-83A1-F6EECF244321}">
                <p14:modId xmlns:p14="http://schemas.microsoft.com/office/powerpoint/2010/main" val="975544525"/>
              </p:ext>
            </p:extLst>
          </p:nvPr>
        </p:nvGraphicFramePr>
        <p:xfrm>
          <a:off x="4924921" y="723507"/>
          <a:ext cx="3701471" cy="3359825"/>
        </p:xfrm>
        <a:graphic>
          <a:graphicData uri="http://schemas.openxmlformats.org/drawingml/2006/chart">
            <c:chart xmlns:c="http://schemas.openxmlformats.org/drawingml/2006/chart" xmlns:r="http://schemas.openxmlformats.org/officeDocument/2006/relationships" r:id="rId2"/>
          </a:graphicData>
        </a:graphic>
      </p:graphicFrame>
      <p:sp>
        <p:nvSpPr>
          <p:cNvPr id="38" name="Rectangle 10"/>
          <p:cNvSpPr>
            <a:spLocks noChangeArrowheads="1"/>
          </p:cNvSpPr>
          <p:nvPr/>
        </p:nvSpPr>
        <p:spPr bwMode="gray">
          <a:xfrm>
            <a:off x="563700" y="782813"/>
            <a:ext cx="3986159" cy="253372"/>
          </a:xfrm>
          <a:prstGeom prst="rect">
            <a:avLst/>
          </a:prstGeom>
          <a:noFill/>
          <a:ln>
            <a:noFill/>
          </a:ln>
        </p:spPr>
        <p:txBody>
          <a:bodyPr anchor="ctr"/>
          <a:lstStyle/>
          <a:p>
            <a:pPr algn="ctr" defTabSz="457189" eaLnBrk="0" hangingPunct="0"/>
            <a:r>
              <a:rPr lang="en-US" altLang="fr-FR" sz="1000" b="1" dirty="0">
                <a:solidFill>
                  <a:prstClr val="black"/>
                </a:solidFill>
                <a:latin typeface="Arial" pitchFamily="34" charset="0"/>
                <a:ea typeface="MS PGothic" pitchFamily="34" charset="-128"/>
                <a:cs typeface="Arial" pitchFamily="34" charset="0"/>
              </a:rPr>
              <a:t>New production by channel (in €m)</a:t>
            </a:r>
          </a:p>
        </p:txBody>
      </p:sp>
      <p:sp>
        <p:nvSpPr>
          <p:cNvPr id="39" name="Rectangle 10"/>
          <p:cNvSpPr>
            <a:spLocks noChangeArrowheads="1"/>
          </p:cNvSpPr>
          <p:nvPr/>
        </p:nvSpPr>
        <p:spPr bwMode="gray">
          <a:xfrm>
            <a:off x="5204723" y="782813"/>
            <a:ext cx="2928371" cy="248777"/>
          </a:xfrm>
          <a:prstGeom prst="rect">
            <a:avLst/>
          </a:prstGeom>
          <a:noFill/>
          <a:ln>
            <a:noFill/>
          </a:ln>
        </p:spPr>
        <p:txBody>
          <a:bodyPr anchor="ctr"/>
          <a:lstStyle/>
          <a:p>
            <a:pPr algn="ctr" defTabSz="457189" eaLnBrk="0" hangingPunct="0"/>
            <a:r>
              <a:rPr lang="fr-FR" sz="1000" b="1" dirty="0">
                <a:solidFill>
                  <a:prstClr val="black"/>
                </a:solidFill>
                <a:cs typeface="Arial" charset="0"/>
              </a:rPr>
              <a:t>New production by </a:t>
            </a:r>
            <a:r>
              <a:rPr lang="fr-FR" sz="1000" b="1" dirty="0" err="1">
                <a:solidFill>
                  <a:prstClr val="black"/>
                </a:solidFill>
                <a:cs typeface="Arial" charset="0"/>
              </a:rPr>
              <a:t>product</a:t>
            </a:r>
            <a:r>
              <a:rPr lang="fr-FR" sz="1000" b="1" dirty="0">
                <a:solidFill>
                  <a:prstClr val="black"/>
                </a:solidFill>
                <a:cs typeface="Arial" charset="0"/>
              </a:rPr>
              <a:t> type (in %)</a:t>
            </a:r>
            <a:endParaRPr lang="fr-FR" altLang="fr-FR" sz="1000" b="1" dirty="0">
              <a:solidFill>
                <a:prstClr val="black"/>
              </a:solidFill>
              <a:latin typeface="Arial" pitchFamily="34" charset="0"/>
              <a:ea typeface="MS PGothic" pitchFamily="34" charset="-128"/>
              <a:cs typeface="Arial" pitchFamily="34" charset="0"/>
            </a:endParaRPr>
          </a:p>
        </p:txBody>
      </p:sp>
      <p:sp>
        <p:nvSpPr>
          <p:cNvPr id="28" name="Title 2"/>
          <p:cNvSpPr>
            <a:spLocks noGrp="1"/>
          </p:cNvSpPr>
          <p:nvPr>
            <p:ph type="title"/>
          </p:nvPr>
        </p:nvSpPr>
        <p:spPr>
          <a:xfrm>
            <a:off x="517608" y="173626"/>
            <a:ext cx="7997742" cy="824594"/>
          </a:xfrm>
        </p:spPr>
        <p:txBody>
          <a:bodyPr/>
          <a:lstStyle/>
          <a:p>
            <a:r>
              <a:rPr lang="fr-FR" dirty="0">
                <a:solidFill>
                  <a:prstClr val="black"/>
                </a:solidFill>
              </a:rPr>
              <a:t>CACF Group</a:t>
            </a:r>
            <a:br>
              <a:rPr lang="fr-FR" dirty="0">
                <a:solidFill>
                  <a:prstClr val="black"/>
                </a:solidFill>
              </a:rPr>
            </a:br>
            <a:r>
              <a:rPr lang="fr-FR" sz="1400" dirty="0">
                <a:solidFill>
                  <a:prstClr val="white">
                    <a:lumMod val="50000"/>
                  </a:prstClr>
                </a:solidFill>
              </a:rPr>
              <a:t>Key group figures 2019 – 2023 (3/3)</a:t>
            </a:r>
            <a:endParaRPr lang="en-US" sz="1200" dirty="0">
              <a:solidFill>
                <a:srgbClr val="FF0000"/>
              </a:solidFill>
            </a:endParaRPr>
          </a:p>
        </p:txBody>
      </p:sp>
      <p:graphicFrame>
        <p:nvGraphicFramePr>
          <p:cNvPr id="27" name="Graphique 15"/>
          <p:cNvGraphicFramePr>
            <a:graphicFrameLocks/>
          </p:cNvGraphicFramePr>
          <p:nvPr>
            <p:extLst>
              <p:ext uri="{D42A27DB-BD31-4B8C-83A1-F6EECF244321}">
                <p14:modId xmlns:p14="http://schemas.microsoft.com/office/powerpoint/2010/main" val="3234588213"/>
              </p:ext>
            </p:extLst>
          </p:nvPr>
        </p:nvGraphicFramePr>
        <p:xfrm>
          <a:off x="408742" y="1145270"/>
          <a:ext cx="4039973" cy="3713759"/>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 Box 12"/>
          <p:cNvSpPr txBox="1">
            <a:spLocks noChangeArrowheads="1"/>
          </p:cNvSpPr>
          <p:nvPr/>
        </p:nvSpPr>
        <p:spPr bwMode="gray">
          <a:xfrm>
            <a:off x="397778" y="1744352"/>
            <a:ext cx="953017" cy="211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900" b="1" dirty="0">
                <a:solidFill>
                  <a:prstClr val="white">
                    <a:lumMod val="50000"/>
                  </a:prstClr>
                </a:solidFill>
              </a:rPr>
              <a:t>44,963</a:t>
            </a:r>
          </a:p>
        </p:txBody>
      </p:sp>
      <p:sp>
        <p:nvSpPr>
          <p:cNvPr id="33" name="Text Box 12"/>
          <p:cNvSpPr txBox="1">
            <a:spLocks noChangeArrowheads="1"/>
          </p:cNvSpPr>
          <p:nvPr/>
        </p:nvSpPr>
        <p:spPr bwMode="gray">
          <a:xfrm>
            <a:off x="1173226" y="1955555"/>
            <a:ext cx="953017" cy="211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900" b="1" dirty="0">
                <a:solidFill>
                  <a:prstClr val="white">
                    <a:lumMod val="50000"/>
                  </a:prstClr>
                </a:solidFill>
              </a:rPr>
              <a:t>38,738</a:t>
            </a:r>
          </a:p>
        </p:txBody>
      </p:sp>
      <p:sp>
        <p:nvSpPr>
          <p:cNvPr id="34" name="Text Box 12"/>
          <p:cNvSpPr txBox="1">
            <a:spLocks noChangeArrowheads="1"/>
          </p:cNvSpPr>
          <p:nvPr/>
        </p:nvSpPr>
        <p:spPr bwMode="gray">
          <a:xfrm>
            <a:off x="1955416" y="1801516"/>
            <a:ext cx="953017" cy="211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900" b="1" dirty="0">
                <a:solidFill>
                  <a:prstClr val="white">
                    <a:lumMod val="50000"/>
                  </a:prstClr>
                </a:solidFill>
              </a:rPr>
              <a:t>43,242</a:t>
            </a:r>
          </a:p>
        </p:txBody>
      </p:sp>
      <p:sp>
        <p:nvSpPr>
          <p:cNvPr id="35" name="Text Box 12"/>
          <p:cNvSpPr txBox="1">
            <a:spLocks noChangeArrowheads="1"/>
          </p:cNvSpPr>
          <p:nvPr/>
        </p:nvSpPr>
        <p:spPr bwMode="gray">
          <a:xfrm>
            <a:off x="2781528" y="1626773"/>
            <a:ext cx="953017" cy="211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900" b="1" dirty="0">
                <a:solidFill>
                  <a:prstClr val="white">
                    <a:lumMod val="50000"/>
                  </a:prstClr>
                </a:solidFill>
              </a:rPr>
              <a:t>47,778</a:t>
            </a:r>
          </a:p>
        </p:txBody>
      </p:sp>
      <p:sp>
        <p:nvSpPr>
          <p:cNvPr id="48" name="Text Box 12"/>
          <p:cNvSpPr txBox="1">
            <a:spLocks noChangeArrowheads="1"/>
          </p:cNvSpPr>
          <p:nvPr/>
        </p:nvSpPr>
        <p:spPr bwMode="gray">
          <a:xfrm>
            <a:off x="3563462" y="1539770"/>
            <a:ext cx="953017" cy="211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900" b="1" dirty="0">
                <a:solidFill>
                  <a:prstClr val="white">
                    <a:lumMod val="50000"/>
                  </a:prstClr>
                </a:solidFill>
              </a:rPr>
              <a:t>50,386</a:t>
            </a:r>
          </a:p>
        </p:txBody>
      </p:sp>
      <p:sp>
        <p:nvSpPr>
          <p:cNvPr id="59" name="Rectangle 58"/>
          <p:cNvSpPr/>
          <p:nvPr/>
        </p:nvSpPr>
        <p:spPr>
          <a:xfrm>
            <a:off x="463970" y="4132723"/>
            <a:ext cx="4032730" cy="880265"/>
          </a:xfrm>
          <a:prstGeom prst="rect">
            <a:avLst/>
          </a:prstGeom>
          <a:noFill/>
          <a:ln w="19050" cap="flat" cmpd="sng" algn="ctr">
            <a:noFill/>
            <a:prstDash val="solid"/>
          </a:ln>
          <a:effectLst/>
        </p:spPr>
        <p:txBody>
          <a:bodyPr anchor="t"/>
          <a:lstStyle/>
          <a:p>
            <a:pPr marL="180000" lvl="3" indent="-171446" algn="just" defTabSz="457189" eaLnBrk="0" hangingPunct="0">
              <a:lnSpc>
                <a:spcPts val="1100"/>
              </a:lnSpc>
              <a:spcBef>
                <a:spcPct val="20000"/>
              </a:spcBef>
              <a:spcAft>
                <a:spcPts val="1200"/>
              </a:spcAft>
              <a:buClr>
                <a:srgbClr val="009B5F"/>
              </a:buClr>
              <a:buSzPct val="133000"/>
              <a:buFont typeface="Wingdings" panose="05000000000000000000" pitchFamily="2" charset="2"/>
              <a:buChar char="§"/>
              <a:defRPr/>
            </a:pPr>
            <a:r>
              <a:rPr lang="en-US" sz="900" kern="0" dirty="0">
                <a:solidFill>
                  <a:prstClr val="black"/>
                </a:solidFill>
                <a:latin typeface="Arial"/>
              </a:rPr>
              <a:t>Production increased by 5.5% in 2023 YoY supported by the automotive activity (+17%) and mainly by the full integration of CA Auto Bank.</a:t>
            </a:r>
            <a:endParaRPr lang="en-US" sz="900" kern="0" dirty="0">
              <a:solidFill>
                <a:srgbClr val="FF0000"/>
              </a:solidFill>
              <a:latin typeface="Arial"/>
            </a:endParaRPr>
          </a:p>
          <a:p>
            <a:pPr marL="180000" lvl="3" indent="-171446" algn="just" defTabSz="457189" eaLnBrk="0" hangingPunct="0">
              <a:lnSpc>
                <a:spcPts val="1100"/>
              </a:lnSpc>
              <a:spcBef>
                <a:spcPct val="20000"/>
              </a:spcBef>
              <a:spcAft>
                <a:spcPts val="1200"/>
              </a:spcAft>
              <a:buClr>
                <a:srgbClr val="009B5F"/>
              </a:buClr>
              <a:buSzPct val="133000"/>
              <a:buFont typeface="Wingdings" panose="05000000000000000000" pitchFamily="2" charset="2"/>
              <a:buChar char="§"/>
              <a:defRPr/>
            </a:pPr>
            <a:r>
              <a:rPr lang="en-US" sz="900" kern="0" dirty="0">
                <a:solidFill>
                  <a:prstClr val="black"/>
                </a:solidFill>
                <a:latin typeface="Arial"/>
              </a:rPr>
              <a:t>In 2023, the positive trend continued and reached 50,4b€ indicating enduring demand even in a context of higher customer rate. </a:t>
            </a:r>
            <a:endParaRPr lang="en-US" sz="900" kern="0" dirty="0">
              <a:solidFill>
                <a:prstClr val="black"/>
              </a:solidFill>
              <a:highlight>
                <a:srgbClr val="FFFF00"/>
              </a:highlight>
              <a:latin typeface="Arial"/>
            </a:endParaRPr>
          </a:p>
        </p:txBody>
      </p:sp>
      <p:sp>
        <p:nvSpPr>
          <p:cNvPr id="60" name="Rectangle 59"/>
          <p:cNvSpPr/>
          <p:nvPr/>
        </p:nvSpPr>
        <p:spPr>
          <a:xfrm>
            <a:off x="4643115" y="4012323"/>
            <a:ext cx="3983277" cy="922085"/>
          </a:xfrm>
          <a:prstGeom prst="rect">
            <a:avLst/>
          </a:prstGeom>
          <a:noFill/>
          <a:ln w="19050" cap="flat" cmpd="sng" algn="ctr">
            <a:noFill/>
            <a:prstDash val="solid"/>
          </a:ln>
          <a:effectLst/>
        </p:spPr>
        <p:txBody>
          <a:bodyPr anchor="t"/>
          <a:lstStyle/>
          <a:p>
            <a:pPr marL="180000" lvl="3" indent="-171446" algn="just" defTabSz="457189" eaLnBrk="0" hangingPunct="0">
              <a:lnSpc>
                <a:spcPts val="1100"/>
              </a:lnSpc>
              <a:spcBef>
                <a:spcPct val="20000"/>
              </a:spcBef>
              <a:spcAft>
                <a:spcPts val="1200"/>
              </a:spcAft>
              <a:buClr>
                <a:srgbClr val="009B5F"/>
              </a:buClr>
              <a:buSzPct val="133000"/>
              <a:buFont typeface="Wingdings" panose="05000000000000000000" pitchFamily="2" charset="2"/>
              <a:buChar char="§"/>
              <a:defRPr/>
            </a:pPr>
            <a:r>
              <a:rPr lang="en-US" sz="900" kern="0" dirty="0">
                <a:solidFill>
                  <a:prstClr val="black"/>
                </a:solidFill>
                <a:latin typeface="Arial"/>
              </a:rPr>
              <a:t>The share of revolving credits has remained roughly constant.</a:t>
            </a:r>
          </a:p>
          <a:p>
            <a:pPr marL="180000" lvl="3" indent="-171446" algn="just" defTabSz="457189" eaLnBrk="0" hangingPunct="0">
              <a:lnSpc>
                <a:spcPts val="1100"/>
              </a:lnSpc>
              <a:spcBef>
                <a:spcPct val="20000"/>
              </a:spcBef>
              <a:spcAft>
                <a:spcPts val="1200"/>
              </a:spcAft>
              <a:buClr>
                <a:srgbClr val="009B5F"/>
              </a:buClr>
              <a:buSzPct val="133000"/>
              <a:buFont typeface="Wingdings" panose="05000000000000000000" pitchFamily="2" charset="2"/>
              <a:buChar char="§"/>
              <a:defRPr/>
            </a:pPr>
            <a:r>
              <a:rPr lang="en-US" sz="900" kern="0" dirty="0">
                <a:solidFill>
                  <a:prstClr val="black"/>
                </a:solidFill>
                <a:latin typeface="Arial"/>
              </a:rPr>
              <a:t>On the other hand, leasing production is steadily growing in the production mix at the expense of instalment loans.</a:t>
            </a:r>
            <a:endParaRPr lang="en-US" sz="900" dirty="0">
              <a:solidFill>
                <a:prstClr val="black"/>
              </a:solidFill>
              <a:latin typeface="Arial"/>
            </a:endParaRPr>
          </a:p>
        </p:txBody>
      </p:sp>
      <p:sp>
        <p:nvSpPr>
          <p:cNvPr id="16" name="Slide Number Placeholder 3"/>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10</a:t>
            </a:fld>
            <a:endParaRPr lang="en-GB" sz="900" dirty="0">
              <a:solidFill>
                <a:prstClr val="white"/>
              </a:solidFill>
              <a:latin typeface="Avenir Next LT Pro"/>
            </a:endParaRPr>
          </a:p>
        </p:txBody>
      </p:sp>
    </p:spTree>
    <p:extLst>
      <p:ext uri="{BB962C8B-B14F-4D97-AF65-F5344CB8AC3E}">
        <p14:creationId xmlns:p14="http://schemas.microsoft.com/office/powerpoint/2010/main" val="1178961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p:cNvSpPr>
            <a:spLocks noGrp="1"/>
          </p:cNvSpPr>
          <p:nvPr>
            <p:ph type="title"/>
          </p:nvPr>
        </p:nvSpPr>
        <p:spPr>
          <a:xfrm>
            <a:off x="517608" y="173626"/>
            <a:ext cx="7997742" cy="824594"/>
          </a:xfrm>
        </p:spPr>
        <p:txBody>
          <a:bodyPr/>
          <a:lstStyle/>
          <a:p>
            <a:r>
              <a:rPr lang="fr-FR" dirty="0">
                <a:solidFill>
                  <a:prstClr val="black"/>
                </a:solidFill>
              </a:rPr>
              <a:t>CACF Group</a:t>
            </a:r>
            <a:br>
              <a:rPr lang="fr-FR" dirty="0">
                <a:solidFill>
                  <a:prstClr val="black"/>
                </a:solidFill>
              </a:rPr>
            </a:br>
            <a:r>
              <a:rPr lang="fr-FR" sz="1400" dirty="0" err="1">
                <a:solidFill>
                  <a:prstClr val="white">
                    <a:lumMod val="50000"/>
                  </a:prstClr>
                </a:solidFill>
              </a:rPr>
              <a:t>Funding</a:t>
            </a:r>
            <a:r>
              <a:rPr lang="fr-FR" sz="1400" dirty="0">
                <a:solidFill>
                  <a:prstClr val="white">
                    <a:lumMod val="50000"/>
                  </a:prstClr>
                </a:solidFill>
              </a:rPr>
              <a:t> structure 2020- 2023</a:t>
            </a:r>
            <a:endParaRPr lang="en-US" sz="1400" dirty="0">
              <a:solidFill>
                <a:prstClr val="white">
                  <a:lumMod val="50000"/>
                </a:prstClr>
              </a:solidFill>
            </a:endParaRPr>
          </a:p>
        </p:txBody>
      </p:sp>
      <p:sp>
        <p:nvSpPr>
          <p:cNvPr id="8" name="Rectangle 7"/>
          <p:cNvSpPr/>
          <p:nvPr/>
        </p:nvSpPr>
        <p:spPr>
          <a:xfrm>
            <a:off x="517608" y="3316532"/>
            <a:ext cx="6892281" cy="1399893"/>
          </a:xfrm>
          <a:prstGeom prst="rect">
            <a:avLst/>
          </a:prstGeom>
          <a:noFill/>
          <a:ln w="19050" cap="flat" cmpd="sng" algn="ctr">
            <a:noFill/>
            <a:prstDash val="solid"/>
          </a:ln>
          <a:effectLst/>
        </p:spPr>
        <p:txBody>
          <a:bodyPr anchor="t"/>
          <a:lstStyle/>
          <a:p>
            <a:pPr marL="180000" lvl="3" indent="-171446" algn="just" defTabSz="457189" eaLnBrk="0" hangingPunct="0">
              <a:lnSpc>
                <a:spcPts val="1100"/>
              </a:lnSpc>
              <a:spcBef>
                <a:spcPct val="20000"/>
              </a:spcBef>
              <a:spcAft>
                <a:spcPts val="1200"/>
              </a:spcAft>
              <a:buClr>
                <a:srgbClr val="009B5F"/>
              </a:buClr>
              <a:buSzPct val="133000"/>
              <a:buFont typeface="Wingdings" panose="05000000000000000000" pitchFamily="2" charset="2"/>
              <a:buChar char="§"/>
              <a:tabLst>
                <a:tab pos="803255" algn="l"/>
              </a:tabLst>
              <a:defRPr/>
            </a:pPr>
            <a:endParaRPr lang="en-US" sz="800" kern="0" dirty="0">
              <a:solidFill>
                <a:prstClr val="black"/>
              </a:solidFill>
              <a:latin typeface="Arial"/>
            </a:endParaRPr>
          </a:p>
          <a:p>
            <a:pPr marL="180000" lvl="3" indent="-171446" algn="just" defTabSz="457189" eaLnBrk="0" hangingPunct="0">
              <a:lnSpc>
                <a:spcPts val="1100"/>
              </a:lnSpc>
              <a:spcBef>
                <a:spcPct val="20000"/>
              </a:spcBef>
              <a:spcAft>
                <a:spcPts val="1200"/>
              </a:spcAft>
              <a:buClr>
                <a:srgbClr val="009B5F"/>
              </a:buClr>
              <a:buSzPct val="133000"/>
              <a:buFont typeface="Wingdings" panose="05000000000000000000" pitchFamily="2" charset="2"/>
              <a:buChar char="§"/>
              <a:tabLst>
                <a:tab pos="803255" algn="l"/>
              </a:tabLst>
              <a:defRPr/>
            </a:pPr>
            <a:r>
              <a:rPr lang="en-US" sz="800" kern="0" dirty="0">
                <a:solidFill>
                  <a:prstClr val="black"/>
                </a:solidFill>
                <a:latin typeface="Arial"/>
              </a:rPr>
              <a:t>In 2023, the volume of Casa net funding unsecured  has decreased by 3,3€b  in comparison to 2022 reaching 14.6€b and 21% of the total funding.      </a:t>
            </a:r>
            <a:endParaRPr lang="en-GB" sz="800" kern="0" dirty="0">
              <a:solidFill>
                <a:prstClr val="black"/>
              </a:solidFill>
              <a:latin typeface="Arial"/>
            </a:endParaRPr>
          </a:p>
          <a:p>
            <a:pPr marL="180000" lvl="3" indent="-171446" algn="just" defTabSz="457189" eaLnBrk="0" hangingPunct="0">
              <a:lnSpc>
                <a:spcPts val="1100"/>
              </a:lnSpc>
              <a:spcBef>
                <a:spcPct val="20000"/>
              </a:spcBef>
              <a:spcAft>
                <a:spcPts val="1200"/>
              </a:spcAft>
              <a:buClr>
                <a:srgbClr val="009B5F"/>
              </a:buClr>
              <a:buSzPct val="133000"/>
              <a:buFont typeface="Wingdings" panose="05000000000000000000" pitchFamily="2" charset="2"/>
              <a:buChar char="§"/>
              <a:tabLst>
                <a:tab pos="803255" algn="l"/>
              </a:tabLst>
              <a:defRPr/>
            </a:pPr>
            <a:r>
              <a:rPr lang="en-GB" sz="800" kern="0" dirty="0">
                <a:solidFill>
                  <a:prstClr val="black"/>
                </a:solidFill>
                <a:latin typeface="Arial"/>
              </a:rPr>
              <a:t>Between end of 2022 and 2023, the main variations in external funding were:</a:t>
            </a:r>
          </a:p>
          <a:p>
            <a:pPr marL="817200" lvl="4" indent="-180971" defTabSz="457189" fontAlgn="base">
              <a:lnSpc>
                <a:spcPct val="150000"/>
              </a:lnSpc>
              <a:spcAft>
                <a:spcPts val="300"/>
              </a:spcAft>
              <a:buClr>
                <a:srgbClr val="009B5F"/>
              </a:buClr>
              <a:buSzPct val="133000"/>
              <a:buFont typeface="Wingdings" panose="05000000000000000000" pitchFamily="2" charset="2"/>
              <a:buChar char="§"/>
              <a:tabLst>
                <a:tab pos="803255" algn="l"/>
              </a:tabLst>
              <a:defRPr/>
            </a:pPr>
            <a:r>
              <a:rPr lang="en-GB" sz="800" dirty="0">
                <a:solidFill>
                  <a:prstClr val="black"/>
                </a:solidFill>
                <a:latin typeface="Arial" panose="020B0604020202020204" pitchFamily="34" charset="0"/>
                <a:ea typeface="MS PGothic" pitchFamily="34" charset="-128"/>
                <a:cs typeface="Arial" panose="020B0604020202020204" pitchFamily="34" charset="0"/>
              </a:rPr>
              <a:t>7€b increase in Deposits</a:t>
            </a:r>
            <a:r>
              <a:rPr lang="fr-FR" sz="800" dirty="0">
                <a:solidFill>
                  <a:prstClr val="black"/>
                </a:solidFill>
                <a:latin typeface="Arial" panose="020B0604020202020204" pitchFamily="34" charset="0"/>
                <a:ea typeface="MS PGothic" pitchFamily="34" charset="-128"/>
                <a:cs typeface="Arial" panose="020B0604020202020204" pitchFamily="34" charset="0"/>
              </a:rPr>
              <a:t> up </a:t>
            </a:r>
            <a:r>
              <a:rPr lang="en-GB" sz="800" dirty="0">
                <a:solidFill>
                  <a:prstClr val="black"/>
                </a:solidFill>
                <a:latin typeface="Arial" panose="020B0604020202020204" pitchFamily="34" charset="0"/>
                <a:ea typeface="MS PGothic" pitchFamily="34" charset="-128"/>
                <a:cs typeface="Arial" panose="020B0604020202020204" pitchFamily="34" charset="0"/>
              </a:rPr>
              <a:t>to </a:t>
            </a:r>
            <a:r>
              <a:rPr lang="en-US" sz="800" dirty="0">
                <a:solidFill>
                  <a:prstClr val="black"/>
                </a:solidFill>
                <a:latin typeface="Arial" panose="020B0604020202020204" pitchFamily="34" charset="0"/>
                <a:ea typeface="MS PGothic" pitchFamily="34" charset="-128"/>
                <a:cs typeface="Arial" panose="020B0604020202020204" pitchFamily="34" charset="0"/>
              </a:rPr>
              <a:t>16.1€</a:t>
            </a:r>
            <a:r>
              <a:rPr lang="en-GB" sz="800" dirty="0">
                <a:solidFill>
                  <a:prstClr val="black"/>
                </a:solidFill>
                <a:latin typeface="Arial" panose="020B0604020202020204" pitchFamily="34" charset="0"/>
                <a:ea typeface="MS PGothic" pitchFamily="34" charset="-128"/>
                <a:cs typeface="Arial" panose="020B0604020202020204" pitchFamily="34" charset="0"/>
              </a:rPr>
              <a:t>b (representing 23% of total funding in 2023 against 15% at the end of 2022</a:t>
            </a:r>
            <a:r>
              <a:rPr lang="fr-FR" sz="800" dirty="0">
                <a:solidFill>
                  <a:prstClr val="black"/>
                </a:solidFill>
                <a:latin typeface="Arial" panose="020B0604020202020204" pitchFamily="34" charset="0"/>
                <a:ea typeface="MS PGothic" pitchFamily="34" charset="-128"/>
                <a:cs typeface="Arial" panose="020B0604020202020204" pitchFamily="34" charset="0"/>
              </a:rPr>
              <a:t>)</a:t>
            </a:r>
            <a:endParaRPr lang="en-GB" sz="800" dirty="0">
              <a:solidFill>
                <a:prstClr val="black"/>
              </a:solidFill>
              <a:latin typeface="Arial" panose="020B0604020202020204" pitchFamily="34" charset="0"/>
              <a:ea typeface="MS PGothic" pitchFamily="34" charset="-128"/>
              <a:cs typeface="Arial" panose="020B0604020202020204" pitchFamily="34" charset="0"/>
            </a:endParaRPr>
          </a:p>
          <a:p>
            <a:pPr marL="817200" lvl="4" indent="-180971" defTabSz="457189" fontAlgn="base">
              <a:spcAft>
                <a:spcPts val="300"/>
              </a:spcAft>
              <a:buClr>
                <a:srgbClr val="009B5F"/>
              </a:buClr>
              <a:buSzPct val="133000"/>
              <a:buFont typeface="Wingdings" panose="05000000000000000000" pitchFamily="2" charset="2"/>
              <a:buChar char="§"/>
              <a:tabLst>
                <a:tab pos="803255" algn="l"/>
              </a:tabLst>
              <a:defRPr/>
            </a:pPr>
            <a:r>
              <a:rPr lang="en-GB" sz="800" dirty="0">
                <a:solidFill>
                  <a:prstClr val="black"/>
                </a:solidFill>
                <a:latin typeface="Arial" panose="020B0604020202020204" pitchFamily="34" charset="0"/>
                <a:ea typeface="MS PGothic" pitchFamily="34" charset="-128"/>
                <a:cs typeface="Arial" panose="020B0604020202020204" pitchFamily="34" charset="0"/>
              </a:rPr>
              <a:t>3.3€b increase in ABS up to 8.2€b (representing 12% of total funding in 2023 against 8% at the end of 2022)</a:t>
            </a:r>
          </a:p>
          <a:p>
            <a:pPr marL="636229" lvl="4" defTabSz="457189" fontAlgn="base">
              <a:lnSpc>
                <a:spcPct val="150000"/>
              </a:lnSpc>
              <a:spcAft>
                <a:spcPts val="300"/>
              </a:spcAft>
              <a:buClr>
                <a:srgbClr val="009B5F"/>
              </a:buClr>
              <a:buSzPct val="133000"/>
              <a:tabLst>
                <a:tab pos="803255" algn="l"/>
              </a:tabLst>
              <a:defRPr/>
            </a:pPr>
            <a:endParaRPr lang="en-GB" sz="800"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7" name="Slide Number Placeholder 3"/>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11</a:t>
            </a:fld>
            <a:endParaRPr lang="en-GB" sz="900" dirty="0">
              <a:solidFill>
                <a:prstClr val="white"/>
              </a:solidFill>
              <a:latin typeface="Avenir Next LT Pro"/>
            </a:endParaRPr>
          </a:p>
        </p:txBody>
      </p:sp>
      <p:graphicFrame>
        <p:nvGraphicFramePr>
          <p:cNvPr id="14" name="Graphique 13">
            <a:extLst>
              <a:ext uri="{FF2B5EF4-FFF2-40B4-BE49-F238E27FC236}">
                <a16:creationId xmlns:a16="http://schemas.microsoft.com/office/drawing/2014/main" id="{00000000-0008-0000-0100-00000A000000}"/>
              </a:ext>
            </a:extLst>
          </p:cNvPr>
          <p:cNvGraphicFramePr>
            <a:graphicFrameLocks/>
          </p:cNvGraphicFramePr>
          <p:nvPr>
            <p:extLst>
              <p:ext uri="{D42A27DB-BD31-4B8C-83A1-F6EECF244321}">
                <p14:modId xmlns:p14="http://schemas.microsoft.com/office/powerpoint/2010/main" val="4151626954"/>
              </p:ext>
            </p:extLst>
          </p:nvPr>
        </p:nvGraphicFramePr>
        <p:xfrm>
          <a:off x="5373757" y="1272208"/>
          <a:ext cx="2429218" cy="1967948"/>
        </p:xfrm>
        <a:graphic>
          <a:graphicData uri="http://schemas.openxmlformats.org/drawingml/2006/chart">
            <c:chart xmlns:c="http://schemas.openxmlformats.org/drawingml/2006/chart" xmlns:r="http://schemas.openxmlformats.org/officeDocument/2006/relationships" r:id="rId2"/>
          </a:graphicData>
        </a:graphic>
      </p:graphicFrame>
      <p:pic>
        <p:nvPicPr>
          <p:cNvPr id="3" name="Image 2">
            <a:extLst>
              <a:ext uri="{FF2B5EF4-FFF2-40B4-BE49-F238E27FC236}">
                <a16:creationId xmlns:a16="http://schemas.microsoft.com/office/drawing/2014/main" id="{0DF3ABB9-4B09-41DF-B134-86E7BCE09703}"/>
              </a:ext>
            </a:extLst>
          </p:cNvPr>
          <p:cNvPicPr>
            <a:picLocks noChangeAspect="1"/>
          </p:cNvPicPr>
          <p:nvPr/>
        </p:nvPicPr>
        <p:blipFill>
          <a:blip r:embed="rId3"/>
          <a:stretch>
            <a:fillRect/>
          </a:stretch>
        </p:blipFill>
        <p:spPr>
          <a:xfrm>
            <a:off x="807343" y="915413"/>
            <a:ext cx="4497831" cy="2681537"/>
          </a:xfrm>
          <a:prstGeom prst="rect">
            <a:avLst/>
          </a:prstGeom>
        </p:spPr>
      </p:pic>
    </p:spTree>
    <p:extLst>
      <p:ext uri="{BB962C8B-B14F-4D97-AF65-F5344CB8AC3E}">
        <p14:creationId xmlns:p14="http://schemas.microsoft.com/office/powerpoint/2010/main" val="3995935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Graphique 22"/>
          <p:cNvGraphicFramePr>
            <a:graphicFrameLocks/>
          </p:cNvGraphicFramePr>
          <p:nvPr>
            <p:extLst>
              <p:ext uri="{D42A27DB-BD31-4B8C-83A1-F6EECF244321}">
                <p14:modId xmlns:p14="http://schemas.microsoft.com/office/powerpoint/2010/main" val="3028896280"/>
              </p:ext>
            </p:extLst>
          </p:nvPr>
        </p:nvGraphicFramePr>
        <p:xfrm>
          <a:off x="4700913" y="686235"/>
          <a:ext cx="3910177" cy="25574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Graphique 16"/>
          <p:cNvGraphicFramePr>
            <a:graphicFrameLocks/>
          </p:cNvGraphicFramePr>
          <p:nvPr>
            <p:extLst>
              <p:ext uri="{D42A27DB-BD31-4B8C-83A1-F6EECF244321}">
                <p14:modId xmlns:p14="http://schemas.microsoft.com/office/powerpoint/2010/main" val="1838179377"/>
              </p:ext>
            </p:extLst>
          </p:nvPr>
        </p:nvGraphicFramePr>
        <p:xfrm>
          <a:off x="487906" y="1096947"/>
          <a:ext cx="4373783" cy="2194737"/>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10"/>
          <p:cNvSpPr>
            <a:spLocks noChangeArrowheads="1"/>
          </p:cNvSpPr>
          <p:nvPr/>
        </p:nvSpPr>
        <p:spPr bwMode="gray">
          <a:xfrm>
            <a:off x="487906" y="646243"/>
            <a:ext cx="4042426" cy="252412"/>
          </a:xfrm>
          <a:prstGeom prst="rect">
            <a:avLst/>
          </a:prstGeom>
          <a:noFill/>
          <a:ln>
            <a:noFill/>
          </a:ln>
        </p:spPr>
        <p:txBody>
          <a:bodyPr anchor="ctr"/>
          <a:lstStyle/>
          <a:p>
            <a:pPr algn="ctr" defTabSz="457189" eaLnBrk="0" hangingPunct="0"/>
            <a:r>
              <a:rPr lang="en-US" sz="1000" b="1" dirty="0">
                <a:solidFill>
                  <a:prstClr val="black"/>
                </a:solidFill>
                <a:latin typeface="Arial" pitchFamily="34" charset="0"/>
                <a:ea typeface="MS PGothic" pitchFamily="34" charset="-128"/>
                <a:cs typeface="Arial" pitchFamily="34" charset="0"/>
              </a:rPr>
              <a:t>New production by channel </a:t>
            </a:r>
            <a:r>
              <a:rPr lang="fr-FR" sz="1000" b="1" dirty="0">
                <a:solidFill>
                  <a:prstClr val="black"/>
                </a:solidFill>
                <a:latin typeface="Arial" pitchFamily="34" charset="0"/>
                <a:ea typeface="MS PGothic" pitchFamily="34" charset="-128"/>
                <a:cs typeface="Arial" pitchFamily="34" charset="0"/>
              </a:rPr>
              <a:t>(in €m)</a:t>
            </a:r>
            <a:endParaRPr lang="fr-FR" altLang="fr-FR" sz="1000" b="1" dirty="0">
              <a:solidFill>
                <a:prstClr val="black"/>
              </a:solidFill>
              <a:latin typeface="Arial" pitchFamily="34" charset="0"/>
              <a:ea typeface="MS PGothic" pitchFamily="34" charset="-128"/>
              <a:cs typeface="Arial" pitchFamily="34" charset="0"/>
            </a:endParaRPr>
          </a:p>
        </p:txBody>
      </p:sp>
      <p:sp>
        <p:nvSpPr>
          <p:cNvPr id="7" name="Rectangle 10"/>
          <p:cNvSpPr>
            <a:spLocks noChangeArrowheads="1"/>
          </p:cNvSpPr>
          <p:nvPr/>
        </p:nvSpPr>
        <p:spPr bwMode="gray">
          <a:xfrm>
            <a:off x="4861689" y="556517"/>
            <a:ext cx="3852000" cy="252000"/>
          </a:xfrm>
          <a:prstGeom prst="rect">
            <a:avLst/>
          </a:prstGeom>
          <a:noFill/>
          <a:ln w="38100">
            <a:noFill/>
          </a:ln>
        </p:spPr>
        <p:txBody>
          <a:bodyPr anchor="ctr"/>
          <a:lstStyle/>
          <a:p>
            <a:pPr algn="ctr" eaLnBrk="0" hangingPunct="0"/>
            <a:endParaRPr lang="fr-FR" altLang="fr-FR" sz="1100" b="1" dirty="0">
              <a:solidFill>
                <a:schemeClr val="tx1">
                  <a:lumMod val="75000"/>
                  <a:lumOff val="25000"/>
                </a:schemeClr>
              </a:solidFill>
              <a:latin typeface="Arial" pitchFamily="34" charset="0"/>
              <a:ea typeface="MS PGothic" pitchFamily="34" charset="-128"/>
              <a:cs typeface="Arial" pitchFamily="34" charset="0"/>
            </a:endParaRPr>
          </a:p>
        </p:txBody>
      </p:sp>
      <p:sp>
        <p:nvSpPr>
          <p:cNvPr id="9" name="Text Box 19"/>
          <p:cNvSpPr txBox="1">
            <a:spLocks noChangeArrowheads="1"/>
          </p:cNvSpPr>
          <p:nvPr/>
        </p:nvSpPr>
        <p:spPr bwMode="auto">
          <a:xfrm>
            <a:off x="3938310" y="1207774"/>
            <a:ext cx="660536" cy="195814"/>
          </a:xfrm>
          <a:prstGeom prst="rect">
            <a:avLst/>
          </a:prstGeom>
          <a:noFill/>
          <a:ln w="9525">
            <a:noFill/>
            <a:miter lim="800000"/>
            <a:headEnd/>
            <a:tailEnd/>
          </a:ln>
          <a:effectLst/>
        </p:spPr>
        <p:txBody>
          <a:bodyPr wrap="square" tIns="36000" bIns="36000">
            <a:spAutoFit/>
          </a:bodyPr>
          <a:lstStyle/>
          <a:p>
            <a:pPr algn="ctr" eaLnBrk="0" hangingPunct="0">
              <a:spcBef>
                <a:spcPct val="50000"/>
              </a:spcBef>
              <a:defRPr/>
            </a:pPr>
            <a:r>
              <a:rPr lang="fr-FR" sz="800" b="1" dirty="0">
                <a:solidFill>
                  <a:schemeClr val="bg1">
                    <a:lumMod val="50000"/>
                  </a:schemeClr>
                </a:solidFill>
                <a:latin typeface="Arial"/>
                <a:ea typeface="ＭＳ Ｐゴシック" pitchFamily="34" charset="-128"/>
              </a:rPr>
              <a:t>14,709</a:t>
            </a:r>
          </a:p>
        </p:txBody>
      </p:sp>
      <p:sp>
        <p:nvSpPr>
          <p:cNvPr id="11" name="Text Box 19"/>
          <p:cNvSpPr txBox="1">
            <a:spLocks noChangeArrowheads="1"/>
          </p:cNvSpPr>
          <p:nvPr/>
        </p:nvSpPr>
        <p:spPr bwMode="auto">
          <a:xfrm>
            <a:off x="751078" y="1166887"/>
            <a:ext cx="552984" cy="195814"/>
          </a:xfrm>
          <a:prstGeom prst="rect">
            <a:avLst/>
          </a:prstGeom>
          <a:noFill/>
          <a:ln w="9525">
            <a:noFill/>
            <a:miter lim="800000"/>
            <a:headEnd/>
            <a:tailEnd/>
          </a:ln>
          <a:effectLst/>
        </p:spPr>
        <p:txBody>
          <a:bodyPr wrap="square" tIns="36000" bIns="36000">
            <a:spAutoFit/>
          </a:bodyPr>
          <a:lstStyle/>
          <a:p>
            <a:pPr algn="ctr" eaLnBrk="0" hangingPunct="0">
              <a:spcBef>
                <a:spcPct val="50000"/>
              </a:spcBef>
              <a:defRPr/>
            </a:pPr>
            <a:r>
              <a:rPr lang="fr-FR" sz="800" b="1" dirty="0">
                <a:solidFill>
                  <a:schemeClr val="bg1">
                    <a:lumMod val="50000"/>
                  </a:schemeClr>
                </a:solidFill>
                <a:latin typeface="Arial"/>
                <a:ea typeface="ＭＳ Ｐゴシック" pitchFamily="34" charset="-128"/>
              </a:rPr>
              <a:t>15,679</a:t>
            </a:r>
          </a:p>
        </p:txBody>
      </p:sp>
      <p:sp>
        <p:nvSpPr>
          <p:cNvPr id="12" name="Text Box 20"/>
          <p:cNvSpPr txBox="1">
            <a:spLocks noChangeArrowheads="1"/>
          </p:cNvSpPr>
          <p:nvPr/>
        </p:nvSpPr>
        <p:spPr bwMode="auto">
          <a:xfrm>
            <a:off x="7956551" y="1110022"/>
            <a:ext cx="626004" cy="205629"/>
          </a:xfrm>
          <a:prstGeom prst="rect">
            <a:avLst/>
          </a:prstGeom>
          <a:noFill/>
          <a:ln w="9525">
            <a:noFill/>
            <a:miter lim="800000"/>
            <a:headEnd/>
            <a:tailEnd/>
          </a:ln>
          <a:effectLst/>
        </p:spPr>
        <p:txBody>
          <a:bodyPr tIns="36000">
            <a:spAutoFit/>
          </a:bodyPr>
          <a:lstStyle/>
          <a:p>
            <a:pPr eaLnBrk="0" hangingPunct="0">
              <a:spcBef>
                <a:spcPct val="50000"/>
              </a:spcBef>
              <a:defRPr/>
            </a:pPr>
            <a:r>
              <a:rPr lang="fr-FR" sz="800" b="1" dirty="0">
                <a:solidFill>
                  <a:schemeClr val="bg1">
                    <a:lumMod val="50000"/>
                  </a:schemeClr>
                </a:solidFill>
                <a:latin typeface="Arial"/>
                <a:ea typeface="ＭＳ Ｐゴシック" pitchFamily="34" charset="-128"/>
              </a:rPr>
              <a:t>36,184</a:t>
            </a:r>
          </a:p>
        </p:txBody>
      </p:sp>
      <p:sp>
        <p:nvSpPr>
          <p:cNvPr id="13" name="Text Box 19"/>
          <p:cNvSpPr txBox="1">
            <a:spLocks noChangeArrowheads="1"/>
          </p:cNvSpPr>
          <p:nvPr/>
        </p:nvSpPr>
        <p:spPr bwMode="auto">
          <a:xfrm>
            <a:off x="1537589" y="1280980"/>
            <a:ext cx="581483" cy="195814"/>
          </a:xfrm>
          <a:prstGeom prst="rect">
            <a:avLst/>
          </a:prstGeom>
          <a:noFill/>
          <a:ln w="9525">
            <a:noFill/>
            <a:miter lim="800000"/>
            <a:headEnd/>
            <a:tailEnd/>
          </a:ln>
          <a:effectLst/>
        </p:spPr>
        <p:txBody>
          <a:bodyPr wrap="square" tIns="36000" bIns="36000">
            <a:spAutoFit/>
          </a:bodyPr>
          <a:lstStyle/>
          <a:p>
            <a:pPr algn="ctr" eaLnBrk="0" hangingPunct="0">
              <a:spcBef>
                <a:spcPct val="50000"/>
              </a:spcBef>
              <a:defRPr/>
            </a:pPr>
            <a:r>
              <a:rPr lang="fr-FR" sz="800" b="1" dirty="0">
                <a:solidFill>
                  <a:schemeClr val="bg1">
                    <a:lumMod val="50000"/>
                  </a:schemeClr>
                </a:solidFill>
                <a:latin typeface="Arial"/>
                <a:ea typeface="ＭＳ Ｐゴシック" pitchFamily="34" charset="-128"/>
              </a:rPr>
              <a:t>13,870</a:t>
            </a:r>
          </a:p>
        </p:txBody>
      </p:sp>
      <p:sp>
        <p:nvSpPr>
          <p:cNvPr id="14" name="Text Box 20"/>
          <p:cNvSpPr txBox="1">
            <a:spLocks noChangeArrowheads="1"/>
          </p:cNvSpPr>
          <p:nvPr/>
        </p:nvSpPr>
        <p:spPr bwMode="auto">
          <a:xfrm>
            <a:off x="5037910" y="1244771"/>
            <a:ext cx="626004" cy="205629"/>
          </a:xfrm>
          <a:prstGeom prst="rect">
            <a:avLst/>
          </a:prstGeom>
          <a:noFill/>
          <a:ln w="9525">
            <a:noFill/>
            <a:miter lim="800000"/>
            <a:headEnd/>
            <a:tailEnd/>
          </a:ln>
          <a:effectLst/>
        </p:spPr>
        <p:txBody>
          <a:bodyPr tIns="36000">
            <a:spAutoFit/>
          </a:bodyPr>
          <a:lstStyle/>
          <a:p>
            <a:pPr eaLnBrk="0" hangingPunct="0">
              <a:spcBef>
                <a:spcPct val="50000"/>
              </a:spcBef>
              <a:defRPr/>
            </a:pPr>
            <a:r>
              <a:rPr lang="fr-FR" sz="800" b="1" dirty="0">
                <a:solidFill>
                  <a:schemeClr val="bg1">
                    <a:lumMod val="50000"/>
                  </a:schemeClr>
                </a:solidFill>
                <a:latin typeface="Arial"/>
                <a:ea typeface="ＭＳ Ｐゴシック" pitchFamily="34" charset="-128"/>
              </a:rPr>
              <a:t>32,612</a:t>
            </a:r>
          </a:p>
        </p:txBody>
      </p:sp>
      <p:sp>
        <p:nvSpPr>
          <p:cNvPr id="15" name="Rectangle 10"/>
          <p:cNvSpPr>
            <a:spLocks noChangeArrowheads="1"/>
          </p:cNvSpPr>
          <p:nvPr/>
        </p:nvSpPr>
        <p:spPr bwMode="gray">
          <a:xfrm>
            <a:off x="-4365287" y="3249746"/>
            <a:ext cx="4176464" cy="252000"/>
          </a:xfrm>
          <a:prstGeom prst="rect">
            <a:avLst/>
          </a:prstGeom>
          <a:noFill/>
          <a:ln>
            <a:noFill/>
          </a:ln>
        </p:spPr>
        <p:txBody>
          <a:bodyPr anchor="ctr"/>
          <a:lstStyle/>
          <a:p>
            <a:pPr algn="ctr" eaLnBrk="0" hangingPunct="0"/>
            <a:endParaRPr lang="fr-FR" altLang="fr-FR" sz="1100" b="1" dirty="0">
              <a:solidFill>
                <a:schemeClr val="tx1">
                  <a:lumMod val="75000"/>
                  <a:lumOff val="25000"/>
                </a:schemeClr>
              </a:solidFill>
              <a:latin typeface="Arial" pitchFamily="34" charset="0"/>
              <a:ea typeface="MS PGothic" pitchFamily="34" charset="-128"/>
              <a:cs typeface="Arial" pitchFamily="34" charset="0"/>
            </a:endParaRPr>
          </a:p>
        </p:txBody>
      </p:sp>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2150" y="903011"/>
            <a:ext cx="3214212" cy="2852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Text Box 19"/>
          <p:cNvSpPr txBox="1">
            <a:spLocks noChangeArrowheads="1"/>
          </p:cNvSpPr>
          <p:nvPr/>
        </p:nvSpPr>
        <p:spPr bwMode="auto">
          <a:xfrm>
            <a:off x="2373681" y="1189880"/>
            <a:ext cx="516091" cy="195814"/>
          </a:xfrm>
          <a:prstGeom prst="rect">
            <a:avLst/>
          </a:prstGeom>
          <a:noFill/>
          <a:ln w="9525">
            <a:noFill/>
            <a:miter lim="800000"/>
            <a:headEnd/>
            <a:tailEnd/>
          </a:ln>
          <a:effectLst/>
        </p:spPr>
        <p:txBody>
          <a:bodyPr wrap="square" tIns="36000" bIns="36000">
            <a:spAutoFit/>
          </a:bodyPr>
          <a:lstStyle/>
          <a:p>
            <a:pPr algn="ctr" eaLnBrk="0" hangingPunct="0">
              <a:spcBef>
                <a:spcPct val="50000"/>
              </a:spcBef>
              <a:defRPr/>
            </a:pPr>
            <a:r>
              <a:rPr lang="fr-FR" sz="800" b="1" dirty="0">
                <a:solidFill>
                  <a:schemeClr val="bg1">
                    <a:lumMod val="50000"/>
                  </a:schemeClr>
                </a:solidFill>
                <a:latin typeface="Arial"/>
                <a:ea typeface="ＭＳ Ｐゴシック" pitchFamily="34" charset="-128"/>
              </a:rPr>
              <a:t>15,375</a:t>
            </a:r>
          </a:p>
        </p:txBody>
      </p:sp>
      <p:sp>
        <p:nvSpPr>
          <p:cNvPr id="19" name="Text Box 20"/>
          <p:cNvSpPr txBox="1">
            <a:spLocks noChangeArrowheads="1"/>
          </p:cNvSpPr>
          <p:nvPr/>
        </p:nvSpPr>
        <p:spPr bwMode="auto">
          <a:xfrm>
            <a:off x="5771323" y="1216992"/>
            <a:ext cx="626004" cy="205629"/>
          </a:xfrm>
          <a:prstGeom prst="rect">
            <a:avLst/>
          </a:prstGeom>
          <a:noFill/>
          <a:ln w="9525">
            <a:noFill/>
            <a:miter lim="800000"/>
            <a:headEnd/>
            <a:tailEnd/>
          </a:ln>
          <a:effectLst/>
        </p:spPr>
        <p:txBody>
          <a:bodyPr tIns="36000">
            <a:spAutoFit/>
          </a:bodyPr>
          <a:lstStyle/>
          <a:p>
            <a:pPr eaLnBrk="0" hangingPunct="0">
              <a:spcBef>
                <a:spcPct val="50000"/>
              </a:spcBef>
              <a:defRPr/>
            </a:pPr>
            <a:r>
              <a:rPr lang="fr-FR" sz="800" b="1" dirty="0">
                <a:solidFill>
                  <a:schemeClr val="bg1">
                    <a:lumMod val="50000"/>
                  </a:schemeClr>
                </a:solidFill>
                <a:latin typeface="Arial"/>
                <a:ea typeface="ＭＳ Ｐゴシック" pitchFamily="34" charset="-128"/>
              </a:rPr>
              <a:t>32,575</a:t>
            </a:r>
          </a:p>
        </p:txBody>
      </p:sp>
      <p:sp>
        <p:nvSpPr>
          <p:cNvPr id="21" name="Text Box 20"/>
          <p:cNvSpPr txBox="1">
            <a:spLocks noChangeArrowheads="1"/>
          </p:cNvSpPr>
          <p:nvPr/>
        </p:nvSpPr>
        <p:spPr bwMode="auto">
          <a:xfrm>
            <a:off x="6472766" y="1194102"/>
            <a:ext cx="626004" cy="205629"/>
          </a:xfrm>
          <a:prstGeom prst="rect">
            <a:avLst/>
          </a:prstGeom>
          <a:noFill/>
          <a:ln w="9525">
            <a:noFill/>
            <a:miter lim="800000"/>
            <a:headEnd/>
            <a:tailEnd/>
          </a:ln>
          <a:effectLst/>
        </p:spPr>
        <p:txBody>
          <a:bodyPr tIns="36000">
            <a:spAutoFit/>
          </a:bodyPr>
          <a:lstStyle/>
          <a:p>
            <a:pPr eaLnBrk="0" hangingPunct="0">
              <a:spcBef>
                <a:spcPct val="50000"/>
              </a:spcBef>
              <a:defRPr/>
            </a:pPr>
            <a:r>
              <a:rPr lang="fr-FR" sz="800" b="1" dirty="0">
                <a:solidFill>
                  <a:schemeClr val="bg1">
                    <a:lumMod val="50000"/>
                  </a:schemeClr>
                </a:solidFill>
                <a:latin typeface="Arial"/>
                <a:ea typeface="ＭＳ Ｐゴシック" pitchFamily="34" charset="-128"/>
              </a:rPr>
              <a:t>33,477</a:t>
            </a:r>
          </a:p>
        </p:txBody>
      </p:sp>
      <p:sp>
        <p:nvSpPr>
          <p:cNvPr id="24" name="Text Box 20"/>
          <p:cNvSpPr txBox="1">
            <a:spLocks noChangeArrowheads="1"/>
          </p:cNvSpPr>
          <p:nvPr/>
        </p:nvSpPr>
        <p:spPr bwMode="auto">
          <a:xfrm>
            <a:off x="7218831" y="1162330"/>
            <a:ext cx="626004" cy="205629"/>
          </a:xfrm>
          <a:prstGeom prst="rect">
            <a:avLst/>
          </a:prstGeom>
          <a:noFill/>
          <a:ln w="9525">
            <a:noFill/>
            <a:miter lim="800000"/>
            <a:headEnd/>
            <a:tailEnd/>
          </a:ln>
          <a:effectLst/>
        </p:spPr>
        <p:txBody>
          <a:bodyPr tIns="36000">
            <a:spAutoFit/>
          </a:bodyPr>
          <a:lstStyle/>
          <a:p>
            <a:pPr eaLnBrk="0" hangingPunct="0">
              <a:spcBef>
                <a:spcPct val="50000"/>
              </a:spcBef>
              <a:defRPr/>
            </a:pPr>
            <a:r>
              <a:rPr lang="fr-FR" sz="800" b="1" dirty="0">
                <a:solidFill>
                  <a:schemeClr val="bg1">
                    <a:lumMod val="50000"/>
                  </a:schemeClr>
                </a:solidFill>
                <a:latin typeface="Arial"/>
                <a:ea typeface="ＭＳ Ｐゴシック" pitchFamily="34" charset="-128"/>
              </a:rPr>
              <a:t>34,927</a:t>
            </a:r>
          </a:p>
        </p:txBody>
      </p:sp>
      <p:sp>
        <p:nvSpPr>
          <p:cNvPr id="30" name="Rectangle 10"/>
          <p:cNvSpPr>
            <a:spLocks noChangeArrowheads="1"/>
          </p:cNvSpPr>
          <p:nvPr/>
        </p:nvSpPr>
        <p:spPr bwMode="gray">
          <a:xfrm>
            <a:off x="493062" y="3100510"/>
            <a:ext cx="4032252" cy="191174"/>
          </a:xfrm>
          <a:prstGeom prst="rect">
            <a:avLst/>
          </a:prstGeom>
          <a:noFill/>
          <a:ln>
            <a:noFill/>
          </a:ln>
        </p:spPr>
        <p:txBody>
          <a:bodyPr anchor="ctr"/>
          <a:lstStyle/>
          <a:p>
            <a:pPr algn="ctr" defTabSz="457189" eaLnBrk="0" hangingPunct="0"/>
            <a:r>
              <a:rPr lang="en-US" sz="1000" b="1" dirty="0">
                <a:solidFill>
                  <a:prstClr val="black"/>
                </a:solidFill>
                <a:latin typeface="Arial" pitchFamily="34" charset="0"/>
                <a:ea typeface="MS PGothic" pitchFamily="34" charset="-128"/>
                <a:cs typeface="Arial" pitchFamily="34" charset="0"/>
              </a:rPr>
              <a:t>Profitability</a:t>
            </a:r>
          </a:p>
        </p:txBody>
      </p:sp>
      <p:sp>
        <p:nvSpPr>
          <p:cNvPr id="32" name="Rectangle 10"/>
          <p:cNvSpPr>
            <a:spLocks noChangeArrowheads="1"/>
          </p:cNvSpPr>
          <p:nvPr/>
        </p:nvSpPr>
        <p:spPr bwMode="gray">
          <a:xfrm>
            <a:off x="4988890" y="660437"/>
            <a:ext cx="3636963" cy="252412"/>
          </a:xfrm>
          <a:prstGeom prst="rect">
            <a:avLst/>
          </a:prstGeom>
          <a:noFill/>
          <a:ln>
            <a:noFill/>
          </a:ln>
        </p:spPr>
        <p:txBody>
          <a:bodyPr anchor="ctr"/>
          <a:lstStyle/>
          <a:p>
            <a:pPr algn="ctr" defTabSz="457189" eaLnBrk="0" hangingPunct="0"/>
            <a:r>
              <a:rPr lang="en-US" sz="1000" b="1" dirty="0">
                <a:solidFill>
                  <a:prstClr val="black"/>
                </a:solidFill>
                <a:latin typeface="Arial" pitchFamily="34" charset="0"/>
                <a:ea typeface="MS PGothic" pitchFamily="34" charset="-128"/>
                <a:cs typeface="Arial" pitchFamily="34" charset="0"/>
              </a:rPr>
              <a:t>Managed </a:t>
            </a:r>
            <a:r>
              <a:rPr lang="en-US" sz="1000" b="1" dirty="0" err="1">
                <a:solidFill>
                  <a:prstClr val="black"/>
                </a:solidFill>
                <a:latin typeface="Arial" pitchFamily="34" charset="0"/>
                <a:ea typeface="MS PGothic" pitchFamily="34" charset="-128"/>
                <a:cs typeface="Arial" pitchFamily="34" charset="0"/>
              </a:rPr>
              <a:t>outstandings</a:t>
            </a:r>
            <a:r>
              <a:rPr lang="en-US" sz="1000" b="1" dirty="0">
                <a:solidFill>
                  <a:prstClr val="black"/>
                </a:solidFill>
                <a:latin typeface="Arial" pitchFamily="34" charset="0"/>
                <a:ea typeface="MS PGothic" pitchFamily="34" charset="-128"/>
                <a:cs typeface="Arial" pitchFamily="34" charset="0"/>
              </a:rPr>
              <a:t> (in €m)</a:t>
            </a:r>
          </a:p>
        </p:txBody>
      </p:sp>
      <p:sp>
        <p:nvSpPr>
          <p:cNvPr id="34" name="Rectangle 33"/>
          <p:cNvSpPr/>
          <p:nvPr/>
        </p:nvSpPr>
        <p:spPr>
          <a:xfrm>
            <a:off x="4730412" y="3455794"/>
            <a:ext cx="3983277" cy="1545384"/>
          </a:xfrm>
          <a:prstGeom prst="rect">
            <a:avLst/>
          </a:prstGeom>
          <a:noFill/>
          <a:ln w="19050" cap="flat" cmpd="sng" algn="ctr">
            <a:noFill/>
            <a:prstDash val="solid"/>
          </a:ln>
          <a:effectLst/>
        </p:spPr>
        <p:txBody>
          <a:bodyPr anchor="t"/>
          <a:lstStyle/>
          <a:p>
            <a:pPr marL="269868" lvl="3" indent="-255581" algn="just" defTabSz="457189">
              <a:lnSpc>
                <a:spcPts val="1100"/>
              </a:lnSpc>
              <a:spcBef>
                <a:spcPct val="20000"/>
              </a:spcBef>
              <a:buClr>
                <a:srgbClr val="009B5F"/>
              </a:buClr>
              <a:buSzPct val="133000"/>
              <a:buFont typeface="Wingdings" panose="05000000000000000000" pitchFamily="2" charset="2"/>
              <a:buChar char="§"/>
              <a:defRPr/>
            </a:pPr>
            <a:r>
              <a:rPr lang="en-US" sz="900" dirty="0">
                <a:solidFill>
                  <a:prstClr val="black"/>
                </a:solidFill>
              </a:rPr>
              <a:t>The production in 2023 has decreased by 6% YoY, mainly attributed to a decline in the direct to consumers products. (-35% YoY)</a:t>
            </a:r>
          </a:p>
          <a:p>
            <a:pPr marL="269868" lvl="3" indent="-255581" algn="just" defTabSz="457189">
              <a:lnSpc>
                <a:spcPts val="1100"/>
              </a:lnSpc>
              <a:spcBef>
                <a:spcPct val="20000"/>
              </a:spcBef>
              <a:buClr>
                <a:srgbClr val="009B5F"/>
              </a:buClr>
              <a:buSzPct val="133000"/>
              <a:buFont typeface="Wingdings" panose="05000000000000000000" pitchFamily="2" charset="2"/>
              <a:buChar char="§"/>
              <a:defRPr/>
            </a:pPr>
            <a:r>
              <a:rPr lang="en-US" sz="900" dirty="0">
                <a:solidFill>
                  <a:prstClr val="black"/>
                </a:solidFill>
              </a:rPr>
              <a:t>The increase of managed </a:t>
            </a:r>
            <a:r>
              <a:rPr lang="en-US" sz="900" dirty="0" err="1">
                <a:solidFill>
                  <a:prstClr val="black"/>
                </a:solidFill>
              </a:rPr>
              <a:t>outstandings</a:t>
            </a:r>
            <a:r>
              <a:rPr lang="en-US" sz="900" dirty="0">
                <a:solidFill>
                  <a:prstClr val="black"/>
                </a:solidFill>
              </a:rPr>
              <a:t> since 2019 is a mechanical consequence of the growth in production observed in the previous years, especially in banking partnerships activities</a:t>
            </a:r>
          </a:p>
          <a:p>
            <a:pPr marL="269868" lvl="3" indent="-255581" algn="just" defTabSz="457189">
              <a:lnSpc>
                <a:spcPts val="1100"/>
              </a:lnSpc>
              <a:spcBef>
                <a:spcPct val="20000"/>
              </a:spcBef>
              <a:buClr>
                <a:srgbClr val="009B5F"/>
              </a:buClr>
              <a:buSzPct val="133000"/>
              <a:buFont typeface="Wingdings" panose="05000000000000000000" pitchFamily="2" charset="2"/>
              <a:buChar char="§"/>
              <a:defRPr/>
            </a:pPr>
            <a:r>
              <a:rPr lang="en-US" sz="900" dirty="0">
                <a:solidFill>
                  <a:prstClr val="black"/>
                </a:solidFill>
              </a:rPr>
              <a:t>The decrease of the Net Group Profit in 2023 is mainly explained by a decrease of the NBI of 90m€ YoY due to the margin compression and increase of customer rate.</a:t>
            </a:r>
          </a:p>
          <a:p>
            <a:pPr marL="14287" lvl="3" algn="just" defTabSz="457189">
              <a:lnSpc>
                <a:spcPts val="1100"/>
              </a:lnSpc>
              <a:spcBef>
                <a:spcPct val="20000"/>
              </a:spcBef>
              <a:buClr>
                <a:srgbClr val="009B5F"/>
              </a:buClr>
              <a:buSzPct val="133000"/>
              <a:defRPr/>
            </a:pPr>
            <a:endParaRPr lang="en-US" sz="900" dirty="0">
              <a:solidFill>
                <a:prstClr val="black"/>
              </a:solidFill>
              <a:latin typeface="Arial"/>
            </a:endParaRPr>
          </a:p>
        </p:txBody>
      </p:sp>
      <p:sp>
        <p:nvSpPr>
          <p:cNvPr id="35" name="Title 2"/>
          <p:cNvSpPr>
            <a:spLocks noGrp="1"/>
          </p:cNvSpPr>
          <p:nvPr>
            <p:ph type="title"/>
          </p:nvPr>
        </p:nvSpPr>
        <p:spPr>
          <a:xfrm>
            <a:off x="517608" y="173626"/>
            <a:ext cx="7997742" cy="824594"/>
          </a:xfrm>
        </p:spPr>
        <p:txBody>
          <a:bodyPr/>
          <a:lstStyle/>
          <a:p>
            <a:r>
              <a:rPr lang="fr-FR" dirty="0">
                <a:solidFill>
                  <a:prstClr val="black"/>
                </a:solidFill>
              </a:rPr>
              <a:t>CACF France</a:t>
            </a:r>
            <a:br>
              <a:rPr lang="fr-FR" dirty="0">
                <a:solidFill>
                  <a:prstClr val="black"/>
                </a:solidFill>
              </a:rPr>
            </a:br>
            <a:r>
              <a:rPr lang="en-US" sz="1400" dirty="0">
                <a:solidFill>
                  <a:prstClr val="white">
                    <a:lumMod val="50000"/>
                  </a:prstClr>
                </a:solidFill>
              </a:rPr>
              <a:t>Overview</a:t>
            </a:r>
          </a:p>
        </p:txBody>
      </p:sp>
      <p:sp>
        <p:nvSpPr>
          <p:cNvPr id="33" name="Slide Number Placeholder 3"/>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smtClean="0">
                <a:solidFill>
                  <a:prstClr val="white"/>
                </a:solidFill>
                <a:latin typeface="Avenir Next LT Pro"/>
              </a:rPr>
              <a:pPr algn="ctr" defTabSz="457189"/>
              <a:t>12</a:t>
            </a:fld>
            <a:endParaRPr lang="en-GB" sz="900" dirty="0">
              <a:solidFill>
                <a:prstClr val="white"/>
              </a:solidFill>
              <a:latin typeface="Avenir Next LT Pro"/>
            </a:endParaRPr>
          </a:p>
        </p:txBody>
      </p:sp>
      <p:sp>
        <p:nvSpPr>
          <p:cNvPr id="36" name="Text Box 19"/>
          <p:cNvSpPr txBox="1">
            <a:spLocks noChangeArrowheads="1"/>
          </p:cNvSpPr>
          <p:nvPr/>
        </p:nvSpPr>
        <p:spPr bwMode="auto">
          <a:xfrm>
            <a:off x="3198965" y="1183073"/>
            <a:ext cx="516091" cy="195814"/>
          </a:xfrm>
          <a:prstGeom prst="rect">
            <a:avLst/>
          </a:prstGeom>
          <a:noFill/>
          <a:ln w="9525">
            <a:noFill/>
            <a:miter lim="800000"/>
            <a:headEnd/>
            <a:tailEnd/>
          </a:ln>
          <a:effectLst/>
        </p:spPr>
        <p:txBody>
          <a:bodyPr wrap="square" tIns="36000" bIns="36000">
            <a:spAutoFit/>
          </a:bodyPr>
          <a:lstStyle/>
          <a:p>
            <a:pPr algn="ctr" eaLnBrk="0" hangingPunct="0">
              <a:spcBef>
                <a:spcPct val="50000"/>
              </a:spcBef>
              <a:defRPr/>
            </a:pPr>
            <a:r>
              <a:rPr lang="fr-FR" sz="800" b="1" dirty="0">
                <a:solidFill>
                  <a:schemeClr val="bg1">
                    <a:lumMod val="50000"/>
                  </a:schemeClr>
                </a:solidFill>
                <a:latin typeface="Arial"/>
                <a:ea typeface="ＭＳ Ｐゴシック" pitchFamily="34" charset="-128"/>
              </a:rPr>
              <a:t>15,670</a:t>
            </a:r>
          </a:p>
        </p:txBody>
      </p:sp>
      <p:graphicFrame>
        <p:nvGraphicFramePr>
          <p:cNvPr id="28" name="Graphique 27">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4178518690"/>
              </p:ext>
            </p:extLst>
          </p:nvPr>
        </p:nvGraphicFramePr>
        <p:xfrm>
          <a:off x="463952" y="3144132"/>
          <a:ext cx="4248792" cy="197220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9428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81599" y="1724722"/>
            <a:ext cx="3552749" cy="1694054"/>
          </a:xfrm>
        </p:spPr>
        <p:txBody>
          <a:bodyPr/>
          <a:lstStyle/>
          <a:p>
            <a:r>
              <a:rPr lang="en-US" sz="2400" dirty="0"/>
              <a:t>2. Distribution channels and products</a:t>
            </a:r>
            <a:endParaRPr lang="en-US" dirty="0"/>
          </a:p>
        </p:txBody>
      </p:sp>
      <p:sp>
        <p:nvSpPr>
          <p:cNvPr id="3" name="Slide Number Placeholder 2"/>
          <p:cNvSpPr>
            <a:spLocks noGrp="1"/>
          </p:cNvSpPr>
          <p:nvPr>
            <p:ph type="sldNum" sz="quarter" idx="19"/>
          </p:nvPr>
        </p:nvSpPr>
        <p:spPr/>
        <p:txBody>
          <a:bodyPr/>
          <a:lstStyle/>
          <a:p>
            <a:fld id="{98BD2159-827C-4021-9B0E-DCD852BEB59E}" type="slidenum">
              <a:rPr lang="en-GB" smtClean="0"/>
              <a:pPr/>
              <a:t>13</a:t>
            </a:fld>
            <a:endParaRPr lang="en-GB" dirty="0"/>
          </a:p>
        </p:txBody>
      </p:sp>
    </p:spTree>
    <p:extLst>
      <p:ext uri="{BB962C8B-B14F-4D97-AF65-F5344CB8AC3E}">
        <p14:creationId xmlns:p14="http://schemas.microsoft.com/office/powerpoint/2010/main" val="34491931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227155-CB7E-4411-9FC5-12FF5528A31F}"/>
              </a:ext>
            </a:extLst>
          </p:cNvPr>
          <p:cNvSpPr>
            <a:spLocks noGrp="1"/>
          </p:cNvSpPr>
          <p:nvPr>
            <p:ph type="title"/>
          </p:nvPr>
        </p:nvSpPr>
        <p:spPr/>
        <p:txBody>
          <a:bodyPr/>
          <a:lstStyle/>
          <a:p>
            <a:r>
              <a:rPr lang="fr-FR" sz="2400" dirty="0">
                <a:solidFill>
                  <a:schemeClr val="tx1"/>
                </a:solidFill>
              </a:rPr>
              <a:t>Product </a:t>
            </a:r>
            <a:r>
              <a:rPr lang="fr-FR" sz="2400" dirty="0" err="1">
                <a:solidFill>
                  <a:schemeClr val="tx1"/>
                </a:solidFill>
              </a:rPr>
              <a:t>Terms</a:t>
            </a:r>
            <a:br>
              <a:rPr lang="fr-FR" sz="2400" dirty="0">
                <a:solidFill>
                  <a:schemeClr val="tx1"/>
                </a:solidFill>
              </a:rPr>
            </a:br>
            <a:r>
              <a:rPr lang="fr-FR" sz="2400" dirty="0">
                <a:solidFill>
                  <a:schemeClr val="tx1"/>
                </a:solidFill>
              </a:rPr>
              <a:t>General</a:t>
            </a:r>
            <a:endParaRPr lang="fr-FR" dirty="0"/>
          </a:p>
        </p:txBody>
      </p:sp>
      <p:sp>
        <p:nvSpPr>
          <p:cNvPr id="3" name="Espace réservé du numéro de diapositive 2">
            <a:extLst>
              <a:ext uri="{FF2B5EF4-FFF2-40B4-BE49-F238E27FC236}">
                <a16:creationId xmlns:a16="http://schemas.microsoft.com/office/drawing/2014/main" id="{94672544-6AF5-4D1C-8CB3-70F88631BC88}"/>
              </a:ext>
            </a:extLst>
          </p:cNvPr>
          <p:cNvSpPr>
            <a:spLocks noGrp="1"/>
          </p:cNvSpPr>
          <p:nvPr>
            <p:ph type="sldNum" sz="quarter" idx="19"/>
          </p:nvPr>
        </p:nvSpPr>
        <p:spPr/>
        <p:txBody>
          <a:bodyPr/>
          <a:lstStyle/>
          <a:p>
            <a:fld id="{98BD2159-827C-4021-9B0E-DCD852BEB59E}" type="slidenum">
              <a:rPr lang="en-GB" smtClean="0"/>
              <a:pPr/>
              <a:t>14</a:t>
            </a:fld>
            <a:endParaRPr lang="en-GB" dirty="0"/>
          </a:p>
        </p:txBody>
      </p:sp>
      <p:sp>
        <p:nvSpPr>
          <p:cNvPr id="4" name="ZoneTexte 3">
            <a:extLst>
              <a:ext uri="{FF2B5EF4-FFF2-40B4-BE49-F238E27FC236}">
                <a16:creationId xmlns:a16="http://schemas.microsoft.com/office/drawing/2014/main" id="{546F535C-2812-4418-931F-611E90E045FC}"/>
              </a:ext>
            </a:extLst>
          </p:cNvPr>
          <p:cNvSpPr txBox="1">
            <a:spLocks noChangeArrowheads="1"/>
          </p:cNvSpPr>
          <p:nvPr/>
        </p:nvSpPr>
        <p:spPr bwMode="auto">
          <a:xfrm>
            <a:off x="390939" y="1215697"/>
            <a:ext cx="7931425" cy="3139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endParaRPr lang="en-GB" sz="900" dirty="0"/>
          </a:p>
          <a:p>
            <a:endParaRPr lang="en-GB" sz="900" dirty="0"/>
          </a:p>
          <a:p>
            <a:r>
              <a:rPr lang="en-US" sz="1000" dirty="0"/>
              <a:t>CACF through his brands </a:t>
            </a:r>
            <a:r>
              <a:rPr lang="en-US" sz="1000" dirty="0" err="1"/>
              <a:t>Sofinco</a:t>
            </a:r>
            <a:r>
              <a:rPr lang="en-US" sz="1000" dirty="0"/>
              <a:t> and </a:t>
            </a:r>
            <a:r>
              <a:rPr lang="en-US" sz="1000" dirty="0" err="1"/>
              <a:t>Creditlift</a:t>
            </a:r>
            <a:r>
              <a:rPr lang="en-US" sz="1000" dirty="0"/>
              <a:t> </a:t>
            </a:r>
            <a:r>
              <a:rPr lang="en-US" sz="1000" dirty="0" err="1"/>
              <a:t>courtage</a:t>
            </a:r>
            <a:r>
              <a:rPr lang="en-US" sz="1000" dirty="0"/>
              <a:t> propose debt consolidation products that allow for the customer the consolidation of several outstanding loans. </a:t>
            </a:r>
            <a:r>
              <a:rPr lang="en-US" sz="1000" dirty="0" err="1"/>
              <a:t>Sofinco</a:t>
            </a:r>
            <a:r>
              <a:rPr lang="en-US" sz="1000" dirty="0"/>
              <a:t> propose exclusively unsecured loans whereas </a:t>
            </a:r>
            <a:r>
              <a:rPr lang="en-US" sz="1000" dirty="0" err="1"/>
              <a:t>Creditlift</a:t>
            </a:r>
            <a:r>
              <a:rPr lang="en-US" sz="1000" dirty="0"/>
              <a:t> offer secured and unsecured loans.</a:t>
            </a:r>
          </a:p>
          <a:p>
            <a:r>
              <a:rPr lang="en-US" sz="1000" dirty="0"/>
              <a:t>The client must have a minimum two previous loans , at least one of which is outstanding. In addition to the amount for the repayment of the various outstanding loans, it is possible to include in the loan an amount corresponding to new customer projects. (maximum 75k€)</a:t>
            </a:r>
            <a:endParaRPr lang="en-GB" sz="1000" dirty="0"/>
          </a:p>
          <a:p>
            <a:endParaRPr lang="en-GB" sz="1000" dirty="0"/>
          </a:p>
          <a:p>
            <a:r>
              <a:rPr lang="en-GB" sz="1000" dirty="0"/>
              <a:t>Debt consolidation loans allow customers to refinance existing consumer borrowings from CA Consumer Finance and/or third-party lenders including sales finance loans, personal loans, revolving loans and home loans and, as the case may be, borrow additional funds for non-specified purposes.</a:t>
            </a:r>
          </a:p>
          <a:p>
            <a:r>
              <a:rPr lang="fr-FR" sz="1000" i="1" dirty="0"/>
              <a:t> </a:t>
            </a:r>
          </a:p>
          <a:p>
            <a:r>
              <a:rPr lang="en-US" sz="1000" dirty="0"/>
              <a:t>The debt consolidation process helps the customer to reduce the amount of his overall monthly payment, which has the consequence of extend the repayment period.</a:t>
            </a:r>
          </a:p>
          <a:p>
            <a:endParaRPr lang="en-US" sz="1000" dirty="0"/>
          </a:p>
          <a:p>
            <a:r>
              <a:rPr lang="en-US" sz="1000" dirty="0"/>
              <a:t>The amount of the loan is set with the client according to their financial situation and their new project. Once the application is accepted, </a:t>
            </a:r>
            <a:r>
              <a:rPr lang="en-US" sz="1000" dirty="0" err="1"/>
              <a:t>Creditlift</a:t>
            </a:r>
            <a:r>
              <a:rPr lang="en-US" sz="1000" dirty="0"/>
              <a:t>/SOFINCO will be responsible for sending the reimbursement and cancellation letters to the former credit institutions.</a:t>
            </a:r>
          </a:p>
          <a:p>
            <a:endParaRPr lang="en-US" sz="1000" dirty="0"/>
          </a:p>
          <a:p>
            <a:r>
              <a:rPr lang="en-US" sz="1000" dirty="0"/>
              <a:t>Additional budget for new projects is transferred into the client’s account.</a:t>
            </a:r>
          </a:p>
          <a:p>
            <a:endParaRPr lang="en-US" sz="1000" dirty="0"/>
          </a:p>
          <a:p>
            <a:r>
              <a:rPr lang="en-US" sz="1000" dirty="0"/>
              <a:t>The monthly instalment of the loan is fixed over the entire repayment period. </a:t>
            </a:r>
            <a:endParaRPr lang="fr-FR" sz="1000" dirty="0"/>
          </a:p>
        </p:txBody>
      </p:sp>
    </p:spTree>
    <p:extLst>
      <p:ext uri="{BB962C8B-B14F-4D97-AF65-F5344CB8AC3E}">
        <p14:creationId xmlns:p14="http://schemas.microsoft.com/office/powerpoint/2010/main" val="40388065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608" y="173626"/>
            <a:ext cx="7997742" cy="568709"/>
          </a:xfrm>
        </p:spPr>
        <p:txBody>
          <a:bodyPr/>
          <a:lstStyle/>
          <a:p>
            <a:r>
              <a:rPr lang="fr-FR" sz="1800" dirty="0">
                <a:solidFill>
                  <a:schemeClr val="tx1"/>
                </a:solidFill>
              </a:rPr>
              <a:t>Product </a:t>
            </a:r>
            <a:r>
              <a:rPr lang="fr-FR" sz="1800" dirty="0" err="1">
                <a:solidFill>
                  <a:schemeClr val="tx1"/>
                </a:solidFill>
              </a:rPr>
              <a:t>Terms</a:t>
            </a:r>
            <a:r>
              <a:rPr lang="fr-FR" sz="1800" dirty="0">
                <a:solidFill>
                  <a:schemeClr val="tx1"/>
                </a:solidFill>
              </a:rPr>
              <a:t> « </a:t>
            </a:r>
            <a:r>
              <a:rPr lang="fr-FR" sz="1800" dirty="0" err="1">
                <a:solidFill>
                  <a:schemeClr val="tx1"/>
                </a:solidFill>
              </a:rPr>
              <a:t>unsecured</a:t>
            </a:r>
            <a:r>
              <a:rPr lang="fr-FR" sz="1800" dirty="0">
                <a:solidFill>
                  <a:schemeClr val="tx1"/>
                </a:solidFill>
              </a:rPr>
              <a:t> »</a:t>
            </a:r>
            <a:br>
              <a:rPr lang="fr-FR" sz="1800" dirty="0">
                <a:solidFill>
                  <a:schemeClr val="tx1"/>
                </a:solidFill>
              </a:rPr>
            </a:br>
            <a:r>
              <a:rPr lang="fr-FR" sz="1800" dirty="0" err="1">
                <a:solidFill>
                  <a:schemeClr val="bg1">
                    <a:lumMod val="65000"/>
                  </a:schemeClr>
                </a:solidFill>
              </a:rPr>
              <a:t>Characteristics</a:t>
            </a:r>
            <a:endParaRPr lang="en-US" sz="1800" dirty="0">
              <a:solidFill>
                <a:schemeClr val="bg1">
                  <a:lumMod val="65000"/>
                </a:schemeClr>
              </a:solidFill>
            </a:endParaRPr>
          </a:p>
        </p:txBody>
      </p:sp>
      <p:sp>
        <p:nvSpPr>
          <p:cNvPr id="7" name="Slide Number Placeholder 3"/>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15</a:t>
            </a:fld>
            <a:endParaRPr lang="en-GB" sz="900" dirty="0">
              <a:solidFill>
                <a:prstClr val="white"/>
              </a:solidFill>
              <a:latin typeface="Avenir Next LT Pro"/>
            </a:endParaRPr>
          </a:p>
        </p:txBody>
      </p:sp>
      <p:graphicFrame>
        <p:nvGraphicFramePr>
          <p:cNvPr id="6" name="Tableau 4">
            <a:extLst>
              <a:ext uri="{FF2B5EF4-FFF2-40B4-BE49-F238E27FC236}">
                <a16:creationId xmlns:a16="http://schemas.microsoft.com/office/drawing/2014/main" id="{23230CFC-8ACB-43B1-A72A-4BF02E510C11}"/>
              </a:ext>
            </a:extLst>
          </p:cNvPr>
          <p:cNvGraphicFramePr>
            <a:graphicFrameLocks noGrp="1"/>
          </p:cNvGraphicFramePr>
          <p:nvPr>
            <p:extLst>
              <p:ext uri="{D42A27DB-BD31-4B8C-83A1-F6EECF244321}">
                <p14:modId xmlns:p14="http://schemas.microsoft.com/office/powerpoint/2010/main" val="4252292653"/>
              </p:ext>
            </p:extLst>
          </p:nvPr>
        </p:nvGraphicFramePr>
        <p:xfrm>
          <a:off x="409643" y="742335"/>
          <a:ext cx="7112952" cy="4206240"/>
        </p:xfrm>
        <a:graphic>
          <a:graphicData uri="http://schemas.openxmlformats.org/drawingml/2006/table">
            <a:tbl>
              <a:tblPr firstRow="1" bandRow="1">
                <a:tableStyleId>{7DF18680-E054-41AD-8BC1-D1AEF772440D}</a:tableStyleId>
              </a:tblPr>
              <a:tblGrid>
                <a:gridCol w="1286949">
                  <a:extLst>
                    <a:ext uri="{9D8B030D-6E8A-4147-A177-3AD203B41FA5}">
                      <a16:colId xmlns:a16="http://schemas.microsoft.com/office/drawing/2014/main" val="1382536831"/>
                    </a:ext>
                  </a:extLst>
                </a:gridCol>
                <a:gridCol w="1124976">
                  <a:extLst>
                    <a:ext uri="{9D8B030D-6E8A-4147-A177-3AD203B41FA5}">
                      <a16:colId xmlns:a16="http://schemas.microsoft.com/office/drawing/2014/main" val="2508559"/>
                    </a:ext>
                  </a:extLst>
                </a:gridCol>
                <a:gridCol w="803067">
                  <a:extLst>
                    <a:ext uri="{9D8B030D-6E8A-4147-A177-3AD203B41FA5}">
                      <a16:colId xmlns:a16="http://schemas.microsoft.com/office/drawing/2014/main" val="3111167995"/>
                    </a:ext>
                  </a:extLst>
                </a:gridCol>
                <a:gridCol w="515837">
                  <a:extLst>
                    <a:ext uri="{9D8B030D-6E8A-4147-A177-3AD203B41FA5}">
                      <a16:colId xmlns:a16="http://schemas.microsoft.com/office/drawing/2014/main" val="3703271876"/>
                    </a:ext>
                  </a:extLst>
                </a:gridCol>
                <a:gridCol w="667149">
                  <a:extLst>
                    <a:ext uri="{9D8B030D-6E8A-4147-A177-3AD203B41FA5}">
                      <a16:colId xmlns:a16="http://schemas.microsoft.com/office/drawing/2014/main" val="4278229091"/>
                    </a:ext>
                  </a:extLst>
                </a:gridCol>
                <a:gridCol w="811584">
                  <a:extLst>
                    <a:ext uri="{9D8B030D-6E8A-4147-A177-3AD203B41FA5}">
                      <a16:colId xmlns:a16="http://schemas.microsoft.com/office/drawing/2014/main" val="1288403478"/>
                    </a:ext>
                  </a:extLst>
                </a:gridCol>
                <a:gridCol w="1155473">
                  <a:extLst>
                    <a:ext uri="{9D8B030D-6E8A-4147-A177-3AD203B41FA5}">
                      <a16:colId xmlns:a16="http://schemas.microsoft.com/office/drawing/2014/main" val="567832545"/>
                    </a:ext>
                  </a:extLst>
                </a:gridCol>
                <a:gridCol w="747917">
                  <a:extLst>
                    <a:ext uri="{9D8B030D-6E8A-4147-A177-3AD203B41FA5}">
                      <a16:colId xmlns:a16="http://schemas.microsoft.com/office/drawing/2014/main" val="2046812532"/>
                    </a:ext>
                  </a:extLst>
                </a:gridCol>
              </a:tblGrid>
              <a:tr h="5816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Product Type</a:t>
                      </a:r>
                    </a:p>
                    <a:p>
                      <a:pPr algn="ctr"/>
                      <a:endParaRPr lang="fr-FR" sz="900" dirty="0"/>
                    </a:p>
                  </a:txBody>
                  <a:tcPr>
                    <a:solidFill>
                      <a:srgbClr val="00644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Use</a:t>
                      </a:r>
                    </a:p>
                    <a:p>
                      <a:pPr algn="ctr"/>
                      <a:endParaRPr lang="fr-FR" sz="900" dirty="0"/>
                    </a:p>
                  </a:txBody>
                  <a:tcPr>
                    <a:solidFill>
                      <a:srgbClr val="00644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Borrowers</a:t>
                      </a:r>
                    </a:p>
                    <a:p>
                      <a:pPr algn="ctr"/>
                      <a:endParaRPr lang="fr-FR" sz="900" dirty="0"/>
                    </a:p>
                  </a:txBody>
                  <a:tcPr>
                    <a:solidFill>
                      <a:srgbClr val="006448"/>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Rate Type</a:t>
                      </a:r>
                    </a:p>
                  </a:txBody>
                  <a:tcPr marL="78000" marR="78000" marT="36000" marB="36000" anchor="ctr" anchorCtr="1" horzOverflow="overflow">
                    <a:solidFill>
                      <a:srgbClr val="006448"/>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Amortisation Type</a:t>
                      </a:r>
                    </a:p>
                  </a:txBody>
                  <a:tcPr marL="78000" marR="78000" marT="36000" marB="36000" anchor="ctr" anchorCtr="1" horzOverflow="overflow">
                    <a:solidFill>
                      <a:srgbClr val="006448"/>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Loan Amount</a:t>
                      </a:r>
                    </a:p>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EUR)</a:t>
                      </a:r>
                    </a:p>
                    <a:p>
                      <a:pPr algn="ctr"/>
                      <a:endParaRPr lang="fr-FR" sz="900" dirty="0"/>
                    </a:p>
                  </a:txBody>
                  <a:tcPr>
                    <a:solidFill>
                      <a:srgbClr val="006448"/>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Original maturity</a:t>
                      </a:r>
                    </a:p>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 of monthly instalments) </a:t>
                      </a:r>
                      <a:endParaRPr kumimoji="0" lang="en-GB" sz="900" b="1" i="0" u="none" strike="noStrike" cap="none" normalizeH="0" baseline="30000" dirty="0">
                        <a:ln>
                          <a:noFill/>
                        </a:ln>
                        <a:solidFill>
                          <a:schemeClr val="bg1"/>
                        </a:solidFill>
                        <a:effectLst/>
                        <a:latin typeface="Arial" charset="0"/>
                        <a:ea typeface="Arial Unicode MS" pitchFamily="34" charset="-128"/>
                        <a:cs typeface="Arial Unicode MS" pitchFamily="34" charset="-128"/>
                      </a:endParaRPr>
                    </a:p>
                    <a:p>
                      <a:pPr algn="ctr"/>
                      <a:endParaRPr lang="fr-FR" sz="900" dirty="0"/>
                    </a:p>
                  </a:txBody>
                  <a:tcPr>
                    <a:solidFill>
                      <a:srgbClr val="00644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cap="none" normalizeH="0" baseline="0" dirty="0">
                          <a:ln>
                            <a:noFill/>
                          </a:ln>
                          <a:solidFill>
                            <a:schemeClr val="bg1"/>
                          </a:solidFill>
                          <a:effectLst/>
                          <a:latin typeface="Arial" charset="0"/>
                          <a:ea typeface="Arial Unicode MS" pitchFamily="34" charset="-128"/>
                          <a:cs typeface="Arial Unicode MS" pitchFamily="34" charset="-128"/>
                        </a:rPr>
                        <a:t>Security interest </a:t>
                      </a:r>
                    </a:p>
                    <a:p>
                      <a:pPr algn="ctr"/>
                      <a:endParaRPr lang="fr-FR" sz="900" dirty="0"/>
                    </a:p>
                  </a:txBody>
                  <a:tcPr>
                    <a:solidFill>
                      <a:srgbClr val="006448"/>
                    </a:solidFill>
                  </a:tcPr>
                </a:tc>
                <a:extLst>
                  <a:ext uri="{0D108BD9-81ED-4DB2-BD59-A6C34878D82A}">
                    <a16:rowId xmlns:a16="http://schemas.microsoft.com/office/drawing/2014/main" val="681148066"/>
                  </a:ext>
                </a:extLst>
              </a:tr>
              <a:tr h="1080162">
                <a:tc>
                  <a:txBody>
                    <a:bodyPr/>
                    <a:lstStyle/>
                    <a:p>
                      <a:pPr marL="0" marR="0" lvl="0" indent="0" algn="ctr" defTabSz="914400" rtl="0" eaLnBrk="0" fontAlgn="base" latinLnBrk="0" hangingPunct="0">
                        <a:lnSpc>
                          <a:spcPct val="100000"/>
                        </a:lnSpc>
                        <a:spcBef>
                          <a:spcPct val="0"/>
                        </a:spcBef>
                        <a:spcAft>
                          <a:spcPct val="0"/>
                        </a:spcAft>
                        <a:buClr>
                          <a:schemeClr val="bg1"/>
                        </a:buClr>
                        <a:buSzTx/>
                        <a:buFont typeface="Wingdings" pitchFamily="2" charset="2"/>
                        <a:buNone/>
                        <a:tabLst/>
                      </a:pPr>
                      <a:r>
                        <a:rPr kumimoji="0" lang="en-GB" altLang="ja-JP" sz="900" b="1" i="0" u="none" strike="noStrike" cap="none" normalizeH="0" baseline="0" dirty="0">
                          <a:ln>
                            <a:noFill/>
                          </a:ln>
                          <a:solidFill>
                            <a:schemeClr val="bg1"/>
                          </a:solidFill>
                          <a:effectLst/>
                          <a:latin typeface="Arial" charset="0"/>
                          <a:ea typeface="Arial Unicode MS" pitchFamily="34" charset="-128"/>
                          <a:cs typeface="Arial" charset="0"/>
                        </a:rPr>
                        <a:t>“CONSOLIFT”</a:t>
                      </a:r>
                    </a:p>
                    <a:p>
                      <a:pPr marL="0" marR="0" lvl="0" indent="0" algn="ctr" defTabSz="914400" rtl="0" eaLnBrk="0" fontAlgn="base" latinLnBrk="0" hangingPunct="0">
                        <a:lnSpc>
                          <a:spcPct val="100000"/>
                        </a:lnSpc>
                        <a:spcBef>
                          <a:spcPct val="0"/>
                        </a:spcBef>
                        <a:spcAft>
                          <a:spcPct val="0"/>
                        </a:spcAft>
                        <a:buClr>
                          <a:schemeClr val="bg1"/>
                        </a:buClr>
                        <a:buSzTx/>
                        <a:buFont typeface="Wingdings" pitchFamily="2" charset="2"/>
                        <a:buNone/>
                        <a:tabLst/>
                      </a:pPr>
                      <a:r>
                        <a:rPr kumimoji="0" lang="en-GB" altLang="ja-JP" sz="900" b="1" i="0" u="none" strike="noStrike" cap="none" normalizeH="0" baseline="0" dirty="0">
                          <a:ln>
                            <a:noFill/>
                          </a:ln>
                          <a:solidFill>
                            <a:schemeClr val="bg1"/>
                          </a:solidFill>
                          <a:effectLst/>
                          <a:latin typeface="Arial" charset="0"/>
                          <a:ea typeface="Arial Unicode MS" pitchFamily="34" charset="-128"/>
                          <a:cs typeface="Arial" charset="0"/>
                        </a:rPr>
                        <a:t>By </a:t>
                      </a:r>
                      <a:r>
                        <a:rPr kumimoji="0" lang="en-GB" altLang="ja-JP" sz="900" b="1" i="0" u="none" strike="noStrike" cap="none" normalizeH="0" baseline="0" dirty="0" err="1">
                          <a:ln>
                            <a:noFill/>
                          </a:ln>
                          <a:solidFill>
                            <a:schemeClr val="bg1"/>
                          </a:solidFill>
                          <a:effectLst/>
                          <a:latin typeface="Arial" charset="0"/>
                          <a:ea typeface="Arial Unicode MS" pitchFamily="34" charset="-128"/>
                          <a:cs typeface="Arial" charset="0"/>
                        </a:rPr>
                        <a:t>Creditlift</a:t>
                      </a:r>
                      <a:endParaRPr kumimoji="0" lang="en-GB" altLang="ja-JP" sz="900" b="1" i="0" u="none" strike="noStrike" cap="none" normalizeH="0" baseline="0" dirty="0">
                        <a:ln>
                          <a:noFill/>
                        </a:ln>
                        <a:solidFill>
                          <a:schemeClr val="bg1"/>
                        </a:solidFill>
                        <a:effectLst/>
                        <a:latin typeface="Arial" charset="0"/>
                        <a:ea typeface="Arial Unicode MS" pitchFamily="34" charset="-128"/>
                        <a:cs typeface="Arial" charset="0"/>
                      </a:endParaRPr>
                    </a:p>
                    <a:p>
                      <a:pPr algn="ctr"/>
                      <a:r>
                        <a:rPr lang="fr-FR" sz="900" dirty="0"/>
                        <a:t> </a:t>
                      </a:r>
                    </a:p>
                  </a:txBody>
                  <a:tcPr>
                    <a:solidFill>
                      <a:srgbClr val="00644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Refinancing of existing unsecured consumer  loans and home loans (&lt;60% of total amount financed)</a:t>
                      </a:r>
                    </a:p>
                    <a:p>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Private individuals</a:t>
                      </a:r>
                    </a:p>
                    <a:p>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ixed</a:t>
                      </a:r>
                    </a:p>
                    <a:p>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Constant monthly instalments</a:t>
                      </a:r>
                    </a:p>
                    <a:p>
                      <a:endParaRPr lang="fr-FR" sz="900" dirty="0">
                        <a:solidFill>
                          <a:schemeClr val="tx1"/>
                        </a:solidFill>
                      </a:endParaRPr>
                    </a:p>
                  </a:txBody>
                  <a:tcPr/>
                </a:tc>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rom </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25,000 to</a:t>
                      </a:r>
                      <a:b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b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40 times net income of the household</a:t>
                      </a:r>
                      <a:b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br>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 From 60 to 180</a:t>
                      </a:r>
                    </a:p>
                    <a:p>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N/A</a:t>
                      </a:r>
                    </a:p>
                    <a:p>
                      <a:endParaRPr lang="fr-FR" sz="900" dirty="0">
                        <a:solidFill>
                          <a:schemeClr val="tx1"/>
                        </a:solidFill>
                      </a:endParaRPr>
                    </a:p>
                  </a:txBody>
                  <a:tcPr/>
                </a:tc>
                <a:extLst>
                  <a:ext uri="{0D108BD9-81ED-4DB2-BD59-A6C34878D82A}">
                    <a16:rowId xmlns:a16="http://schemas.microsoft.com/office/drawing/2014/main" val="498031011"/>
                  </a:ext>
                </a:extLst>
              </a:tr>
              <a:tr h="1080162">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en-GB" altLang="ja-JP" sz="900" b="1" i="0" u="none" strike="noStrike" kern="1200" cap="none" normalizeH="0" baseline="0" dirty="0">
                          <a:ln>
                            <a:noFill/>
                          </a:ln>
                          <a:solidFill>
                            <a:schemeClr val="bg1"/>
                          </a:solidFill>
                          <a:effectLst/>
                          <a:latin typeface="Arial" charset="0"/>
                          <a:ea typeface="Arial Unicode MS" pitchFamily="34" charset="-128"/>
                          <a:cs typeface="Arial Unicode MS" pitchFamily="34" charset="-128"/>
                        </a:rPr>
                        <a:t>“MINILIFT”</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en-GB" altLang="ja-JP" sz="900" b="1" i="0" u="none" strike="noStrike" kern="1200" cap="none" normalizeH="0" baseline="0" dirty="0">
                          <a:ln>
                            <a:noFill/>
                          </a:ln>
                          <a:solidFill>
                            <a:schemeClr val="bg1"/>
                          </a:solidFill>
                          <a:effectLst/>
                          <a:latin typeface="Arial" charset="0"/>
                          <a:ea typeface="Arial Unicode MS" pitchFamily="34" charset="-128"/>
                          <a:cs typeface="Arial Unicode MS" pitchFamily="34" charset="-128"/>
                        </a:rPr>
                        <a:t>By </a:t>
                      </a:r>
                      <a:r>
                        <a:rPr kumimoji="0" lang="en-GB" altLang="ja-JP" sz="900" b="1" i="0" u="none" strike="noStrike" kern="1200" cap="none" normalizeH="0" baseline="0" dirty="0" err="1">
                          <a:ln>
                            <a:noFill/>
                          </a:ln>
                          <a:solidFill>
                            <a:schemeClr val="bg1"/>
                          </a:solidFill>
                          <a:effectLst/>
                          <a:latin typeface="Arial" charset="0"/>
                          <a:ea typeface="Arial Unicode MS" pitchFamily="34" charset="-128"/>
                          <a:cs typeface="Arial Unicode MS" pitchFamily="34" charset="-128"/>
                        </a:rPr>
                        <a:t>Creditlift</a:t>
                      </a:r>
                      <a:endParaRPr kumimoji="0" lang="en-GB" altLang="ja-JP" sz="900" b="1" i="0" u="none" strike="noStrike" kern="1200" cap="none" normalizeH="0" baseline="0" dirty="0">
                        <a:ln>
                          <a:noFill/>
                        </a:ln>
                        <a:solidFill>
                          <a:schemeClr val="bg1"/>
                        </a:solidFill>
                        <a:effectLst/>
                        <a:latin typeface="Arial" charset="0"/>
                        <a:ea typeface="Arial Unicode MS" pitchFamily="34" charset="-128"/>
                        <a:cs typeface="Arial Unicode MS" pitchFamily="34" charset="-128"/>
                      </a:endParaRPr>
                    </a:p>
                    <a:p>
                      <a:endParaRPr lang="fr-FR" sz="900" dirty="0"/>
                    </a:p>
                  </a:txBody>
                  <a:tcPr>
                    <a:solidFill>
                      <a:srgbClr val="00644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Refinancing of existing unsecured consumer  loans and home loans (&lt;60% of total amount financed)</a:t>
                      </a:r>
                    </a:p>
                    <a:p>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Private individuals</a:t>
                      </a:r>
                    </a:p>
                    <a:p>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ixed</a:t>
                      </a:r>
                    </a:p>
                    <a:p>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Constant monthly instalments</a:t>
                      </a:r>
                    </a:p>
                    <a:p>
                      <a:endParaRPr lang="fr-FR" sz="900" dirty="0">
                        <a:solidFill>
                          <a:schemeClr val="tx1"/>
                        </a:solidFill>
                      </a:endParaRPr>
                    </a:p>
                  </a:txBody>
                  <a:tcPr/>
                </a:tc>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rom </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5,000</a:t>
                      </a:r>
                      <a:b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b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to</a:t>
                      </a:r>
                      <a:b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b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25,000</a:t>
                      </a:r>
                    </a:p>
                    <a:p>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 From 36 to 96</a:t>
                      </a:r>
                    </a:p>
                    <a:p>
                      <a:endParaRPr lang="fr-FR" sz="9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N/A</a:t>
                      </a:r>
                    </a:p>
                    <a:p>
                      <a:endParaRPr lang="fr-FR" sz="900" dirty="0">
                        <a:solidFill>
                          <a:schemeClr val="tx1"/>
                        </a:solidFill>
                      </a:endParaRPr>
                    </a:p>
                  </a:txBody>
                  <a:tcPr/>
                </a:tc>
                <a:extLst>
                  <a:ext uri="{0D108BD9-81ED-4DB2-BD59-A6C34878D82A}">
                    <a16:rowId xmlns:a16="http://schemas.microsoft.com/office/drawing/2014/main" val="226236593"/>
                  </a:ext>
                </a:extLst>
              </a:tr>
              <a:tr h="818680">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fr-FR" sz="900" b="1" i="0" u="none" strike="noStrike" kern="1200" cap="none" normalizeH="0" baseline="0" dirty="0">
                          <a:ln>
                            <a:noFill/>
                          </a:ln>
                          <a:solidFill>
                            <a:schemeClr val="bg1"/>
                          </a:solidFill>
                          <a:effectLst/>
                          <a:latin typeface="Arial" charset="0"/>
                          <a:ea typeface="Arial Unicode MS" pitchFamily="34" charset="-128"/>
                        </a:rPr>
                        <a:t>Sofinco </a:t>
                      </a:r>
                      <a:r>
                        <a:rPr kumimoji="0" lang="fr-FR" sz="900" b="1" i="0" u="none" strike="noStrike" kern="1200" cap="none" normalizeH="0" baseline="0" dirty="0" err="1">
                          <a:ln>
                            <a:noFill/>
                          </a:ln>
                          <a:solidFill>
                            <a:schemeClr val="bg1"/>
                          </a:solidFill>
                          <a:effectLst/>
                          <a:latin typeface="Arial" charset="0"/>
                          <a:ea typeface="Arial Unicode MS" pitchFamily="34" charset="-128"/>
                        </a:rPr>
                        <a:t>product</a:t>
                      </a:r>
                      <a:endParaRPr kumimoji="0" lang="fr-FR" sz="900" b="1" i="0" u="none" strike="noStrike" kern="1200" cap="none" normalizeH="0" baseline="0" dirty="0">
                        <a:ln>
                          <a:noFill/>
                        </a:ln>
                        <a:solidFill>
                          <a:schemeClr val="bg1"/>
                        </a:solidFill>
                        <a:effectLst/>
                        <a:latin typeface="Arial" charset="0"/>
                        <a:ea typeface="Arial Unicode MS" pitchFamily="34" charset="-128"/>
                      </a:endParaRPr>
                    </a:p>
                  </a:txBody>
                  <a:tcPr>
                    <a:solidFill>
                      <a:srgbClr val="006448"/>
                    </a:solidFill>
                  </a:tcPr>
                </a:tc>
                <a:tc>
                  <a:txBody>
                    <a:bodyPr/>
                    <a:lstStyle/>
                    <a:p>
                      <a:r>
                        <a:rPr lang="en-US" sz="900" dirty="0">
                          <a:solidFill>
                            <a:schemeClr val="tx1"/>
                          </a:solidFill>
                        </a:rPr>
                        <a:t>Refinancing of existing unsecured consumer  loans and home loans (&lt;60% of total amount financed)</a:t>
                      </a:r>
                    </a:p>
                    <a:p>
                      <a:endParaRPr lang="fr-FR" sz="900" dirty="0">
                        <a:solidFill>
                          <a:schemeClr val="tx1"/>
                        </a:solidFill>
                      </a:endParaRPr>
                    </a:p>
                  </a:txBody>
                  <a:tcPr/>
                </a:tc>
                <a:tc>
                  <a:txBody>
                    <a:bodyPr/>
                    <a:lstStyle/>
                    <a:p>
                      <a:r>
                        <a:rPr lang="fr-FR" sz="900" dirty="0" err="1">
                          <a:solidFill>
                            <a:schemeClr val="tx1"/>
                          </a:solidFill>
                        </a:rPr>
                        <a:t>Private</a:t>
                      </a:r>
                      <a:r>
                        <a:rPr lang="fr-FR" sz="900" dirty="0">
                          <a:solidFill>
                            <a:schemeClr val="tx1"/>
                          </a:solidFill>
                        </a:rPr>
                        <a:t> </a:t>
                      </a:r>
                      <a:r>
                        <a:rPr lang="fr-FR" sz="900" dirty="0" err="1">
                          <a:solidFill>
                            <a:schemeClr val="tx1"/>
                          </a:solidFill>
                        </a:rPr>
                        <a:t>individuals</a:t>
                      </a:r>
                      <a:endParaRPr lang="fr-FR" sz="900" dirty="0">
                        <a:solidFill>
                          <a:schemeClr val="tx1"/>
                        </a:solidFill>
                      </a:endParaRPr>
                    </a:p>
                    <a:p>
                      <a:endParaRPr lang="fr-FR" sz="900" dirty="0">
                        <a:solidFill>
                          <a:schemeClr val="tx1"/>
                        </a:solidFill>
                      </a:endParaRPr>
                    </a:p>
                  </a:txBody>
                  <a:tcPr/>
                </a:tc>
                <a:tc>
                  <a:txBody>
                    <a:bodyPr/>
                    <a:lstStyle/>
                    <a:p>
                      <a:r>
                        <a:rPr lang="fr-FR" sz="900" dirty="0" err="1">
                          <a:solidFill>
                            <a:schemeClr val="tx1"/>
                          </a:solidFill>
                        </a:rPr>
                        <a:t>Fixed</a:t>
                      </a:r>
                      <a:endParaRPr lang="fr-FR" sz="900" dirty="0">
                        <a:solidFill>
                          <a:schemeClr val="tx1"/>
                        </a:solidFill>
                      </a:endParaRPr>
                    </a:p>
                    <a:p>
                      <a:endParaRPr lang="fr-FR" sz="900" dirty="0">
                        <a:solidFill>
                          <a:schemeClr val="tx1"/>
                        </a:solidFill>
                      </a:endParaRPr>
                    </a:p>
                  </a:txBody>
                  <a:tcPr/>
                </a:tc>
                <a:tc>
                  <a:txBody>
                    <a:bodyPr/>
                    <a:lstStyle/>
                    <a:p>
                      <a:r>
                        <a:rPr lang="fr-FR" sz="900" dirty="0">
                          <a:solidFill>
                            <a:schemeClr val="tx1"/>
                          </a:solidFill>
                        </a:rPr>
                        <a:t>Constant </a:t>
                      </a:r>
                      <a:r>
                        <a:rPr lang="fr-FR" sz="900" dirty="0" err="1">
                          <a:solidFill>
                            <a:schemeClr val="tx1"/>
                          </a:solidFill>
                        </a:rPr>
                        <a:t>monthly</a:t>
                      </a:r>
                      <a:r>
                        <a:rPr lang="fr-FR" sz="900" dirty="0">
                          <a:solidFill>
                            <a:schemeClr val="tx1"/>
                          </a:solidFill>
                        </a:rPr>
                        <a:t> </a:t>
                      </a:r>
                      <a:r>
                        <a:rPr lang="fr-FR" sz="900" dirty="0" err="1">
                          <a:solidFill>
                            <a:schemeClr val="tx1"/>
                          </a:solidFill>
                        </a:rPr>
                        <a:t>instalments</a:t>
                      </a:r>
                      <a:endParaRPr lang="fr-FR" sz="900" dirty="0">
                        <a:solidFill>
                          <a:schemeClr val="tx1"/>
                        </a:solidFill>
                      </a:endParaRPr>
                    </a:p>
                    <a:p>
                      <a:endParaRPr lang="fr-FR" sz="900" dirty="0">
                        <a:solidFill>
                          <a:schemeClr val="tx1"/>
                        </a:solidFill>
                      </a:endParaRPr>
                    </a:p>
                  </a:txBody>
                  <a:tcPr/>
                </a:tc>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rom </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3,000 to</a:t>
                      </a:r>
                      <a:b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b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100,000€</a:t>
                      </a:r>
                      <a:endParaRPr lang="fr-FR" sz="900" dirty="0">
                        <a:solidFill>
                          <a:schemeClr val="tx1"/>
                        </a:solidFill>
                      </a:endParaRPr>
                    </a:p>
                  </a:txBody>
                  <a:tcPr/>
                </a:tc>
                <a:tc>
                  <a:txBody>
                    <a:bodyPr/>
                    <a:lstStyle/>
                    <a:p>
                      <a:r>
                        <a:rPr lang="fr-FR" sz="900" dirty="0" err="1">
                          <a:solidFill>
                            <a:schemeClr val="tx1"/>
                          </a:solidFill>
                        </a:rPr>
                        <a:t>From</a:t>
                      </a:r>
                      <a:r>
                        <a:rPr lang="fr-FR" sz="900" dirty="0">
                          <a:solidFill>
                            <a:schemeClr val="tx1"/>
                          </a:solidFill>
                        </a:rPr>
                        <a:t> 36 to 120</a:t>
                      </a:r>
                    </a:p>
                    <a:p>
                      <a:r>
                        <a:rPr lang="fr-FR" sz="900" dirty="0">
                          <a:solidFill>
                            <a:schemeClr val="tx1"/>
                          </a:solidFill>
                        </a:rPr>
                        <a:t>(36 to 144 </a:t>
                      </a:r>
                      <a:r>
                        <a:rPr lang="fr-FR" sz="900" dirty="0" err="1">
                          <a:solidFill>
                            <a:schemeClr val="tx1"/>
                          </a:solidFill>
                        </a:rPr>
                        <a:t>months</a:t>
                      </a:r>
                      <a:r>
                        <a:rPr lang="fr-FR" sz="900" dirty="0">
                          <a:solidFill>
                            <a:schemeClr val="tx1"/>
                          </a:solidFill>
                        </a:rPr>
                        <a:t> for </a:t>
                      </a:r>
                      <a:r>
                        <a:rPr lang="fr-FR" sz="900" dirty="0" err="1">
                          <a:solidFill>
                            <a:schemeClr val="tx1"/>
                          </a:solidFill>
                        </a:rPr>
                        <a:t>known</a:t>
                      </a:r>
                      <a:r>
                        <a:rPr lang="fr-FR" sz="900" dirty="0">
                          <a:solidFill>
                            <a:schemeClr val="tx1"/>
                          </a:solidFill>
                        </a:rPr>
                        <a:t> clien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N/A</a:t>
                      </a:r>
                    </a:p>
                    <a:p>
                      <a:endParaRPr lang="fr-FR" sz="900" dirty="0">
                        <a:solidFill>
                          <a:schemeClr val="tx1"/>
                        </a:solidFill>
                      </a:endParaRPr>
                    </a:p>
                  </a:txBody>
                  <a:tcPr/>
                </a:tc>
                <a:extLst>
                  <a:ext uri="{0D108BD9-81ED-4DB2-BD59-A6C34878D82A}">
                    <a16:rowId xmlns:a16="http://schemas.microsoft.com/office/drawing/2014/main" val="1728991994"/>
                  </a:ext>
                </a:extLst>
              </a:tr>
            </a:tbl>
          </a:graphicData>
        </a:graphic>
      </p:graphicFrame>
    </p:spTree>
    <p:extLst>
      <p:ext uri="{BB962C8B-B14F-4D97-AF65-F5344CB8AC3E}">
        <p14:creationId xmlns:p14="http://schemas.microsoft.com/office/powerpoint/2010/main" val="7433903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608" y="173627"/>
            <a:ext cx="7997742" cy="568709"/>
          </a:xfrm>
        </p:spPr>
        <p:txBody>
          <a:bodyPr/>
          <a:lstStyle/>
          <a:p>
            <a:r>
              <a:rPr lang="fr-FR" sz="1800" dirty="0">
                <a:solidFill>
                  <a:schemeClr val="tx1"/>
                </a:solidFill>
              </a:rPr>
              <a:t>Product </a:t>
            </a:r>
            <a:r>
              <a:rPr lang="fr-FR" sz="1800" dirty="0" err="1">
                <a:solidFill>
                  <a:schemeClr val="tx1"/>
                </a:solidFill>
              </a:rPr>
              <a:t>Terms</a:t>
            </a:r>
            <a:r>
              <a:rPr lang="fr-FR" sz="1800" dirty="0">
                <a:solidFill>
                  <a:schemeClr val="tx1"/>
                </a:solidFill>
              </a:rPr>
              <a:t> « </a:t>
            </a:r>
            <a:r>
              <a:rPr lang="fr-FR" sz="1800" dirty="0" err="1">
                <a:solidFill>
                  <a:schemeClr val="tx1"/>
                </a:solidFill>
              </a:rPr>
              <a:t>secured</a:t>
            </a:r>
            <a:r>
              <a:rPr lang="fr-FR" sz="1800" dirty="0">
                <a:solidFill>
                  <a:schemeClr val="tx1"/>
                </a:solidFill>
              </a:rPr>
              <a:t> »</a:t>
            </a:r>
            <a:br>
              <a:rPr lang="fr-FR" sz="1800" dirty="0">
                <a:solidFill>
                  <a:schemeClr val="tx1"/>
                </a:solidFill>
              </a:rPr>
            </a:br>
            <a:r>
              <a:rPr lang="fr-FR" sz="1800" dirty="0" err="1">
                <a:solidFill>
                  <a:schemeClr val="bg1">
                    <a:lumMod val="65000"/>
                  </a:schemeClr>
                </a:solidFill>
              </a:rPr>
              <a:t>Characteristics</a:t>
            </a:r>
            <a:endParaRPr lang="en-US" sz="1800" dirty="0">
              <a:solidFill>
                <a:schemeClr val="bg1">
                  <a:lumMod val="65000"/>
                </a:schemeClr>
              </a:solidFill>
            </a:endParaRPr>
          </a:p>
        </p:txBody>
      </p:sp>
      <p:sp>
        <p:nvSpPr>
          <p:cNvPr id="7" name="Slide Number Placeholder 3"/>
          <p:cNvSpPr>
            <a:spLocks noGrp="1"/>
          </p:cNvSpPr>
          <p:nvPr>
            <p:ph type="sldNum" sz="quarter" idx="19"/>
          </p:nvPr>
        </p:nvSpPr>
        <p:spPr>
          <a:xfrm>
            <a:off x="8607765" y="4846821"/>
            <a:ext cx="525046" cy="304373"/>
          </a:xfrm>
        </p:spPr>
        <p:txBody>
          <a:bodyPr>
            <a:normAutofit/>
          </a:bodyPr>
          <a:lstStyle/>
          <a:p>
            <a:pPr defTabSz="457178"/>
            <a:fld id="{98BD2159-827C-4021-9B0E-DCD852BEB59E}" type="slidenum">
              <a:rPr lang="en-GB">
                <a:solidFill>
                  <a:prstClr val="white"/>
                </a:solidFill>
                <a:latin typeface="Avenir Next LT Pro"/>
              </a:rPr>
              <a:pPr defTabSz="457178"/>
              <a:t>16</a:t>
            </a:fld>
            <a:endParaRPr lang="en-GB" dirty="0">
              <a:solidFill>
                <a:prstClr val="white"/>
              </a:solidFill>
              <a:latin typeface="Avenir Next LT Pro"/>
            </a:endParaRPr>
          </a:p>
        </p:txBody>
      </p:sp>
      <p:graphicFrame>
        <p:nvGraphicFramePr>
          <p:cNvPr id="6" name="Tableau 4">
            <a:extLst>
              <a:ext uri="{FF2B5EF4-FFF2-40B4-BE49-F238E27FC236}">
                <a16:creationId xmlns:a16="http://schemas.microsoft.com/office/drawing/2014/main" id="{23230CFC-8ACB-43B1-A72A-4BF02E510C11}"/>
              </a:ext>
            </a:extLst>
          </p:cNvPr>
          <p:cNvGraphicFramePr>
            <a:graphicFrameLocks noGrp="1"/>
          </p:cNvGraphicFramePr>
          <p:nvPr>
            <p:extLst>
              <p:ext uri="{D42A27DB-BD31-4B8C-83A1-F6EECF244321}">
                <p14:modId xmlns:p14="http://schemas.microsoft.com/office/powerpoint/2010/main" val="2380495864"/>
              </p:ext>
            </p:extLst>
          </p:nvPr>
        </p:nvGraphicFramePr>
        <p:xfrm>
          <a:off x="424070" y="791115"/>
          <a:ext cx="7166912" cy="4236720"/>
        </p:xfrm>
        <a:graphic>
          <a:graphicData uri="http://schemas.openxmlformats.org/drawingml/2006/table">
            <a:tbl>
              <a:tblPr firstRow="1" bandRow="1">
                <a:tableStyleId>{7DF18680-E054-41AD-8BC1-D1AEF772440D}</a:tableStyleId>
              </a:tblPr>
              <a:tblGrid>
                <a:gridCol w="1296711">
                  <a:extLst>
                    <a:ext uri="{9D8B030D-6E8A-4147-A177-3AD203B41FA5}">
                      <a16:colId xmlns:a16="http://schemas.microsoft.com/office/drawing/2014/main" val="1382536831"/>
                    </a:ext>
                  </a:extLst>
                </a:gridCol>
                <a:gridCol w="1133510">
                  <a:extLst>
                    <a:ext uri="{9D8B030D-6E8A-4147-A177-3AD203B41FA5}">
                      <a16:colId xmlns:a16="http://schemas.microsoft.com/office/drawing/2014/main" val="2508559"/>
                    </a:ext>
                  </a:extLst>
                </a:gridCol>
                <a:gridCol w="809160">
                  <a:extLst>
                    <a:ext uri="{9D8B030D-6E8A-4147-A177-3AD203B41FA5}">
                      <a16:colId xmlns:a16="http://schemas.microsoft.com/office/drawing/2014/main" val="3111167995"/>
                    </a:ext>
                  </a:extLst>
                </a:gridCol>
                <a:gridCol w="519750">
                  <a:extLst>
                    <a:ext uri="{9D8B030D-6E8A-4147-A177-3AD203B41FA5}">
                      <a16:colId xmlns:a16="http://schemas.microsoft.com/office/drawing/2014/main" val="3703271876"/>
                    </a:ext>
                  </a:extLst>
                </a:gridCol>
                <a:gridCol w="672212">
                  <a:extLst>
                    <a:ext uri="{9D8B030D-6E8A-4147-A177-3AD203B41FA5}">
                      <a16:colId xmlns:a16="http://schemas.microsoft.com/office/drawing/2014/main" val="4278229091"/>
                    </a:ext>
                  </a:extLst>
                </a:gridCol>
                <a:gridCol w="817741">
                  <a:extLst>
                    <a:ext uri="{9D8B030D-6E8A-4147-A177-3AD203B41FA5}">
                      <a16:colId xmlns:a16="http://schemas.microsoft.com/office/drawing/2014/main" val="1288403478"/>
                    </a:ext>
                  </a:extLst>
                </a:gridCol>
                <a:gridCol w="1164237">
                  <a:extLst>
                    <a:ext uri="{9D8B030D-6E8A-4147-A177-3AD203B41FA5}">
                      <a16:colId xmlns:a16="http://schemas.microsoft.com/office/drawing/2014/main" val="567832545"/>
                    </a:ext>
                  </a:extLst>
                </a:gridCol>
                <a:gridCol w="753591">
                  <a:extLst>
                    <a:ext uri="{9D8B030D-6E8A-4147-A177-3AD203B41FA5}">
                      <a16:colId xmlns:a16="http://schemas.microsoft.com/office/drawing/2014/main" val="2046812532"/>
                    </a:ext>
                  </a:extLst>
                </a:gridCol>
              </a:tblGrid>
              <a:tr h="5477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Product Type</a:t>
                      </a:r>
                    </a:p>
                    <a:p>
                      <a:pPr algn="ctr"/>
                      <a:endParaRPr lang="fr-FR" sz="800" dirty="0"/>
                    </a:p>
                  </a:txBody>
                  <a:tcPr>
                    <a:solidFill>
                      <a:srgbClr val="00644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Use</a:t>
                      </a:r>
                    </a:p>
                    <a:p>
                      <a:pPr algn="ctr"/>
                      <a:endParaRPr lang="fr-FR" sz="800" dirty="0"/>
                    </a:p>
                  </a:txBody>
                  <a:tcPr>
                    <a:solidFill>
                      <a:srgbClr val="00644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Borrowers</a:t>
                      </a:r>
                    </a:p>
                    <a:p>
                      <a:pPr algn="ctr"/>
                      <a:endParaRPr lang="fr-FR" sz="800" dirty="0"/>
                    </a:p>
                  </a:txBody>
                  <a:tcPr>
                    <a:solidFill>
                      <a:srgbClr val="006448"/>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Rate Type</a:t>
                      </a:r>
                    </a:p>
                  </a:txBody>
                  <a:tcPr marL="78000" marR="78000" marT="36000" marB="36000" anchor="ctr" anchorCtr="1" horzOverflow="overflow">
                    <a:solidFill>
                      <a:srgbClr val="006448"/>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Amortisation Type</a:t>
                      </a:r>
                    </a:p>
                  </a:txBody>
                  <a:tcPr marL="78000" marR="78000" marT="36000" marB="36000" anchor="ctr" anchorCtr="1" horzOverflow="overflow">
                    <a:solidFill>
                      <a:srgbClr val="006448"/>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Loan Amount</a:t>
                      </a:r>
                    </a:p>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EUR)</a:t>
                      </a:r>
                    </a:p>
                    <a:p>
                      <a:pPr algn="ctr"/>
                      <a:endParaRPr lang="fr-FR" sz="800" dirty="0"/>
                    </a:p>
                  </a:txBody>
                  <a:tcPr>
                    <a:solidFill>
                      <a:srgbClr val="006448"/>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Original maturity</a:t>
                      </a:r>
                    </a:p>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 of monthly instalments) </a:t>
                      </a:r>
                      <a:endParaRPr kumimoji="0" lang="en-GB" sz="800" b="1" i="0" u="none" strike="noStrike" cap="none" normalizeH="0" baseline="30000" dirty="0">
                        <a:ln>
                          <a:noFill/>
                        </a:ln>
                        <a:solidFill>
                          <a:schemeClr val="bg1"/>
                        </a:solidFill>
                        <a:effectLst/>
                        <a:latin typeface="Arial" charset="0"/>
                        <a:ea typeface="Arial Unicode MS" pitchFamily="34" charset="-128"/>
                        <a:cs typeface="Arial Unicode MS" pitchFamily="34" charset="-128"/>
                      </a:endParaRPr>
                    </a:p>
                    <a:p>
                      <a:pPr algn="ctr"/>
                      <a:endParaRPr lang="fr-FR" sz="800" dirty="0"/>
                    </a:p>
                  </a:txBody>
                  <a:tcPr>
                    <a:solidFill>
                      <a:srgbClr val="00644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solidFill>
                            <a:schemeClr val="bg1"/>
                          </a:solidFill>
                          <a:effectLst/>
                          <a:latin typeface="Arial" charset="0"/>
                          <a:ea typeface="Arial Unicode MS" pitchFamily="34" charset="-128"/>
                          <a:cs typeface="Arial Unicode MS" pitchFamily="34" charset="-128"/>
                        </a:rPr>
                        <a:t>Security interest </a:t>
                      </a:r>
                    </a:p>
                    <a:p>
                      <a:pPr algn="ctr"/>
                      <a:endParaRPr lang="fr-FR" sz="800" dirty="0"/>
                    </a:p>
                  </a:txBody>
                  <a:tcPr>
                    <a:solidFill>
                      <a:srgbClr val="006448"/>
                    </a:solidFill>
                  </a:tcPr>
                </a:tc>
                <a:extLst>
                  <a:ext uri="{0D108BD9-81ED-4DB2-BD59-A6C34878D82A}">
                    <a16:rowId xmlns:a16="http://schemas.microsoft.com/office/drawing/2014/main" val="681148066"/>
                  </a:ext>
                </a:extLst>
              </a:tr>
              <a:tr h="778419">
                <a:tc>
                  <a:txBody>
                    <a:bodyPr/>
                    <a:lstStyle/>
                    <a:p>
                      <a:pPr marL="0" marR="0" lvl="0" indent="0" algn="ctr" defTabSz="914400" rtl="0" eaLnBrk="0" fontAlgn="base" latinLnBrk="0" hangingPunct="0">
                        <a:lnSpc>
                          <a:spcPct val="100000"/>
                        </a:lnSpc>
                        <a:spcBef>
                          <a:spcPct val="0"/>
                        </a:spcBef>
                        <a:spcAft>
                          <a:spcPct val="0"/>
                        </a:spcAft>
                        <a:buClr>
                          <a:schemeClr val="bg1"/>
                        </a:buClr>
                        <a:buSzTx/>
                        <a:buFont typeface="Wingdings" pitchFamily="2" charset="2"/>
                        <a:buNone/>
                        <a:tabLst/>
                      </a:pPr>
                      <a:r>
                        <a:rPr kumimoji="0" lang="en-GB" altLang="ja-JP" sz="800" b="1" i="0" u="none" strike="noStrike" cap="none" normalizeH="0" baseline="0" dirty="0">
                          <a:ln>
                            <a:noFill/>
                          </a:ln>
                          <a:solidFill>
                            <a:schemeClr val="bg1"/>
                          </a:solidFill>
                          <a:effectLst/>
                          <a:latin typeface="Arial" charset="0"/>
                          <a:ea typeface="Arial Unicode MS" pitchFamily="34" charset="-128"/>
                          <a:cs typeface="Arial" charset="0"/>
                        </a:rPr>
                        <a:t>“</a:t>
                      </a:r>
                      <a:r>
                        <a:rPr kumimoji="0" lang="en-GB" altLang="ja-JP" sz="800" b="1" i="0" u="none" strike="noStrike" cap="none" normalizeH="0" baseline="0" dirty="0" err="1">
                          <a:ln>
                            <a:noFill/>
                          </a:ln>
                          <a:solidFill>
                            <a:schemeClr val="bg1"/>
                          </a:solidFill>
                          <a:effectLst/>
                          <a:latin typeface="Arial" charset="0"/>
                          <a:ea typeface="Arial Unicode MS" pitchFamily="34" charset="-128"/>
                          <a:cs typeface="Arial" charset="0"/>
                        </a:rPr>
                        <a:t>Hypolift</a:t>
                      </a:r>
                      <a:r>
                        <a:rPr kumimoji="0" lang="en-GB" altLang="ja-JP" sz="800" b="1" i="0" u="none" strike="noStrike" cap="none" normalizeH="0" baseline="0" dirty="0">
                          <a:ln>
                            <a:noFill/>
                          </a:ln>
                          <a:solidFill>
                            <a:schemeClr val="bg1"/>
                          </a:solidFill>
                          <a:effectLst/>
                          <a:latin typeface="Arial" charset="0"/>
                          <a:ea typeface="Arial Unicode MS" pitchFamily="34" charset="-128"/>
                          <a:cs typeface="Arial" charset="0"/>
                        </a:rPr>
                        <a:t> </a:t>
                      </a:r>
                      <a:r>
                        <a:rPr kumimoji="0" lang="en-GB" altLang="ja-JP" sz="800" b="1" i="0" u="none" strike="noStrike" cap="none" normalizeH="0" baseline="0" dirty="0" err="1">
                          <a:ln>
                            <a:noFill/>
                          </a:ln>
                          <a:solidFill>
                            <a:schemeClr val="bg1"/>
                          </a:solidFill>
                          <a:effectLst/>
                          <a:latin typeface="Arial" charset="0"/>
                          <a:ea typeface="Arial Unicode MS" pitchFamily="34" charset="-128"/>
                          <a:cs typeface="Arial" charset="0"/>
                        </a:rPr>
                        <a:t>conso</a:t>
                      </a:r>
                      <a:r>
                        <a:rPr kumimoji="0" lang="en-GB" altLang="ja-JP" sz="800" b="1" i="0" u="none" strike="noStrike" cap="none" normalizeH="0" baseline="0" dirty="0">
                          <a:ln>
                            <a:noFill/>
                          </a:ln>
                          <a:solidFill>
                            <a:schemeClr val="bg1"/>
                          </a:solidFill>
                          <a:effectLst/>
                          <a:latin typeface="Arial" charset="0"/>
                          <a:ea typeface="Arial Unicode MS" pitchFamily="34" charset="-128"/>
                          <a:cs typeface="Arial" charset="0"/>
                        </a:rPr>
                        <a:t>”</a:t>
                      </a:r>
                    </a:p>
                    <a:p>
                      <a:pPr marL="0" marR="0" lvl="0" indent="0" algn="ctr" defTabSz="914400" rtl="0" eaLnBrk="0" fontAlgn="base" latinLnBrk="0" hangingPunct="0">
                        <a:lnSpc>
                          <a:spcPct val="100000"/>
                        </a:lnSpc>
                        <a:spcBef>
                          <a:spcPct val="0"/>
                        </a:spcBef>
                        <a:spcAft>
                          <a:spcPct val="0"/>
                        </a:spcAft>
                        <a:buClr>
                          <a:schemeClr val="bg1"/>
                        </a:buClr>
                        <a:buSzTx/>
                        <a:buFont typeface="Wingdings" pitchFamily="2" charset="2"/>
                        <a:buNone/>
                        <a:tabLst/>
                      </a:pPr>
                      <a:r>
                        <a:rPr kumimoji="0" lang="en-GB" altLang="ja-JP" sz="800" b="1" i="0" u="none" strike="noStrike" cap="none" normalizeH="0" baseline="0" dirty="0">
                          <a:ln>
                            <a:noFill/>
                          </a:ln>
                          <a:solidFill>
                            <a:schemeClr val="bg1"/>
                          </a:solidFill>
                          <a:effectLst/>
                          <a:latin typeface="Arial" charset="0"/>
                          <a:ea typeface="Arial Unicode MS" pitchFamily="34" charset="-128"/>
                          <a:cs typeface="Arial" charset="0"/>
                        </a:rPr>
                        <a:t>by </a:t>
                      </a:r>
                      <a:r>
                        <a:rPr kumimoji="0" lang="en-GB" altLang="ja-JP" sz="800" b="1" i="0" u="none" strike="noStrike" cap="none" normalizeH="0" baseline="0" dirty="0" err="1">
                          <a:ln>
                            <a:noFill/>
                          </a:ln>
                          <a:solidFill>
                            <a:schemeClr val="bg1"/>
                          </a:solidFill>
                          <a:effectLst/>
                          <a:latin typeface="Arial" charset="0"/>
                          <a:ea typeface="Arial Unicode MS" pitchFamily="34" charset="-128"/>
                          <a:cs typeface="Arial" charset="0"/>
                        </a:rPr>
                        <a:t>Creditlift</a:t>
                      </a:r>
                      <a:endParaRPr kumimoji="0" lang="en-GB" altLang="ja-JP" sz="800" b="1" i="0" u="none" strike="noStrike" cap="none" normalizeH="0" baseline="0" dirty="0">
                        <a:ln>
                          <a:noFill/>
                        </a:ln>
                        <a:solidFill>
                          <a:schemeClr val="bg1"/>
                        </a:solidFill>
                        <a:effectLst/>
                        <a:latin typeface="Arial" charset="0"/>
                        <a:ea typeface="Arial Unicode MS" pitchFamily="34" charset="-128"/>
                        <a:cs typeface="Arial" charset="0"/>
                      </a:endParaRPr>
                    </a:p>
                    <a:p>
                      <a:pPr algn="ctr"/>
                      <a:r>
                        <a:rPr lang="fr-FR" sz="800" dirty="0"/>
                        <a:t> </a:t>
                      </a:r>
                    </a:p>
                  </a:txBody>
                  <a:tcPr>
                    <a:solidFill>
                      <a:srgbClr val="00644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Refinancing of existing unsecured consumer  loans and home loans (&lt;60% of total amount financed)</a:t>
                      </a:r>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Private individuals</a:t>
                      </a:r>
                    </a:p>
                    <a:p>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ixed</a:t>
                      </a:r>
                    </a:p>
                    <a:p>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Constant monthly instalments</a:t>
                      </a:r>
                    </a:p>
                    <a:p>
                      <a:endParaRPr lang="fr-FR" sz="800" dirty="0">
                        <a:solidFill>
                          <a:schemeClr val="tx1"/>
                        </a:solidFill>
                      </a:endParaRPr>
                    </a:p>
                  </a:txBody>
                  <a:tcPr/>
                </a:tc>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rom </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45,000 </a:t>
                      </a:r>
                      <a:b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br>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 From 60 to 300</a:t>
                      </a:r>
                    </a:p>
                    <a:p>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irst or second rank mortgage</a:t>
                      </a:r>
                      <a:endParaRPr lang="fr-FR" sz="800" dirty="0">
                        <a:solidFill>
                          <a:schemeClr val="tx1"/>
                        </a:solidFill>
                      </a:endParaRPr>
                    </a:p>
                  </a:txBody>
                  <a:tcPr/>
                </a:tc>
                <a:extLst>
                  <a:ext uri="{0D108BD9-81ED-4DB2-BD59-A6C34878D82A}">
                    <a16:rowId xmlns:a16="http://schemas.microsoft.com/office/drawing/2014/main" val="498031011"/>
                  </a:ext>
                </a:extLst>
              </a:tr>
              <a:tr h="893741">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en-GB" altLang="ja-JP" sz="800" b="1" i="0" u="none" strike="noStrike" kern="1200" cap="none" normalizeH="0" baseline="0" dirty="0">
                          <a:ln>
                            <a:noFill/>
                          </a:ln>
                          <a:solidFill>
                            <a:schemeClr val="bg1"/>
                          </a:solidFill>
                          <a:effectLst/>
                          <a:latin typeface="Arial" charset="0"/>
                          <a:ea typeface="Arial Unicode MS" pitchFamily="34" charset="-128"/>
                          <a:cs typeface="Arial Unicode MS" pitchFamily="34" charset="-128"/>
                        </a:rPr>
                        <a:t>“</a:t>
                      </a:r>
                      <a:r>
                        <a:rPr kumimoji="0" lang="en-GB" altLang="ja-JP" sz="800" b="1" i="0" u="none" strike="noStrike" kern="1200" cap="none" normalizeH="0" baseline="0" dirty="0" err="1">
                          <a:ln>
                            <a:noFill/>
                          </a:ln>
                          <a:solidFill>
                            <a:schemeClr val="bg1"/>
                          </a:solidFill>
                          <a:effectLst/>
                          <a:latin typeface="Arial" charset="0"/>
                          <a:ea typeface="Arial Unicode MS" pitchFamily="34" charset="-128"/>
                          <a:cs typeface="Arial Unicode MS" pitchFamily="34" charset="-128"/>
                        </a:rPr>
                        <a:t>Hypolift</a:t>
                      </a:r>
                      <a:r>
                        <a:rPr kumimoji="0" lang="en-GB" altLang="ja-JP" sz="800" b="1" i="0" u="none" strike="noStrike" kern="1200" cap="none" normalizeH="0" baseline="0" dirty="0">
                          <a:ln>
                            <a:noFill/>
                          </a:ln>
                          <a:solidFill>
                            <a:schemeClr val="bg1"/>
                          </a:solidFill>
                          <a:effectLst/>
                          <a:latin typeface="Arial" charset="0"/>
                          <a:ea typeface="Arial Unicode MS" pitchFamily="34" charset="-128"/>
                          <a:cs typeface="Arial Unicode MS" pitchFamily="34" charset="-128"/>
                        </a:rPr>
                        <a:t> </a:t>
                      </a:r>
                      <a:r>
                        <a:rPr kumimoji="0" lang="en-GB" altLang="ja-JP" sz="800" b="1" i="0" u="none" strike="noStrike" kern="1200" cap="none" normalizeH="0" baseline="0" dirty="0" err="1">
                          <a:ln>
                            <a:noFill/>
                          </a:ln>
                          <a:solidFill>
                            <a:schemeClr val="bg1"/>
                          </a:solidFill>
                          <a:effectLst/>
                          <a:latin typeface="Arial" charset="0"/>
                          <a:ea typeface="Arial Unicode MS" pitchFamily="34" charset="-128"/>
                          <a:cs typeface="Arial Unicode MS" pitchFamily="34" charset="-128"/>
                        </a:rPr>
                        <a:t>Immo</a:t>
                      </a:r>
                      <a:r>
                        <a:rPr kumimoji="0" lang="en-GB" altLang="ja-JP" sz="800" b="1" i="0" u="none" strike="noStrike" kern="1200" cap="none" normalizeH="0" baseline="0" dirty="0">
                          <a:ln>
                            <a:noFill/>
                          </a:ln>
                          <a:solidFill>
                            <a:schemeClr val="bg1"/>
                          </a:solidFill>
                          <a:effectLst/>
                          <a:latin typeface="Arial" charset="0"/>
                          <a:ea typeface="Arial Unicode MS" pitchFamily="34" charset="-128"/>
                          <a:cs typeface="Arial Unicode MS" pitchFamily="34" charset="-128"/>
                        </a:rPr>
                        <a:t>”</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en-GB" altLang="ja-JP" sz="800" b="1" i="0" u="none" strike="noStrike" kern="1200" cap="none" normalizeH="0" baseline="0" dirty="0">
                          <a:ln>
                            <a:noFill/>
                          </a:ln>
                          <a:solidFill>
                            <a:schemeClr val="bg1"/>
                          </a:solidFill>
                          <a:effectLst/>
                          <a:latin typeface="Arial" charset="0"/>
                          <a:ea typeface="Arial Unicode MS" pitchFamily="34" charset="-128"/>
                          <a:cs typeface="Arial Unicode MS" pitchFamily="34" charset="-128"/>
                        </a:rPr>
                        <a:t>by </a:t>
                      </a:r>
                      <a:r>
                        <a:rPr kumimoji="0" lang="en-GB" altLang="ja-JP" sz="800" b="1" i="0" u="none" strike="noStrike" kern="1200" cap="none" normalizeH="0" baseline="0" dirty="0" err="1">
                          <a:ln>
                            <a:noFill/>
                          </a:ln>
                          <a:solidFill>
                            <a:schemeClr val="bg1"/>
                          </a:solidFill>
                          <a:effectLst/>
                          <a:latin typeface="Arial" charset="0"/>
                          <a:ea typeface="Arial Unicode MS" pitchFamily="34" charset="-128"/>
                          <a:cs typeface="Arial Unicode MS" pitchFamily="34" charset="-128"/>
                        </a:rPr>
                        <a:t>Creditlift</a:t>
                      </a:r>
                      <a:endParaRPr kumimoji="0" lang="en-GB" altLang="ja-JP" sz="800" b="1" i="0" u="none" strike="noStrike" kern="1200" cap="none" normalizeH="0" baseline="0" dirty="0">
                        <a:ln>
                          <a:noFill/>
                        </a:ln>
                        <a:solidFill>
                          <a:schemeClr val="bg1"/>
                        </a:solidFill>
                        <a:effectLst/>
                        <a:latin typeface="Arial" charset="0"/>
                        <a:ea typeface="Arial Unicode MS" pitchFamily="34" charset="-128"/>
                        <a:cs typeface="Arial Unicode MS" pitchFamily="34" charset="-128"/>
                      </a:endParaRPr>
                    </a:p>
                    <a:p>
                      <a:endParaRPr lang="fr-FR" sz="800" dirty="0"/>
                    </a:p>
                  </a:txBody>
                  <a:tcPr>
                    <a:solidFill>
                      <a:srgbClr val="006448"/>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Refinancing of existing unsecured consumer  loans and home loans (&gt;60% of total amount financed)</a:t>
                      </a:r>
                      <a:endParaRPr lang="fr-FR" sz="800" dirty="0">
                        <a:solidFill>
                          <a:schemeClr val="tx1"/>
                        </a:solidFill>
                      </a:endParaRPr>
                    </a:p>
                    <a:p>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Private individuals</a:t>
                      </a:r>
                    </a:p>
                    <a:p>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ixed</a:t>
                      </a:r>
                    </a:p>
                    <a:p>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Constant monthly instalments</a:t>
                      </a:r>
                    </a:p>
                    <a:p>
                      <a:endParaRPr lang="fr-FR" sz="800" dirty="0">
                        <a:solidFill>
                          <a:schemeClr val="tx1"/>
                        </a:solidFill>
                      </a:endParaRPr>
                    </a:p>
                  </a:txBody>
                  <a:tcPr/>
                </a:tc>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rom </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120,000</a:t>
                      </a:r>
                      <a:b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br>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 From 120 to 300</a:t>
                      </a:r>
                    </a:p>
                    <a:p>
                      <a:endParaRPr lang="fr-FR" sz="8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irst rank mortgage</a:t>
                      </a:r>
                      <a:endParaRPr lang="fr-FR" sz="800" dirty="0">
                        <a:solidFill>
                          <a:schemeClr val="tx1"/>
                        </a:solidFill>
                      </a:endParaRPr>
                    </a:p>
                  </a:txBody>
                  <a:tcPr/>
                </a:tc>
                <a:extLst>
                  <a:ext uri="{0D108BD9-81ED-4DB2-BD59-A6C34878D82A}">
                    <a16:rowId xmlns:a16="http://schemas.microsoft.com/office/drawing/2014/main" val="226236593"/>
                  </a:ext>
                </a:extLst>
              </a:tr>
              <a:tr h="893741">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fr-FR" sz="800" b="1" i="0" u="none" strike="noStrike" kern="1200" cap="none" normalizeH="0" baseline="0" dirty="0" err="1">
                          <a:ln>
                            <a:noFill/>
                          </a:ln>
                          <a:solidFill>
                            <a:schemeClr val="bg1"/>
                          </a:solidFill>
                          <a:effectLst/>
                          <a:latin typeface="Arial" charset="0"/>
                          <a:ea typeface="Arial Unicode MS" pitchFamily="34" charset="-128"/>
                        </a:rPr>
                        <a:t>Cautiolift</a:t>
                      </a:r>
                      <a:r>
                        <a:rPr kumimoji="0" lang="fr-FR" sz="800" b="1" i="0" u="none" strike="noStrike" kern="1200" cap="none" normalizeH="0" baseline="0" dirty="0">
                          <a:ln>
                            <a:noFill/>
                          </a:ln>
                          <a:solidFill>
                            <a:schemeClr val="bg1"/>
                          </a:solidFill>
                          <a:effectLst/>
                          <a:latin typeface="Arial" charset="0"/>
                          <a:ea typeface="Arial Unicode MS" pitchFamily="34" charset="-128"/>
                        </a:rPr>
                        <a:t> conso</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fr-FR" sz="800" b="1" i="0" u="none" strike="noStrike" kern="1200" cap="none" normalizeH="0" baseline="0" dirty="0">
                          <a:ln>
                            <a:noFill/>
                          </a:ln>
                          <a:solidFill>
                            <a:schemeClr val="bg1"/>
                          </a:solidFill>
                          <a:effectLst/>
                          <a:latin typeface="Arial" charset="0"/>
                          <a:ea typeface="Arial Unicode MS" pitchFamily="34" charset="-128"/>
                        </a:rPr>
                        <a:t>by </a:t>
                      </a:r>
                      <a:r>
                        <a:rPr kumimoji="0" lang="fr-FR" sz="800" b="1" i="0" u="none" strike="noStrike" kern="1200" cap="none" normalizeH="0" baseline="0" dirty="0" err="1">
                          <a:ln>
                            <a:noFill/>
                          </a:ln>
                          <a:solidFill>
                            <a:schemeClr val="bg1"/>
                          </a:solidFill>
                          <a:effectLst/>
                          <a:latin typeface="Arial" charset="0"/>
                          <a:ea typeface="Arial Unicode MS" pitchFamily="34" charset="-128"/>
                        </a:rPr>
                        <a:t>Creditlift</a:t>
                      </a:r>
                      <a:endParaRPr kumimoji="0" lang="fr-FR" sz="800" b="1" i="0" u="none" strike="noStrike" kern="1200" cap="none" normalizeH="0" baseline="0" dirty="0">
                        <a:ln>
                          <a:noFill/>
                        </a:ln>
                        <a:solidFill>
                          <a:schemeClr val="bg1"/>
                        </a:solidFill>
                        <a:effectLst/>
                        <a:latin typeface="Arial" charset="0"/>
                        <a:ea typeface="Arial Unicode MS" pitchFamily="34" charset="-128"/>
                      </a:endParaRPr>
                    </a:p>
                  </a:txBody>
                  <a:tcPr>
                    <a:solidFill>
                      <a:srgbClr val="006448"/>
                    </a:solidFill>
                  </a:tcPr>
                </a:tc>
                <a:tc>
                  <a:txBody>
                    <a:bodyPr/>
                    <a:lstStyle/>
                    <a:p>
                      <a:r>
                        <a:rPr lang="en-US" sz="800" dirty="0">
                          <a:solidFill>
                            <a:schemeClr val="tx1"/>
                          </a:solidFill>
                        </a:rPr>
                        <a:t>Refinancing of existing unsecured consumer  loans and home loans (&lt;60% of total amount financed)</a:t>
                      </a:r>
                    </a:p>
                    <a:p>
                      <a:endParaRPr lang="fr-FR" sz="800" dirty="0">
                        <a:solidFill>
                          <a:schemeClr val="tx1"/>
                        </a:solidFill>
                      </a:endParaRPr>
                    </a:p>
                  </a:txBody>
                  <a:tcPr/>
                </a:tc>
                <a:tc>
                  <a:txBody>
                    <a:bodyPr/>
                    <a:lstStyle/>
                    <a:p>
                      <a:r>
                        <a:rPr lang="fr-FR" sz="800" dirty="0" err="1">
                          <a:solidFill>
                            <a:schemeClr val="tx1"/>
                          </a:solidFill>
                        </a:rPr>
                        <a:t>Private</a:t>
                      </a:r>
                      <a:r>
                        <a:rPr lang="fr-FR" sz="800" dirty="0">
                          <a:solidFill>
                            <a:schemeClr val="tx1"/>
                          </a:solidFill>
                        </a:rPr>
                        <a:t> </a:t>
                      </a:r>
                      <a:r>
                        <a:rPr lang="fr-FR" sz="800" dirty="0" err="1">
                          <a:solidFill>
                            <a:schemeClr val="tx1"/>
                          </a:solidFill>
                        </a:rPr>
                        <a:t>individuals</a:t>
                      </a:r>
                      <a:endParaRPr lang="fr-FR" sz="800" dirty="0">
                        <a:solidFill>
                          <a:schemeClr val="tx1"/>
                        </a:solidFill>
                      </a:endParaRPr>
                    </a:p>
                    <a:p>
                      <a:endParaRPr lang="fr-FR" sz="800" dirty="0">
                        <a:solidFill>
                          <a:schemeClr val="tx1"/>
                        </a:solidFill>
                      </a:endParaRPr>
                    </a:p>
                  </a:txBody>
                  <a:tcPr/>
                </a:tc>
                <a:tc>
                  <a:txBody>
                    <a:bodyPr/>
                    <a:lstStyle/>
                    <a:p>
                      <a:r>
                        <a:rPr lang="fr-FR" sz="800" dirty="0" err="1">
                          <a:solidFill>
                            <a:schemeClr val="tx1"/>
                          </a:solidFill>
                        </a:rPr>
                        <a:t>Fixed</a:t>
                      </a:r>
                      <a:endParaRPr lang="fr-FR" sz="800" dirty="0">
                        <a:solidFill>
                          <a:schemeClr val="tx1"/>
                        </a:solidFill>
                      </a:endParaRPr>
                    </a:p>
                    <a:p>
                      <a:endParaRPr lang="fr-FR" sz="800" dirty="0">
                        <a:solidFill>
                          <a:schemeClr val="tx1"/>
                        </a:solidFill>
                      </a:endParaRPr>
                    </a:p>
                  </a:txBody>
                  <a:tcPr/>
                </a:tc>
                <a:tc>
                  <a:txBody>
                    <a:bodyPr/>
                    <a:lstStyle/>
                    <a:p>
                      <a:r>
                        <a:rPr lang="fr-FR" sz="800" dirty="0">
                          <a:solidFill>
                            <a:schemeClr val="tx1"/>
                          </a:solidFill>
                        </a:rPr>
                        <a:t>Constant </a:t>
                      </a:r>
                      <a:r>
                        <a:rPr lang="fr-FR" sz="800" dirty="0" err="1">
                          <a:solidFill>
                            <a:schemeClr val="tx1"/>
                          </a:solidFill>
                        </a:rPr>
                        <a:t>monthly</a:t>
                      </a:r>
                      <a:r>
                        <a:rPr lang="fr-FR" sz="800" dirty="0">
                          <a:solidFill>
                            <a:schemeClr val="tx1"/>
                          </a:solidFill>
                        </a:rPr>
                        <a:t> </a:t>
                      </a:r>
                      <a:r>
                        <a:rPr lang="fr-FR" sz="800" dirty="0" err="1">
                          <a:solidFill>
                            <a:schemeClr val="tx1"/>
                          </a:solidFill>
                        </a:rPr>
                        <a:t>instalments</a:t>
                      </a:r>
                      <a:endParaRPr lang="fr-FR" sz="800" dirty="0">
                        <a:solidFill>
                          <a:schemeClr val="tx1"/>
                        </a:solidFill>
                      </a:endParaRPr>
                    </a:p>
                    <a:p>
                      <a:endParaRPr lang="fr-FR" sz="800" dirty="0">
                        <a:solidFill>
                          <a:schemeClr val="tx1"/>
                        </a:solidFill>
                      </a:endParaRPr>
                    </a:p>
                  </a:txBody>
                  <a:tcPr/>
                </a:tc>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rom </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100,000 to</a:t>
                      </a:r>
                      <a:b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b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400,000€</a:t>
                      </a:r>
                      <a:endParaRPr lang="fr-FR" sz="800" dirty="0">
                        <a:solidFill>
                          <a:schemeClr val="tx1"/>
                        </a:solidFill>
                      </a:endParaRPr>
                    </a:p>
                  </a:txBody>
                  <a:tcPr/>
                </a:tc>
                <a:tc>
                  <a:txBody>
                    <a:bodyPr/>
                    <a:lstStyle/>
                    <a:p>
                      <a:r>
                        <a:rPr lang="fr-FR" sz="800" dirty="0" err="1">
                          <a:solidFill>
                            <a:schemeClr val="tx1"/>
                          </a:solidFill>
                        </a:rPr>
                        <a:t>From</a:t>
                      </a:r>
                      <a:r>
                        <a:rPr lang="fr-FR" sz="800" dirty="0">
                          <a:solidFill>
                            <a:schemeClr val="tx1"/>
                          </a:solidFill>
                        </a:rPr>
                        <a:t> 120 to 24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Home loan guarantee (c</a:t>
                      </a:r>
                      <a:r>
                        <a:rPr kumimoji="0" lang="en-GB" sz="800" b="0" i="1"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aution</a:t>
                      </a: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 by </a:t>
                      </a:r>
                      <a:r>
                        <a:rPr kumimoji="0" lang="en-GB" sz="800" b="0" i="0" u="none" strike="noStrike" kern="1200" cap="none" normalizeH="0" baseline="0" dirty="0" err="1">
                          <a:ln>
                            <a:noFill/>
                          </a:ln>
                          <a:solidFill>
                            <a:schemeClr val="tx1"/>
                          </a:solidFill>
                          <a:effectLst/>
                          <a:latin typeface="Arial" charset="0"/>
                          <a:ea typeface="Arial Unicode MS" pitchFamily="34" charset="-128"/>
                          <a:cs typeface="Arial Unicode MS" pitchFamily="34" charset="-128"/>
                        </a:rPr>
                        <a:t>Camca</a:t>
                      </a: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 Assurance S.A.</a:t>
                      </a:r>
                    </a:p>
                  </a:txBody>
                  <a:tcPr/>
                </a:tc>
                <a:extLst>
                  <a:ext uri="{0D108BD9-81ED-4DB2-BD59-A6C34878D82A}">
                    <a16:rowId xmlns:a16="http://schemas.microsoft.com/office/drawing/2014/main" val="1728991994"/>
                  </a:ext>
                </a:extLst>
              </a:tr>
              <a:tr h="893741">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fr-FR" sz="800" b="1" i="0" u="none" strike="noStrike" kern="1200" cap="none" normalizeH="0" baseline="0" dirty="0" err="1">
                          <a:ln>
                            <a:noFill/>
                          </a:ln>
                          <a:solidFill>
                            <a:schemeClr val="bg1"/>
                          </a:solidFill>
                          <a:effectLst/>
                          <a:latin typeface="Arial" charset="0"/>
                          <a:ea typeface="Arial Unicode MS" pitchFamily="34" charset="-128"/>
                        </a:rPr>
                        <a:t>Cautiolift</a:t>
                      </a:r>
                      <a:r>
                        <a:rPr kumimoji="0" lang="fr-FR" sz="800" b="1" i="0" u="none" strike="noStrike" kern="1200" cap="none" normalizeH="0" baseline="0" dirty="0">
                          <a:ln>
                            <a:noFill/>
                          </a:ln>
                          <a:solidFill>
                            <a:schemeClr val="bg1"/>
                          </a:solidFill>
                          <a:effectLst/>
                          <a:latin typeface="Arial" charset="0"/>
                          <a:ea typeface="Arial Unicode MS" pitchFamily="34" charset="-128"/>
                        </a:rPr>
                        <a:t> </a:t>
                      </a:r>
                      <a:r>
                        <a:rPr kumimoji="0" lang="fr-FR" sz="800" b="1" i="0" u="none" strike="noStrike" kern="1200" cap="none" normalizeH="0" baseline="0" dirty="0" err="1">
                          <a:ln>
                            <a:noFill/>
                          </a:ln>
                          <a:solidFill>
                            <a:schemeClr val="bg1"/>
                          </a:solidFill>
                          <a:effectLst/>
                          <a:latin typeface="Arial" charset="0"/>
                          <a:ea typeface="Arial Unicode MS" pitchFamily="34" charset="-128"/>
                        </a:rPr>
                        <a:t>Immo</a:t>
                      </a:r>
                      <a:endParaRPr kumimoji="0" lang="fr-FR" sz="800" b="1" i="0" u="none" strike="noStrike" kern="1200" cap="none" normalizeH="0" baseline="0" dirty="0">
                        <a:ln>
                          <a:noFill/>
                        </a:ln>
                        <a:solidFill>
                          <a:schemeClr val="bg1"/>
                        </a:solidFill>
                        <a:effectLst/>
                        <a:latin typeface="Arial" charset="0"/>
                        <a:ea typeface="Arial Unicode MS" pitchFamily="34" charset="-128"/>
                      </a:endParaRP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r>
                        <a:rPr kumimoji="0" lang="fr-FR" sz="800" b="1" i="0" u="none" strike="noStrike" kern="1200" cap="none" normalizeH="0" baseline="0" dirty="0">
                          <a:ln>
                            <a:noFill/>
                          </a:ln>
                          <a:solidFill>
                            <a:schemeClr val="bg1"/>
                          </a:solidFill>
                          <a:effectLst/>
                          <a:latin typeface="Arial" charset="0"/>
                          <a:ea typeface="Arial Unicode MS" pitchFamily="34" charset="-128"/>
                        </a:rPr>
                        <a:t>by </a:t>
                      </a:r>
                      <a:r>
                        <a:rPr kumimoji="0" lang="fr-FR" sz="800" b="1" i="0" u="none" strike="noStrike" kern="1200" cap="none" normalizeH="0" baseline="0" dirty="0" err="1">
                          <a:ln>
                            <a:noFill/>
                          </a:ln>
                          <a:solidFill>
                            <a:schemeClr val="bg1"/>
                          </a:solidFill>
                          <a:effectLst/>
                          <a:latin typeface="Arial" charset="0"/>
                          <a:ea typeface="Arial Unicode MS" pitchFamily="34" charset="-128"/>
                        </a:rPr>
                        <a:t>Creditlift</a:t>
                      </a:r>
                      <a:endParaRPr kumimoji="0" lang="fr-FR" sz="800" b="1" i="0" u="none" strike="noStrike" kern="1200" cap="none" normalizeH="0" baseline="0" dirty="0">
                        <a:ln>
                          <a:noFill/>
                        </a:ln>
                        <a:solidFill>
                          <a:schemeClr val="bg1"/>
                        </a:solidFill>
                        <a:effectLst/>
                        <a:latin typeface="Arial" charset="0"/>
                        <a:ea typeface="Arial Unicode MS" pitchFamily="34" charset="-128"/>
                      </a:endParaRP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defRPr/>
                      </a:pPr>
                      <a:endParaRPr kumimoji="0" lang="fr-FR" sz="800" b="1" i="0" u="none" strike="noStrike" kern="1200" cap="none" normalizeH="0" baseline="0" dirty="0">
                        <a:ln>
                          <a:noFill/>
                        </a:ln>
                        <a:solidFill>
                          <a:schemeClr val="bg1"/>
                        </a:solidFill>
                        <a:effectLst/>
                        <a:latin typeface="Arial" charset="0"/>
                        <a:ea typeface="Arial Unicode MS" pitchFamily="34" charset="-128"/>
                      </a:endParaRPr>
                    </a:p>
                  </a:txBody>
                  <a:tcPr>
                    <a:solidFill>
                      <a:srgbClr val="006448"/>
                    </a:solidFill>
                  </a:tcPr>
                </a:tc>
                <a:tc>
                  <a:txBody>
                    <a:bodyPr/>
                    <a:lstStyle/>
                    <a:p>
                      <a:r>
                        <a:rPr lang="en-US" sz="800" dirty="0">
                          <a:solidFill>
                            <a:schemeClr val="tx1"/>
                          </a:solidFill>
                        </a:rPr>
                        <a:t>Refinancing of existing unsecured consumer  loans and home loans (&gt;60% of total amount financed)</a:t>
                      </a:r>
                    </a:p>
                    <a:p>
                      <a:endParaRPr lang="fr-FR" sz="800" dirty="0">
                        <a:solidFill>
                          <a:schemeClr val="tx1"/>
                        </a:solidFill>
                      </a:endParaRPr>
                    </a:p>
                  </a:txBody>
                  <a:tcPr/>
                </a:tc>
                <a:tc>
                  <a:txBody>
                    <a:bodyPr/>
                    <a:lstStyle/>
                    <a:p>
                      <a:r>
                        <a:rPr lang="fr-FR" sz="800" dirty="0" err="1">
                          <a:solidFill>
                            <a:schemeClr val="tx1"/>
                          </a:solidFill>
                        </a:rPr>
                        <a:t>Private</a:t>
                      </a:r>
                      <a:r>
                        <a:rPr lang="fr-FR" sz="800" dirty="0">
                          <a:solidFill>
                            <a:schemeClr val="tx1"/>
                          </a:solidFill>
                        </a:rPr>
                        <a:t> </a:t>
                      </a:r>
                      <a:r>
                        <a:rPr lang="fr-FR" sz="800" dirty="0" err="1">
                          <a:solidFill>
                            <a:schemeClr val="tx1"/>
                          </a:solidFill>
                        </a:rPr>
                        <a:t>individuals</a:t>
                      </a:r>
                      <a:endParaRPr lang="fr-FR" sz="800" dirty="0">
                        <a:solidFill>
                          <a:schemeClr val="tx1"/>
                        </a:solidFill>
                      </a:endParaRPr>
                    </a:p>
                  </a:txBody>
                  <a:tcPr/>
                </a:tc>
                <a:tc>
                  <a:txBody>
                    <a:bodyPr/>
                    <a:lstStyle/>
                    <a:p>
                      <a:r>
                        <a:rPr lang="fr-FR" sz="800" dirty="0" err="1">
                          <a:solidFill>
                            <a:schemeClr val="tx1"/>
                          </a:solidFill>
                        </a:rPr>
                        <a:t>Fixed</a:t>
                      </a:r>
                      <a:endParaRPr lang="fr-FR" sz="800" dirty="0">
                        <a:solidFill>
                          <a:schemeClr val="tx1"/>
                        </a:solidFill>
                      </a:endParaRPr>
                    </a:p>
                  </a:txBody>
                  <a:tcPr/>
                </a:tc>
                <a:tc>
                  <a:txBody>
                    <a:bodyPr/>
                    <a:lstStyle/>
                    <a:p>
                      <a:r>
                        <a:rPr lang="fr-FR" sz="800" dirty="0">
                          <a:solidFill>
                            <a:schemeClr val="tx1"/>
                          </a:solidFill>
                        </a:rPr>
                        <a:t>Constant </a:t>
                      </a:r>
                      <a:r>
                        <a:rPr lang="fr-FR" sz="800" dirty="0" err="1">
                          <a:solidFill>
                            <a:schemeClr val="tx1"/>
                          </a:solidFill>
                        </a:rPr>
                        <a:t>monthly</a:t>
                      </a:r>
                      <a:r>
                        <a:rPr lang="fr-FR" sz="800" dirty="0">
                          <a:solidFill>
                            <a:schemeClr val="tx1"/>
                          </a:solidFill>
                        </a:rPr>
                        <a:t> </a:t>
                      </a:r>
                      <a:r>
                        <a:rPr lang="fr-FR" sz="800" dirty="0" err="1">
                          <a:solidFill>
                            <a:schemeClr val="tx1"/>
                          </a:solidFill>
                        </a:rPr>
                        <a:t>instalments</a:t>
                      </a:r>
                      <a:endParaRPr lang="fr-FR" sz="800" dirty="0">
                        <a:solidFill>
                          <a:schemeClr val="tx1"/>
                        </a:solidFill>
                      </a:endParaRPr>
                    </a:p>
                  </a:txBody>
                  <a:tcPr/>
                </a:tc>
                <a:tc>
                  <a:txBody>
                    <a:body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From </a:t>
                      </a:r>
                    </a:p>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80,000</a:t>
                      </a:r>
                      <a:endParaRPr lang="fr-FR" sz="800" dirty="0">
                        <a:solidFill>
                          <a:schemeClr val="tx1"/>
                        </a:solidFill>
                      </a:endParaRPr>
                    </a:p>
                  </a:txBody>
                  <a:tcPr/>
                </a:tc>
                <a:tc>
                  <a:txBody>
                    <a:bodyPr/>
                    <a:lstStyle/>
                    <a:p>
                      <a:r>
                        <a:rPr lang="fr-FR" sz="800" dirty="0" err="1">
                          <a:solidFill>
                            <a:schemeClr val="tx1"/>
                          </a:solidFill>
                        </a:rPr>
                        <a:t>From</a:t>
                      </a:r>
                      <a:r>
                        <a:rPr lang="fr-FR" sz="800" dirty="0">
                          <a:solidFill>
                            <a:schemeClr val="tx1"/>
                          </a:solidFill>
                        </a:rPr>
                        <a:t> 120 to 24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Home loan guarantee (c</a:t>
                      </a:r>
                      <a:r>
                        <a:rPr kumimoji="0" lang="en-GB" sz="800" b="0" i="1"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aution</a:t>
                      </a: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 by </a:t>
                      </a:r>
                      <a:r>
                        <a:rPr kumimoji="0" lang="en-GB" sz="800" b="0" i="0" u="none" strike="noStrike" kern="1200" cap="none" normalizeH="0" baseline="0" dirty="0" err="1">
                          <a:ln>
                            <a:noFill/>
                          </a:ln>
                          <a:solidFill>
                            <a:schemeClr val="tx1"/>
                          </a:solidFill>
                          <a:effectLst/>
                          <a:latin typeface="Arial" charset="0"/>
                          <a:ea typeface="Arial Unicode MS" pitchFamily="34" charset="-128"/>
                          <a:cs typeface="Arial Unicode MS" pitchFamily="34" charset="-128"/>
                        </a:rPr>
                        <a:t>Camca</a:t>
                      </a:r>
                      <a:r>
                        <a:rPr kumimoji="0" lang="en-GB" sz="800" b="0" i="0" u="none" strike="noStrike" kern="1200" cap="none" normalizeH="0" baseline="0" dirty="0">
                          <a:ln>
                            <a:noFill/>
                          </a:ln>
                          <a:solidFill>
                            <a:schemeClr val="tx1"/>
                          </a:solidFill>
                          <a:effectLst/>
                          <a:latin typeface="Arial" charset="0"/>
                          <a:ea typeface="Arial Unicode MS" pitchFamily="34" charset="-128"/>
                          <a:cs typeface="Arial Unicode MS" pitchFamily="34" charset="-128"/>
                        </a:rPr>
                        <a:t> Assurance S.A.</a:t>
                      </a:r>
                    </a:p>
                  </a:txBody>
                  <a:tcPr/>
                </a:tc>
                <a:extLst>
                  <a:ext uri="{0D108BD9-81ED-4DB2-BD59-A6C34878D82A}">
                    <a16:rowId xmlns:a16="http://schemas.microsoft.com/office/drawing/2014/main" val="3167667116"/>
                  </a:ext>
                </a:extLst>
              </a:tr>
            </a:tbl>
          </a:graphicData>
        </a:graphic>
      </p:graphicFrame>
    </p:spTree>
    <p:extLst>
      <p:ext uri="{BB962C8B-B14F-4D97-AF65-F5344CB8AC3E}">
        <p14:creationId xmlns:p14="http://schemas.microsoft.com/office/powerpoint/2010/main" val="3103456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6EF321D-7946-45BA-8909-C41320462C19}"/>
              </a:ext>
            </a:extLst>
          </p:cNvPr>
          <p:cNvSpPr>
            <a:spLocks noGrp="1"/>
          </p:cNvSpPr>
          <p:nvPr>
            <p:ph type="title"/>
          </p:nvPr>
        </p:nvSpPr>
        <p:spPr/>
        <p:txBody>
          <a:bodyPr/>
          <a:lstStyle/>
          <a:p>
            <a:r>
              <a:rPr lang="fr-FR" sz="1800" dirty="0" err="1">
                <a:solidFill>
                  <a:schemeClr val="tx1"/>
                </a:solidFill>
              </a:rPr>
              <a:t>Debt</a:t>
            </a:r>
            <a:r>
              <a:rPr lang="fr-FR" sz="1800" dirty="0">
                <a:solidFill>
                  <a:schemeClr val="tx1"/>
                </a:solidFill>
              </a:rPr>
              <a:t> consolidation</a:t>
            </a:r>
            <a:br>
              <a:rPr lang="fr-FR" sz="1800" dirty="0">
                <a:solidFill>
                  <a:schemeClr val="tx1"/>
                </a:solidFill>
              </a:rPr>
            </a:br>
            <a:r>
              <a:rPr lang="fr-FR" sz="1400" dirty="0">
                <a:solidFill>
                  <a:schemeClr val="bg1">
                    <a:lumMod val="65000"/>
                  </a:schemeClr>
                </a:solidFill>
              </a:rPr>
              <a:t>Key figures 2021 - 2023</a:t>
            </a:r>
          </a:p>
        </p:txBody>
      </p:sp>
      <p:sp>
        <p:nvSpPr>
          <p:cNvPr id="3" name="Espace réservé du numéro de diapositive 2">
            <a:extLst>
              <a:ext uri="{FF2B5EF4-FFF2-40B4-BE49-F238E27FC236}">
                <a16:creationId xmlns:a16="http://schemas.microsoft.com/office/drawing/2014/main" id="{FF30BABB-0AEF-4CE3-B5D9-E558807C3F27}"/>
              </a:ext>
            </a:extLst>
          </p:cNvPr>
          <p:cNvSpPr>
            <a:spLocks noGrp="1"/>
          </p:cNvSpPr>
          <p:nvPr>
            <p:ph type="sldNum" sz="quarter" idx="19"/>
          </p:nvPr>
        </p:nvSpPr>
        <p:spPr/>
        <p:txBody>
          <a:bodyPr/>
          <a:lstStyle/>
          <a:p>
            <a:fld id="{98BD2159-827C-4021-9B0E-DCD852BEB59E}" type="slidenum">
              <a:rPr lang="en-GB" smtClean="0"/>
              <a:pPr/>
              <a:t>17</a:t>
            </a:fld>
            <a:endParaRPr lang="en-GB" dirty="0"/>
          </a:p>
        </p:txBody>
      </p:sp>
      <p:graphicFrame>
        <p:nvGraphicFramePr>
          <p:cNvPr id="8" name="Graphique 7">
            <a:extLst>
              <a:ext uri="{FF2B5EF4-FFF2-40B4-BE49-F238E27FC236}">
                <a16:creationId xmlns:a16="http://schemas.microsoft.com/office/drawing/2014/main" id="{3A2EACCB-A9E2-4DCE-8128-D212F35E31F1}"/>
              </a:ext>
            </a:extLst>
          </p:cNvPr>
          <p:cNvGraphicFramePr>
            <a:graphicFrameLocks/>
          </p:cNvGraphicFramePr>
          <p:nvPr>
            <p:extLst>
              <p:ext uri="{D42A27DB-BD31-4B8C-83A1-F6EECF244321}">
                <p14:modId xmlns:p14="http://schemas.microsoft.com/office/powerpoint/2010/main" val="3358610679"/>
              </p:ext>
            </p:extLst>
          </p:nvPr>
        </p:nvGraphicFramePr>
        <p:xfrm>
          <a:off x="330572" y="1286528"/>
          <a:ext cx="3825792" cy="24611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aphique 8">
            <a:extLst>
              <a:ext uri="{FF2B5EF4-FFF2-40B4-BE49-F238E27FC236}">
                <a16:creationId xmlns:a16="http://schemas.microsoft.com/office/drawing/2014/main" id="{A023E1F8-B22C-421E-88EE-C3C7028A7801}"/>
              </a:ext>
            </a:extLst>
          </p:cNvPr>
          <p:cNvGraphicFramePr>
            <a:graphicFrameLocks/>
          </p:cNvGraphicFramePr>
          <p:nvPr>
            <p:extLst>
              <p:ext uri="{D42A27DB-BD31-4B8C-83A1-F6EECF244321}">
                <p14:modId xmlns:p14="http://schemas.microsoft.com/office/powerpoint/2010/main" val="682137011"/>
              </p:ext>
            </p:extLst>
          </p:nvPr>
        </p:nvGraphicFramePr>
        <p:xfrm>
          <a:off x="4238191" y="1286528"/>
          <a:ext cx="4095317" cy="246112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27229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608" y="173626"/>
            <a:ext cx="7997742" cy="438235"/>
          </a:xfrm>
        </p:spPr>
        <p:txBody>
          <a:bodyPr/>
          <a:lstStyle/>
          <a:p>
            <a:r>
              <a:rPr lang="fr-FR" sz="1600" dirty="0">
                <a:solidFill>
                  <a:schemeClr val="tx1"/>
                </a:solidFill>
              </a:rPr>
              <a:t>Distribution Channels </a:t>
            </a:r>
            <a:r>
              <a:rPr lang="fr-FR" sz="1600" dirty="0" err="1">
                <a:solidFill>
                  <a:schemeClr val="tx1"/>
                </a:solidFill>
              </a:rPr>
              <a:t>Overview</a:t>
            </a:r>
            <a:r>
              <a:rPr lang="fr-FR" sz="1600" dirty="0">
                <a:solidFill>
                  <a:schemeClr val="tx1"/>
                </a:solidFill>
              </a:rPr>
              <a:t> CACF France</a:t>
            </a:r>
            <a:br>
              <a:rPr lang="fr-FR" sz="1600" dirty="0">
                <a:solidFill>
                  <a:schemeClr val="tx1"/>
                </a:solidFill>
              </a:rPr>
            </a:br>
            <a:r>
              <a:rPr lang="fr-FR" sz="1600" dirty="0">
                <a:solidFill>
                  <a:schemeClr val="bg1">
                    <a:lumMod val="65000"/>
                  </a:schemeClr>
                </a:solidFill>
              </a:rPr>
              <a:t>Focus on </a:t>
            </a:r>
            <a:r>
              <a:rPr lang="fr-FR" sz="1600" dirty="0" err="1">
                <a:solidFill>
                  <a:schemeClr val="bg1">
                    <a:lumMod val="65000"/>
                  </a:schemeClr>
                </a:solidFill>
              </a:rPr>
              <a:t>credit</a:t>
            </a:r>
            <a:r>
              <a:rPr lang="fr-FR" sz="1600" dirty="0">
                <a:solidFill>
                  <a:schemeClr val="bg1">
                    <a:lumMod val="65000"/>
                  </a:schemeClr>
                </a:solidFill>
              </a:rPr>
              <a:t> </a:t>
            </a:r>
            <a:r>
              <a:rPr lang="fr-FR" sz="1600" dirty="0" err="1">
                <a:solidFill>
                  <a:schemeClr val="bg1">
                    <a:lumMod val="65000"/>
                  </a:schemeClr>
                </a:solidFill>
              </a:rPr>
              <a:t>intermediaries</a:t>
            </a:r>
            <a:endParaRPr lang="en-US" sz="1600" strike="sngStrike" dirty="0">
              <a:solidFill>
                <a:schemeClr val="bg1">
                  <a:lumMod val="65000"/>
                </a:schemeClr>
              </a:solidFill>
            </a:endParaRPr>
          </a:p>
        </p:txBody>
      </p:sp>
      <p:sp>
        <p:nvSpPr>
          <p:cNvPr id="8" name="Slide Number Placeholder 3"/>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18</a:t>
            </a:fld>
            <a:endParaRPr lang="en-GB" sz="900" dirty="0">
              <a:solidFill>
                <a:prstClr val="white"/>
              </a:solidFill>
              <a:latin typeface="Avenir Next LT Pro"/>
            </a:endParaRPr>
          </a:p>
        </p:txBody>
      </p:sp>
      <p:sp>
        <p:nvSpPr>
          <p:cNvPr id="13" name="Rectangle 12"/>
          <p:cNvSpPr/>
          <p:nvPr/>
        </p:nvSpPr>
        <p:spPr>
          <a:xfrm>
            <a:off x="4768156" y="1065425"/>
            <a:ext cx="3598862" cy="148132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2425" marR="0" lvl="0" indent="-171450" algn="l" defTabSz="457200" rtl="0" eaLnBrk="1" fontAlgn="auto" latinLnBrk="0" hangingPunct="1">
              <a:lnSpc>
                <a:spcPct val="100000"/>
              </a:lnSpc>
              <a:spcBef>
                <a:spcPts val="300"/>
              </a:spcBef>
              <a:spcAft>
                <a:spcPts val="300"/>
              </a:spcAft>
              <a:buClr>
                <a:srgbClr val="45735A">
                  <a:lumMod val="75000"/>
                </a:srgbClr>
              </a:buClr>
              <a:buSzPct val="110000"/>
              <a:buFont typeface="Wingdings" panose="05000000000000000000" pitchFamily="2" charset="2"/>
              <a:buChar char="Ø"/>
              <a:tabLst/>
              <a:defRPr/>
            </a:pPr>
            <a:r>
              <a:rPr kumimoji="0" lang="en-GB" sz="1100" b="0" i="0" u="none" strike="noStrike" kern="1200" cap="none" spc="0" normalizeH="0" baseline="0" noProof="0" dirty="0">
                <a:ln>
                  <a:noFill/>
                </a:ln>
                <a:solidFill>
                  <a:prstClr val="black"/>
                </a:solidFill>
                <a:effectLst/>
                <a:uLnTx/>
                <a:uFillTx/>
                <a:latin typeface="Arial"/>
                <a:ea typeface="+mn-ea"/>
                <a:cs typeface="ＭＳ Ｐゴシック"/>
              </a:rPr>
              <a:t>Home improvement and home equipment specialised retailers </a:t>
            </a:r>
            <a:endParaRPr lang="en-GB" sz="1100" dirty="0">
              <a:solidFill>
                <a:prstClr val="black"/>
              </a:solidFill>
              <a:latin typeface="Arial"/>
              <a:cs typeface="ＭＳ Ｐゴシック"/>
            </a:endParaRPr>
          </a:p>
          <a:p>
            <a:pPr marL="452438" marR="0" lvl="0" indent="-271463" algn="l" defTabSz="457200" rtl="0" eaLnBrk="1" fontAlgn="auto" latinLnBrk="0" hangingPunct="1">
              <a:lnSpc>
                <a:spcPct val="100000"/>
              </a:lnSpc>
              <a:spcBef>
                <a:spcPts val="300"/>
              </a:spcBef>
              <a:spcAft>
                <a:spcPts val="300"/>
              </a:spcAft>
              <a:buClr>
                <a:srgbClr val="45735A">
                  <a:lumMod val="75000"/>
                </a:srgbClr>
              </a:buClr>
              <a:buSzPct val="110000"/>
              <a:buFont typeface="Wingdings" panose="05000000000000000000" pitchFamily="2" charset="2"/>
              <a:buChar char="Ø"/>
              <a:tabLst/>
              <a:defRPr/>
            </a:pPr>
            <a:r>
              <a:rPr kumimoji="0" lang="en-GB" sz="1100" b="0" i="0" u="none" strike="noStrike" kern="1200" cap="none" spc="0" normalizeH="0" baseline="0" noProof="0" dirty="0">
                <a:ln>
                  <a:noFill/>
                </a:ln>
                <a:solidFill>
                  <a:prstClr val="black"/>
                </a:solidFill>
                <a:effectLst/>
                <a:uLnTx/>
                <a:uFillTx/>
                <a:latin typeface="Arial"/>
                <a:ea typeface="+mn-ea"/>
                <a:cs typeface="ＭＳ Ｐゴシック"/>
              </a:rPr>
              <a:t>Vehicle distributors and dealers – auto, motorcycles, recreational vehicles, boats</a:t>
            </a:r>
            <a:endParaRPr lang="en-GB" sz="1100" dirty="0">
              <a:solidFill>
                <a:schemeClr val="tx1"/>
              </a:solidFill>
              <a:cs typeface="ＭＳ Ｐゴシック"/>
            </a:endParaRPr>
          </a:p>
        </p:txBody>
      </p:sp>
      <p:grpSp>
        <p:nvGrpSpPr>
          <p:cNvPr id="15" name="Group 2"/>
          <p:cNvGrpSpPr/>
          <p:nvPr/>
        </p:nvGrpSpPr>
        <p:grpSpPr>
          <a:xfrm>
            <a:off x="780253" y="816365"/>
            <a:ext cx="3598862" cy="1725435"/>
            <a:chOff x="1173163" y="1487665"/>
            <a:chExt cx="3598862" cy="1725435"/>
          </a:xfrm>
        </p:grpSpPr>
        <p:sp>
          <p:nvSpPr>
            <p:cNvPr id="16" name="Rectangle 15"/>
            <p:cNvSpPr/>
            <p:nvPr/>
          </p:nvSpPr>
          <p:spPr>
            <a:xfrm>
              <a:off x="1173163" y="1736725"/>
              <a:ext cx="3598862" cy="147637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61950" indent="-271463">
                <a:lnSpc>
                  <a:spcPct val="150000"/>
                </a:lnSpc>
                <a:buSzPct val="110000"/>
                <a:buFont typeface="Wingdings" panose="05000000000000000000" pitchFamily="2" charset="2"/>
                <a:buChar char="Ø"/>
                <a:defRPr/>
              </a:pPr>
              <a:r>
                <a:rPr lang="en-GB" sz="1100" dirty="0">
                  <a:solidFill>
                    <a:schemeClr val="tx1"/>
                  </a:solidFill>
                  <a:latin typeface="Arial" panose="020B0604020202020204" pitchFamily="34" charset="0"/>
                  <a:cs typeface="Arial" panose="020B0604020202020204" pitchFamily="34" charset="0"/>
                </a:rPr>
                <a:t>Branch network</a:t>
              </a:r>
            </a:p>
            <a:p>
              <a:pPr marL="361950" indent="-271463">
                <a:lnSpc>
                  <a:spcPct val="150000"/>
                </a:lnSpc>
                <a:buSzPct val="110000"/>
                <a:buFont typeface="Wingdings" panose="05000000000000000000" pitchFamily="2" charset="2"/>
                <a:buChar char="Ø"/>
                <a:defRPr/>
              </a:pPr>
              <a:r>
                <a:rPr lang="en-GB" sz="1100" dirty="0">
                  <a:solidFill>
                    <a:schemeClr val="tx1"/>
                  </a:solidFill>
                  <a:latin typeface="Arial" panose="020B0604020202020204" pitchFamily="34" charset="0"/>
                  <a:cs typeface="Arial" panose="020B0604020202020204" pitchFamily="34" charset="0"/>
                </a:rPr>
                <a:t>Website</a:t>
              </a:r>
            </a:p>
            <a:p>
              <a:pPr marL="361950" indent="-271463">
                <a:lnSpc>
                  <a:spcPct val="150000"/>
                </a:lnSpc>
                <a:buSzPct val="110000"/>
                <a:buFont typeface="Wingdings" panose="05000000000000000000" pitchFamily="2" charset="2"/>
                <a:buChar char="Ø"/>
                <a:defRPr/>
              </a:pPr>
              <a:r>
                <a:rPr lang="en-GB" sz="1100" dirty="0">
                  <a:solidFill>
                    <a:schemeClr val="tx1"/>
                  </a:solidFill>
                  <a:latin typeface="Arial" panose="020B0604020202020204" pitchFamily="34" charset="0"/>
                  <a:cs typeface="Arial" panose="020B0604020202020204" pitchFamily="34" charset="0"/>
                </a:rPr>
                <a:t>Call </a:t>
              </a:r>
              <a:r>
                <a:rPr lang="en-GB" sz="1100" dirty="0" err="1">
                  <a:solidFill>
                    <a:schemeClr val="tx1"/>
                  </a:solidFill>
                  <a:latin typeface="Arial" panose="020B0604020202020204" pitchFamily="34" charset="0"/>
                  <a:cs typeface="Arial" panose="020B0604020202020204" pitchFamily="34" charset="0"/>
                </a:rPr>
                <a:t>centers</a:t>
              </a:r>
              <a:r>
                <a:rPr lang="en-GB" sz="1100" dirty="0">
                  <a:solidFill>
                    <a:schemeClr val="tx1"/>
                  </a:solidFill>
                  <a:latin typeface="Arial" panose="020B0604020202020204" pitchFamily="34" charset="0"/>
                  <a:cs typeface="Arial" panose="020B0604020202020204" pitchFamily="34" charset="0"/>
                </a:rPr>
                <a:t> </a:t>
              </a:r>
            </a:p>
            <a:p>
              <a:pPr marL="361950" indent="-271463">
                <a:lnSpc>
                  <a:spcPct val="150000"/>
                </a:lnSpc>
                <a:buSzPct val="110000"/>
                <a:buFont typeface="Wingdings" panose="05000000000000000000" pitchFamily="2" charset="2"/>
                <a:buChar char="Ø"/>
                <a:defRPr/>
              </a:pPr>
              <a:r>
                <a:rPr lang="en-GB" sz="1100" dirty="0">
                  <a:solidFill>
                    <a:schemeClr val="tx1"/>
                  </a:solidFill>
                  <a:latin typeface="Arial" panose="020B0604020202020204" pitchFamily="34" charset="0"/>
                  <a:cs typeface="Arial" panose="020B0604020202020204" pitchFamily="34" charset="0"/>
                </a:rPr>
                <a:t>Direct Marketing </a:t>
              </a:r>
            </a:p>
          </p:txBody>
        </p:sp>
        <p:sp>
          <p:nvSpPr>
            <p:cNvPr id="17" name="Rectangle 10"/>
            <p:cNvSpPr>
              <a:spLocks noChangeArrowheads="1"/>
            </p:cNvSpPr>
            <p:nvPr/>
          </p:nvSpPr>
          <p:spPr bwMode="gray">
            <a:xfrm>
              <a:off x="1173744" y="1487665"/>
              <a:ext cx="3598281" cy="256032"/>
            </a:xfrm>
            <a:prstGeom prst="rect">
              <a:avLst/>
            </a:prstGeom>
            <a:solidFill>
              <a:schemeClr val="accent5"/>
            </a:solidFill>
            <a:ln w="12700">
              <a:solidFill>
                <a:schemeClr val="tx1"/>
              </a:solidFill>
              <a:miter lim="800000"/>
              <a:headEnd/>
              <a:tailEnd/>
            </a:ln>
          </p:spPr>
          <p:txBody>
            <a:bodyPr anchor="ctr"/>
            <a:lstStyle/>
            <a:p>
              <a:pPr algn="ctr" eaLnBrk="0" hangingPunct="0"/>
              <a:r>
                <a:rPr lang="fr-FR" altLang="fr-FR" sz="1100" b="1" dirty="0">
                  <a:solidFill>
                    <a:schemeClr val="bg1"/>
                  </a:solidFill>
                  <a:latin typeface="Arial" pitchFamily="34" charset="0"/>
                  <a:ea typeface="MS PGothic" pitchFamily="34" charset="-128"/>
                  <a:cs typeface="Arial" pitchFamily="34" charset="0"/>
                </a:rPr>
                <a:t>Direct to </a:t>
              </a:r>
              <a:r>
                <a:rPr lang="fr-FR" altLang="fr-FR" sz="1100" b="1" dirty="0" err="1">
                  <a:solidFill>
                    <a:schemeClr val="bg1"/>
                  </a:solidFill>
                  <a:latin typeface="Arial" pitchFamily="34" charset="0"/>
                  <a:ea typeface="MS PGothic" pitchFamily="34" charset="-128"/>
                  <a:cs typeface="Arial" pitchFamily="34" charset="0"/>
                </a:rPr>
                <a:t>Consumers</a:t>
              </a:r>
              <a:r>
                <a:rPr lang="fr-FR" altLang="fr-FR" sz="1100" b="1" dirty="0">
                  <a:solidFill>
                    <a:schemeClr val="bg1"/>
                  </a:solidFill>
                  <a:latin typeface="Arial" pitchFamily="34" charset="0"/>
                  <a:ea typeface="MS PGothic" pitchFamily="34" charset="-128"/>
                  <a:cs typeface="Arial" pitchFamily="34" charset="0"/>
                </a:rPr>
                <a:t> « Sofinco brand »</a:t>
              </a:r>
            </a:p>
          </p:txBody>
        </p:sp>
      </p:grpSp>
      <p:sp>
        <p:nvSpPr>
          <p:cNvPr id="18" name="Rectangle 17"/>
          <p:cNvSpPr>
            <a:spLocks noChangeArrowheads="1"/>
          </p:cNvSpPr>
          <p:nvPr/>
        </p:nvSpPr>
        <p:spPr bwMode="gray">
          <a:xfrm>
            <a:off x="4768156" y="809393"/>
            <a:ext cx="3598862" cy="256032"/>
          </a:xfrm>
          <a:prstGeom prst="rect">
            <a:avLst/>
          </a:prstGeom>
          <a:solidFill>
            <a:schemeClr val="accent5"/>
          </a:solidFill>
          <a:ln w="12700">
            <a:solidFill>
              <a:schemeClr val="tx1"/>
            </a:solidFill>
            <a:miter lim="800000"/>
            <a:headEnd/>
            <a:tailEnd/>
          </a:ln>
        </p:spPr>
        <p:txBody>
          <a:bodyPr anchor="ctr"/>
          <a:lstStyle/>
          <a:p>
            <a:pPr algn="ctr" eaLnBrk="0" hangingPunct="0"/>
            <a:r>
              <a:rPr lang="fr-FR" altLang="fr-FR" sz="1100" b="1" dirty="0">
                <a:solidFill>
                  <a:srgbClr val="FFFFFF"/>
                </a:solidFill>
                <a:latin typeface="Arial" pitchFamily="34" charset="0"/>
                <a:ea typeface="MS PGothic" pitchFamily="34" charset="-128"/>
                <a:cs typeface="Arial" pitchFamily="34" charset="0"/>
              </a:rPr>
              <a:t>Points of Sale*</a:t>
            </a:r>
          </a:p>
        </p:txBody>
      </p:sp>
      <p:grpSp>
        <p:nvGrpSpPr>
          <p:cNvPr id="19" name="Group 16"/>
          <p:cNvGrpSpPr/>
          <p:nvPr/>
        </p:nvGrpSpPr>
        <p:grpSpPr>
          <a:xfrm>
            <a:off x="4768156" y="2975113"/>
            <a:ext cx="1877805" cy="1798623"/>
            <a:chOff x="1173164" y="1480780"/>
            <a:chExt cx="2533123" cy="1732320"/>
          </a:xfrm>
        </p:grpSpPr>
        <p:sp>
          <p:nvSpPr>
            <p:cNvPr id="20" name="Rectangle 19"/>
            <p:cNvSpPr/>
            <p:nvPr/>
          </p:nvSpPr>
          <p:spPr>
            <a:xfrm>
              <a:off x="1173164" y="1736725"/>
              <a:ext cx="2533121" cy="147637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52438" indent="-271463">
                <a:spcBef>
                  <a:spcPts val="300"/>
                </a:spcBef>
                <a:spcAft>
                  <a:spcPts val="300"/>
                </a:spcAft>
                <a:buClr>
                  <a:schemeClr val="accent5">
                    <a:lumMod val="75000"/>
                  </a:schemeClr>
                </a:buClr>
                <a:buSzPct val="110000"/>
                <a:buFont typeface="Wingdings" panose="05000000000000000000" pitchFamily="2" charset="2"/>
                <a:buChar char="Ø"/>
                <a:defRPr/>
              </a:pPr>
              <a:r>
                <a:rPr lang="en-GB" sz="900" dirty="0">
                  <a:solidFill>
                    <a:schemeClr val="tx1"/>
                  </a:solidFill>
                  <a:cs typeface="ＭＳ Ｐゴシック"/>
                </a:rPr>
                <a:t>Financial institutions (banks and insurance companies) </a:t>
              </a:r>
            </a:p>
            <a:p>
              <a:pPr marL="452438" indent="-271463">
                <a:spcBef>
                  <a:spcPts val="300"/>
                </a:spcBef>
                <a:spcAft>
                  <a:spcPts val="300"/>
                </a:spcAft>
                <a:buClr>
                  <a:schemeClr val="accent5">
                    <a:lumMod val="75000"/>
                  </a:schemeClr>
                </a:buClr>
                <a:buSzPct val="110000"/>
                <a:buFont typeface="Wingdings" panose="05000000000000000000" pitchFamily="2" charset="2"/>
                <a:buChar char="Ø"/>
                <a:defRPr/>
              </a:pPr>
              <a:r>
                <a:rPr lang="en-GB" sz="900" dirty="0">
                  <a:solidFill>
                    <a:schemeClr val="tx1"/>
                  </a:solidFill>
                  <a:cs typeface="ＭＳ Ｐゴシック"/>
                </a:rPr>
                <a:t>Large Retailers (generalist and specialised)</a:t>
              </a:r>
            </a:p>
            <a:p>
              <a:pPr marL="452438" indent="-271463">
                <a:spcBef>
                  <a:spcPts val="300"/>
                </a:spcBef>
                <a:spcAft>
                  <a:spcPts val="300"/>
                </a:spcAft>
                <a:buClr>
                  <a:schemeClr val="accent5">
                    <a:lumMod val="75000"/>
                  </a:schemeClr>
                </a:buClr>
                <a:buSzPct val="110000"/>
                <a:buFont typeface="Wingdings" panose="05000000000000000000" pitchFamily="2" charset="2"/>
                <a:buChar char="Ø"/>
                <a:defRPr/>
              </a:pPr>
              <a:r>
                <a:rPr lang="en-GB" sz="900" dirty="0">
                  <a:solidFill>
                    <a:schemeClr val="tx1"/>
                  </a:solidFill>
                  <a:cs typeface="ＭＳ Ｐゴシック"/>
                </a:rPr>
                <a:t>Auto manufacturers and dealers</a:t>
              </a:r>
            </a:p>
          </p:txBody>
        </p:sp>
        <p:sp>
          <p:nvSpPr>
            <p:cNvPr id="21" name="Rectangle 10"/>
            <p:cNvSpPr>
              <a:spLocks noChangeArrowheads="1"/>
            </p:cNvSpPr>
            <p:nvPr/>
          </p:nvSpPr>
          <p:spPr bwMode="gray">
            <a:xfrm>
              <a:off x="1173164" y="1480780"/>
              <a:ext cx="2533123" cy="256032"/>
            </a:xfrm>
            <a:prstGeom prst="rect">
              <a:avLst/>
            </a:prstGeom>
            <a:solidFill>
              <a:schemeClr val="accent5"/>
            </a:solidFill>
            <a:ln w="12700">
              <a:solidFill>
                <a:schemeClr val="tx1"/>
              </a:solidFill>
              <a:miter lim="800000"/>
              <a:headEnd/>
              <a:tailEnd/>
            </a:ln>
          </p:spPr>
          <p:txBody>
            <a:bodyPr anchor="ctr"/>
            <a:lstStyle/>
            <a:p>
              <a:pPr algn="ctr" eaLnBrk="0" hangingPunct="0"/>
              <a:r>
                <a:rPr lang="fr-FR" altLang="fr-FR" sz="1100" b="1" dirty="0">
                  <a:solidFill>
                    <a:srgbClr val="FFFFFF"/>
                  </a:solidFill>
                  <a:latin typeface="Arial" pitchFamily="34" charset="0"/>
                  <a:ea typeface="MS PGothic" pitchFamily="34" charset="-128"/>
                  <a:cs typeface="Arial" pitchFamily="34" charset="0"/>
                </a:rPr>
                <a:t>White-Labelling*</a:t>
              </a:r>
            </a:p>
          </p:txBody>
        </p:sp>
      </p:grpSp>
      <p:grpSp>
        <p:nvGrpSpPr>
          <p:cNvPr id="22" name="Group 19"/>
          <p:cNvGrpSpPr/>
          <p:nvPr/>
        </p:nvGrpSpPr>
        <p:grpSpPr>
          <a:xfrm>
            <a:off x="6637545" y="2975069"/>
            <a:ext cx="1803082" cy="1798670"/>
            <a:chOff x="-456646" y="1480736"/>
            <a:chExt cx="5024337" cy="1732364"/>
          </a:xfrm>
        </p:grpSpPr>
        <p:sp>
          <p:nvSpPr>
            <p:cNvPr id="23" name="Rectangle 22"/>
            <p:cNvSpPr/>
            <p:nvPr/>
          </p:nvSpPr>
          <p:spPr>
            <a:xfrm>
              <a:off x="-456646" y="1736725"/>
              <a:ext cx="5024337" cy="147637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52438" indent="-271463">
                <a:spcBef>
                  <a:spcPts val="300"/>
                </a:spcBef>
                <a:spcAft>
                  <a:spcPts val="300"/>
                </a:spcAft>
                <a:buClr>
                  <a:schemeClr val="accent5">
                    <a:lumMod val="75000"/>
                  </a:schemeClr>
                </a:buClr>
                <a:buSzPct val="110000"/>
                <a:buFont typeface="Wingdings" panose="05000000000000000000" pitchFamily="2" charset="2"/>
                <a:buChar char="Ø"/>
                <a:defRPr/>
              </a:pPr>
              <a:r>
                <a:rPr lang="en-US" sz="1000" dirty="0">
                  <a:solidFill>
                    <a:schemeClr val="tx1"/>
                  </a:solidFill>
                  <a:cs typeface="ＭＳ Ｐゴシック"/>
                </a:rPr>
                <a:t>Mutual retail banking network of </a:t>
              </a:r>
              <a:r>
                <a:rPr lang="en-US" sz="1000" dirty="0" err="1">
                  <a:solidFill>
                    <a:schemeClr val="tx1"/>
                  </a:solidFill>
                  <a:cs typeface="ＭＳ Ｐゴシック"/>
                </a:rPr>
                <a:t>Crédit</a:t>
              </a:r>
              <a:r>
                <a:rPr lang="en-US" sz="1000" dirty="0">
                  <a:solidFill>
                    <a:schemeClr val="tx1"/>
                  </a:solidFill>
                  <a:cs typeface="ＭＳ Ｐゴシック"/>
                </a:rPr>
                <a:t> </a:t>
              </a:r>
              <a:r>
                <a:rPr lang="en-US" sz="1000" dirty="0" err="1">
                  <a:solidFill>
                    <a:schemeClr val="tx1"/>
                  </a:solidFill>
                  <a:cs typeface="ＭＳ Ｐゴシック"/>
                </a:rPr>
                <a:t>Agricole</a:t>
              </a:r>
              <a:r>
                <a:rPr lang="en-US" sz="1000" dirty="0">
                  <a:solidFill>
                    <a:schemeClr val="tx1"/>
                  </a:solidFill>
                  <a:cs typeface="ＭＳ Ｐゴシック"/>
                </a:rPr>
                <a:t> </a:t>
              </a:r>
            </a:p>
            <a:p>
              <a:pPr marL="180975">
                <a:spcBef>
                  <a:spcPts val="300"/>
                </a:spcBef>
                <a:spcAft>
                  <a:spcPts val="300"/>
                </a:spcAft>
                <a:buClr>
                  <a:schemeClr val="accent5">
                    <a:lumMod val="75000"/>
                  </a:schemeClr>
                </a:buClr>
                <a:buSzPct val="110000"/>
                <a:defRPr/>
              </a:pPr>
              <a:endParaRPr lang="en-US" sz="1100" dirty="0">
                <a:solidFill>
                  <a:schemeClr val="tx1"/>
                </a:solidFill>
                <a:cs typeface="ＭＳ Ｐゴシック"/>
              </a:endParaRPr>
            </a:p>
          </p:txBody>
        </p:sp>
        <p:sp>
          <p:nvSpPr>
            <p:cNvPr id="24" name="Rectangle 10"/>
            <p:cNvSpPr>
              <a:spLocks noChangeArrowheads="1"/>
            </p:cNvSpPr>
            <p:nvPr/>
          </p:nvSpPr>
          <p:spPr bwMode="gray">
            <a:xfrm>
              <a:off x="-433198" y="1480736"/>
              <a:ext cx="5000886" cy="256032"/>
            </a:xfrm>
            <a:prstGeom prst="rect">
              <a:avLst/>
            </a:prstGeom>
            <a:solidFill>
              <a:schemeClr val="accent5"/>
            </a:solidFill>
            <a:ln w="12700">
              <a:solidFill>
                <a:schemeClr val="tx1"/>
              </a:solidFill>
              <a:miter lim="800000"/>
              <a:headEnd/>
              <a:tailEnd/>
            </a:ln>
          </p:spPr>
          <p:txBody>
            <a:bodyPr anchor="ctr"/>
            <a:lstStyle/>
            <a:p>
              <a:pPr algn="ctr" eaLnBrk="0" hangingPunct="0"/>
              <a:r>
                <a:rPr lang="fr-FR" altLang="fr-FR" sz="900" b="1" dirty="0">
                  <a:solidFill>
                    <a:srgbClr val="FFFFFF"/>
                  </a:solidFill>
                  <a:latin typeface="Arial" pitchFamily="34" charset="0"/>
                  <a:ea typeface="MS PGothic" pitchFamily="34" charset="-128"/>
                  <a:cs typeface="Arial" pitchFamily="34" charset="0"/>
                </a:rPr>
                <a:t>Crédit Agricole </a:t>
              </a:r>
              <a:r>
                <a:rPr lang="fr-FR" altLang="fr-FR" sz="900" b="1" dirty="0" err="1">
                  <a:solidFill>
                    <a:srgbClr val="FFFFFF"/>
                  </a:solidFill>
                  <a:latin typeface="Arial" pitchFamily="34" charset="0"/>
                  <a:ea typeface="MS PGothic" pitchFamily="34" charset="-128"/>
                  <a:cs typeface="Arial" pitchFamily="34" charset="0"/>
                </a:rPr>
                <a:t>Retail</a:t>
              </a:r>
              <a:r>
                <a:rPr lang="fr-FR" altLang="fr-FR" sz="900" b="1" dirty="0">
                  <a:solidFill>
                    <a:srgbClr val="FFFFFF"/>
                  </a:solidFill>
                  <a:latin typeface="Arial" pitchFamily="34" charset="0"/>
                  <a:ea typeface="MS PGothic" pitchFamily="34" charset="-128"/>
                  <a:cs typeface="Arial" pitchFamily="34" charset="0"/>
                </a:rPr>
                <a:t> Network*</a:t>
              </a:r>
            </a:p>
          </p:txBody>
        </p:sp>
      </p:grpSp>
      <p:cxnSp>
        <p:nvCxnSpPr>
          <p:cNvPr id="25" name="Straight Connector 4"/>
          <p:cNvCxnSpPr/>
          <p:nvPr/>
        </p:nvCxnSpPr>
        <p:spPr>
          <a:xfrm>
            <a:off x="4548767" y="809393"/>
            <a:ext cx="0" cy="3964345"/>
          </a:xfrm>
          <a:prstGeom prst="line">
            <a:avLst/>
          </a:prstGeom>
          <a:ln/>
        </p:spPr>
        <p:style>
          <a:lnRef idx="1">
            <a:schemeClr val="dk1"/>
          </a:lnRef>
          <a:fillRef idx="0">
            <a:schemeClr val="dk1"/>
          </a:fillRef>
          <a:effectRef idx="0">
            <a:schemeClr val="dk1"/>
          </a:effectRef>
          <a:fontRef idx="minor">
            <a:schemeClr val="tx1"/>
          </a:fontRef>
        </p:style>
      </p:cxnSp>
      <p:cxnSp>
        <p:nvCxnSpPr>
          <p:cNvPr id="26" name="Straight Connector 8"/>
          <p:cNvCxnSpPr/>
          <p:nvPr/>
        </p:nvCxnSpPr>
        <p:spPr>
          <a:xfrm>
            <a:off x="656908" y="2793617"/>
            <a:ext cx="7710110" cy="0"/>
          </a:xfrm>
          <a:prstGeom prst="line">
            <a:avLst/>
          </a:prstGeom>
          <a:ln/>
        </p:spPr>
        <p:style>
          <a:lnRef idx="1">
            <a:schemeClr val="dk1"/>
          </a:lnRef>
          <a:fillRef idx="0">
            <a:schemeClr val="dk1"/>
          </a:fillRef>
          <a:effectRef idx="0">
            <a:schemeClr val="dk1"/>
          </a:effectRef>
          <a:fontRef idx="minor">
            <a:schemeClr val="tx1"/>
          </a:fontRef>
        </p:style>
      </p:cxnSp>
      <p:sp>
        <p:nvSpPr>
          <p:cNvPr id="3" name="ZoneTexte 2">
            <a:extLst>
              <a:ext uri="{FF2B5EF4-FFF2-40B4-BE49-F238E27FC236}">
                <a16:creationId xmlns:a16="http://schemas.microsoft.com/office/drawing/2014/main" id="{70637BFB-2EBA-4D6D-8494-A9CE0D802773}"/>
              </a:ext>
            </a:extLst>
          </p:cNvPr>
          <p:cNvSpPr txBox="1"/>
          <p:nvPr/>
        </p:nvSpPr>
        <p:spPr>
          <a:xfrm>
            <a:off x="656908" y="4890241"/>
            <a:ext cx="2149888" cy="215444"/>
          </a:xfrm>
          <a:prstGeom prst="rect">
            <a:avLst/>
          </a:prstGeom>
          <a:noFill/>
        </p:spPr>
        <p:txBody>
          <a:bodyPr wrap="square" rtlCol="0">
            <a:spAutoFit/>
          </a:bodyPr>
          <a:lstStyle/>
          <a:p>
            <a:r>
              <a:rPr lang="fr-FR" sz="800" i="1" dirty="0"/>
              <a:t>* Out of scope</a:t>
            </a:r>
          </a:p>
        </p:txBody>
      </p:sp>
      <p:grpSp>
        <p:nvGrpSpPr>
          <p:cNvPr id="27" name="Group 2">
            <a:extLst>
              <a:ext uri="{FF2B5EF4-FFF2-40B4-BE49-F238E27FC236}">
                <a16:creationId xmlns:a16="http://schemas.microsoft.com/office/drawing/2014/main" id="{A91B6338-82EB-42D6-A6C0-908022A581AF}"/>
              </a:ext>
            </a:extLst>
          </p:cNvPr>
          <p:cNvGrpSpPr/>
          <p:nvPr/>
        </p:nvGrpSpPr>
        <p:grpSpPr>
          <a:xfrm>
            <a:off x="773130" y="2975113"/>
            <a:ext cx="3602133" cy="1732407"/>
            <a:chOff x="1169892" y="1480693"/>
            <a:chExt cx="3602133" cy="1732407"/>
          </a:xfrm>
        </p:grpSpPr>
        <p:sp>
          <p:nvSpPr>
            <p:cNvPr id="28" name="Rectangle 27">
              <a:extLst>
                <a:ext uri="{FF2B5EF4-FFF2-40B4-BE49-F238E27FC236}">
                  <a16:creationId xmlns:a16="http://schemas.microsoft.com/office/drawing/2014/main" id="{A7FF5C12-FAED-42A4-B644-8E50ACB9C0C4}"/>
                </a:ext>
              </a:extLst>
            </p:cNvPr>
            <p:cNvSpPr/>
            <p:nvPr/>
          </p:nvSpPr>
          <p:spPr>
            <a:xfrm>
              <a:off x="1173163" y="1736725"/>
              <a:ext cx="3598862" cy="147637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61950" indent="-271463">
                <a:lnSpc>
                  <a:spcPct val="150000"/>
                </a:lnSpc>
                <a:buSzPct val="110000"/>
                <a:buFont typeface="Wingdings" panose="05000000000000000000" pitchFamily="2" charset="2"/>
                <a:buChar char="Ø"/>
                <a:defRPr/>
              </a:pPr>
              <a:r>
                <a:rPr lang="en-GB" sz="1100" u="sng" dirty="0">
                  <a:solidFill>
                    <a:schemeClr val="tx1"/>
                  </a:solidFill>
                  <a:cs typeface="ＭＳ Ｐゴシック"/>
                </a:rPr>
                <a:t>Credit Intermediaries </a:t>
              </a:r>
              <a:r>
                <a:rPr lang="en-GB" sz="1100" b="1" u="sng" kern="0" dirty="0">
                  <a:solidFill>
                    <a:prstClr val="black"/>
                  </a:solidFill>
                  <a:cs typeface="ＭＳ Ｐゴシック"/>
                </a:rPr>
                <a:t>(</a:t>
              </a:r>
              <a:r>
                <a:rPr lang="en-GB" sz="1100" b="1" u="sng" kern="0" dirty="0" err="1">
                  <a:solidFill>
                    <a:prstClr val="black"/>
                  </a:solidFill>
                  <a:cs typeface="ＭＳ Ｐゴシック"/>
                </a:rPr>
                <a:t>CreditLift</a:t>
              </a:r>
              <a:r>
                <a:rPr lang="en-GB" sz="1100" b="1" u="sng" kern="0" dirty="0">
                  <a:solidFill>
                    <a:prstClr val="black"/>
                  </a:solidFill>
                  <a:cs typeface="ＭＳ Ｐゴシック"/>
                </a:rPr>
                <a:t> </a:t>
              </a:r>
              <a:r>
                <a:rPr lang="en-GB" sz="1100" b="1" u="sng" kern="0" dirty="0" err="1">
                  <a:solidFill>
                    <a:prstClr val="black"/>
                  </a:solidFill>
                  <a:cs typeface="ＭＳ Ｐゴシック"/>
                </a:rPr>
                <a:t>Courtage</a:t>
              </a:r>
              <a:r>
                <a:rPr lang="en-GB" sz="1100" b="1" u="sng" kern="0" dirty="0">
                  <a:solidFill>
                    <a:prstClr val="black"/>
                  </a:solidFill>
                  <a:cs typeface="ＭＳ Ｐゴシック"/>
                </a:rPr>
                <a:t> brand)</a:t>
              </a:r>
            </a:p>
            <a:p>
              <a:pPr marL="361950" indent="-271463">
                <a:lnSpc>
                  <a:spcPct val="150000"/>
                </a:lnSpc>
                <a:buSzPct val="110000"/>
                <a:buFont typeface="Wingdings" panose="05000000000000000000" pitchFamily="2" charset="2"/>
                <a:buChar char="Ø"/>
                <a:defRPr/>
              </a:pPr>
              <a:endParaRPr lang="en-GB" sz="1100" dirty="0">
                <a:solidFill>
                  <a:schemeClr val="tx1"/>
                </a:solidFill>
                <a:latin typeface="Arial" panose="020B0604020202020204" pitchFamily="34" charset="0"/>
                <a:cs typeface="Arial" panose="020B0604020202020204" pitchFamily="34" charset="0"/>
              </a:endParaRPr>
            </a:p>
          </p:txBody>
        </p:sp>
        <p:sp>
          <p:nvSpPr>
            <p:cNvPr id="29" name="Rectangle 10">
              <a:extLst>
                <a:ext uri="{FF2B5EF4-FFF2-40B4-BE49-F238E27FC236}">
                  <a16:creationId xmlns:a16="http://schemas.microsoft.com/office/drawing/2014/main" id="{2DF0AFC0-6D7B-4293-90ED-7E8F8E9753EE}"/>
                </a:ext>
              </a:extLst>
            </p:cNvPr>
            <p:cNvSpPr>
              <a:spLocks noChangeArrowheads="1"/>
            </p:cNvSpPr>
            <p:nvPr/>
          </p:nvSpPr>
          <p:spPr bwMode="gray">
            <a:xfrm>
              <a:off x="1169892" y="1480693"/>
              <a:ext cx="3598281" cy="256032"/>
            </a:xfrm>
            <a:prstGeom prst="rect">
              <a:avLst/>
            </a:prstGeom>
            <a:solidFill>
              <a:srgbClr val="92D050"/>
            </a:solidFill>
            <a:ln w="12700">
              <a:solidFill>
                <a:schemeClr val="tx1"/>
              </a:solidFill>
              <a:miter lim="800000"/>
              <a:headEnd/>
              <a:tailEnd/>
            </a:ln>
          </p:spPr>
          <p:txBody>
            <a:bodyPr anchor="ctr"/>
            <a:lstStyle/>
            <a:p>
              <a:pPr algn="ctr" eaLnBrk="0" hangingPunct="0"/>
              <a:r>
                <a:rPr lang="fr-FR" altLang="fr-FR" sz="1100" b="1" dirty="0" err="1">
                  <a:solidFill>
                    <a:schemeClr val="bg1"/>
                  </a:solidFill>
                  <a:latin typeface="Arial" pitchFamily="34" charset="0"/>
                  <a:ea typeface="MS PGothic" pitchFamily="34" charset="-128"/>
                  <a:cs typeface="Arial" pitchFamily="34" charset="0"/>
                </a:rPr>
                <a:t>Credit</a:t>
              </a:r>
              <a:r>
                <a:rPr lang="fr-FR" altLang="fr-FR" sz="1100" b="1" dirty="0">
                  <a:solidFill>
                    <a:schemeClr val="bg1"/>
                  </a:solidFill>
                  <a:latin typeface="Arial" pitchFamily="34" charset="0"/>
                  <a:ea typeface="MS PGothic" pitchFamily="34" charset="-128"/>
                  <a:cs typeface="Arial" pitchFamily="34" charset="0"/>
                </a:rPr>
                <a:t> </a:t>
              </a:r>
              <a:r>
                <a:rPr lang="fr-FR" altLang="fr-FR" sz="1100" b="1" dirty="0" err="1">
                  <a:solidFill>
                    <a:schemeClr val="bg1"/>
                  </a:solidFill>
                  <a:latin typeface="Arial" pitchFamily="34" charset="0"/>
                  <a:ea typeface="MS PGothic" pitchFamily="34" charset="-128"/>
                  <a:cs typeface="Arial" pitchFamily="34" charset="0"/>
                </a:rPr>
                <a:t>Intermediaries</a:t>
              </a:r>
              <a:endParaRPr lang="fr-FR" altLang="fr-FR" sz="1100" b="1" dirty="0">
                <a:solidFill>
                  <a:schemeClr val="bg1"/>
                </a:solidFill>
                <a:latin typeface="Arial" pitchFamily="34" charset="0"/>
                <a:ea typeface="MS PGothic" pitchFamily="34" charset="-128"/>
                <a:cs typeface="Arial" pitchFamily="34" charset="0"/>
              </a:endParaRPr>
            </a:p>
          </p:txBody>
        </p:sp>
      </p:grpSp>
    </p:spTree>
    <p:extLst>
      <p:ext uri="{BB962C8B-B14F-4D97-AF65-F5344CB8AC3E}">
        <p14:creationId xmlns:p14="http://schemas.microsoft.com/office/powerpoint/2010/main" val="2479405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616672" y="294278"/>
            <a:ext cx="7016579" cy="375848"/>
          </a:xfrm>
        </p:spPr>
        <p:txBody>
          <a:bodyPr vert="horz" lIns="91440" tIns="45720" rIns="91440" bIns="45720" rtlCol="0" anchor="t" anchorCtr="0">
            <a:noAutofit/>
          </a:bodyPr>
          <a:lstStyle/>
          <a:p>
            <a:r>
              <a:rPr lang="en-US" sz="1800" dirty="0">
                <a:solidFill>
                  <a:schemeClr val="tx1"/>
                </a:solidFill>
              </a:rPr>
              <a:t>Credit intermediaries : Distribution Channels Overview</a:t>
            </a:r>
            <a:endParaRPr lang="fr-FR" sz="1800" dirty="0">
              <a:solidFill>
                <a:schemeClr val="tx1"/>
              </a:solidFill>
            </a:endParaRPr>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p:cNvSpPr>
            <a:spLocks noGrp="1"/>
          </p:cNvSpPr>
          <p:nvPr>
            <p:ph type="sldNum" sz="quarter" idx="12"/>
          </p:nvPr>
        </p:nvSpPr>
        <p:spPr bwMode="gray">
          <a:xfrm>
            <a:off x="8739809" y="4857750"/>
            <a:ext cx="291549" cy="197948"/>
          </a:xfrm>
          <a:prstGeom prst="rect">
            <a:avLst/>
          </a:prstGeom>
        </p:spPr>
        <p:txBody>
          <a:bodyPr vert="horz" lIns="0" tIns="45720" rIns="0" bIns="45720" rtlCol="0" anchor="ctr">
            <a:normAutofit fontScale="85000" lnSpcReduction="20000"/>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189"/>
            <a:fld id="{65571E2A-2AE4-4AE9-A5FF-468BE27EC277}" type="slidenum">
              <a:rPr lang="fr-FR" sz="900" b="1">
                <a:solidFill>
                  <a:prstClr val="white"/>
                </a:solidFill>
                <a:latin typeface="Avenir Next LT Pro"/>
              </a:rPr>
              <a:pPr algn="ctr" defTabSz="457189"/>
              <a:t>19</a:t>
            </a:fld>
            <a:endParaRPr lang="fr-FR" sz="900" b="1" dirty="0">
              <a:solidFill>
                <a:prstClr val="white"/>
              </a:solidFill>
              <a:latin typeface="Avenir Next LT Pro"/>
            </a:endParaRPr>
          </a:p>
        </p:txBody>
      </p:sp>
      <p:sp>
        <p:nvSpPr>
          <p:cNvPr id="12" name="Line 5"/>
          <p:cNvSpPr>
            <a:spLocks noChangeShapeType="1"/>
          </p:cNvSpPr>
          <p:nvPr/>
        </p:nvSpPr>
        <p:spPr bwMode="auto">
          <a:xfrm flipH="1">
            <a:off x="4012880" y="1265633"/>
            <a:ext cx="0" cy="2160984"/>
          </a:xfrm>
          <a:prstGeom prst="line">
            <a:avLst/>
          </a:prstGeom>
          <a:noFill/>
          <a:ln w="19050">
            <a:solidFill>
              <a:srgbClr val="00B050"/>
            </a:solidFill>
            <a:prstDash val="sysDash"/>
            <a:round/>
            <a:headEnd/>
            <a:tailEnd/>
          </a:ln>
          <a:extLst>
            <a:ext uri="{909E8E84-426E-40DD-AFC4-6F175D3DCCD1}">
              <a14:hiddenFill xmlns:a14="http://schemas.microsoft.com/office/drawing/2010/main">
                <a:noFill/>
              </a14:hiddenFill>
            </a:ext>
          </a:extLst>
        </p:spPr>
        <p:txBody>
          <a:bodyPr/>
          <a:lstStyle/>
          <a:p>
            <a:endParaRPr lang="fr-FR" sz="1350"/>
          </a:p>
        </p:txBody>
      </p:sp>
      <p:sp>
        <p:nvSpPr>
          <p:cNvPr id="13" name="Line 6"/>
          <p:cNvSpPr>
            <a:spLocks noChangeShapeType="1"/>
          </p:cNvSpPr>
          <p:nvPr/>
        </p:nvSpPr>
        <p:spPr bwMode="auto">
          <a:xfrm>
            <a:off x="872011" y="3426617"/>
            <a:ext cx="5782866" cy="0"/>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a:lstStyle/>
          <a:p>
            <a:endParaRPr lang="fr-FR" sz="1350"/>
          </a:p>
        </p:txBody>
      </p:sp>
      <p:sp>
        <p:nvSpPr>
          <p:cNvPr id="14" name="Rectangle 13"/>
          <p:cNvSpPr/>
          <p:nvPr/>
        </p:nvSpPr>
        <p:spPr>
          <a:xfrm>
            <a:off x="872011" y="1293017"/>
            <a:ext cx="3015854" cy="135016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defRPr/>
            </a:pPr>
            <a:endParaRPr lang="en-US" sz="1050" b="1" dirty="0"/>
          </a:p>
          <a:p>
            <a:pPr marL="339329" indent="-203597">
              <a:defRPr/>
            </a:pPr>
            <a:r>
              <a:rPr lang="en-US" sz="1050" b="1" dirty="0"/>
              <a:t>Credit intermediaries</a:t>
            </a:r>
          </a:p>
          <a:p>
            <a:pPr marL="135731">
              <a:defRPr/>
            </a:pPr>
            <a:r>
              <a:rPr lang="en-US" sz="675" b="1" dirty="0"/>
              <a:t>(Intermediaries in banking operations and payment services – IOBSP )</a:t>
            </a:r>
          </a:p>
          <a:p>
            <a:pPr marL="339329" indent="-203597">
              <a:defRPr/>
            </a:pPr>
            <a:endParaRPr lang="en-US" sz="1050" b="1" dirty="0"/>
          </a:p>
          <a:p>
            <a:pPr marL="339329" indent="-203597">
              <a:buBlip>
                <a:blip r:embed="rId2"/>
              </a:buBlip>
              <a:defRPr/>
            </a:pPr>
            <a:r>
              <a:rPr lang="en-US" sz="1050" dirty="0"/>
              <a:t>“Non exclusive Representatives”</a:t>
            </a:r>
          </a:p>
        </p:txBody>
      </p:sp>
      <p:sp>
        <p:nvSpPr>
          <p:cNvPr id="15" name="Rectangle 14"/>
          <p:cNvSpPr/>
          <p:nvPr/>
        </p:nvSpPr>
        <p:spPr>
          <a:xfrm>
            <a:off x="2509120" y="3507580"/>
            <a:ext cx="3024188" cy="135016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defRPr/>
            </a:pPr>
            <a:endParaRPr lang="en-US" sz="900" b="1" dirty="0"/>
          </a:p>
          <a:p>
            <a:pPr marL="339329" indent="-203597">
              <a:defRPr/>
            </a:pPr>
            <a:r>
              <a:rPr lang="en-US" sz="900" b="1" dirty="0"/>
              <a:t>Lender : CA-Consumer Finance</a:t>
            </a:r>
            <a:br>
              <a:rPr lang="en-US" sz="900" b="1" dirty="0"/>
            </a:br>
            <a:r>
              <a:rPr lang="en-US" sz="900" b="1" dirty="0"/>
              <a:t>Brand : </a:t>
            </a:r>
            <a:r>
              <a:rPr lang="en-US" sz="900" b="1" dirty="0" err="1"/>
              <a:t>CréditLift</a:t>
            </a:r>
            <a:r>
              <a:rPr lang="en-US" sz="900" b="1" dirty="0"/>
              <a:t> </a:t>
            </a:r>
            <a:r>
              <a:rPr lang="en-US" sz="900" b="1" dirty="0" err="1"/>
              <a:t>Courtage</a:t>
            </a:r>
            <a:endParaRPr lang="en-US" sz="900" b="1" dirty="0"/>
          </a:p>
          <a:p>
            <a:pPr marL="339329" indent="-203597">
              <a:defRPr/>
            </a:pPr>
            <a:endParaRPr lang="en-US" sz="900" dirty="0"/>
          </a:p>
          <a:p>
            <a:pPr marL="339329" indent="-203597">
              <a:defRPr/>
            </a:pPr>
            <a:endParaRPr lang="en-US" sz="900" dirty="0"/>
          </a:p>
        </p:txBody>
      </p:sp>
      <p:sp>
        <p:nvSpPr>
          <p:cNvPr id="16" name="Rectangle 15"/>
          <p:cNvSpPr/>
          <p:nvPr/>
        </p:nvSpPr>
        <p:spPr>
          <a:xfrm>
            <a:off x="4137896" y="1293017"/>
            <a:ext cx="2713435" cy="13501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defRPr/>
            </a:pPr>
            <a:endParaRPr lang="en-US" sz="1050" b="1" dirty="0">
              <a:solidFill>
                <a:schemeClr val="tx1"/>
              </a:solidFill>
            </a:endParaRPr>
          </a:p>
          <a:p>
            <a:pPr marL="339329" indent="-203597">
              <a:defRPr/>
            </a:pPr>
            <a:r>
              <a:rPr lang="en-US" sz="1050" b="1" dirty="0">
                <a:solidFill>
                  <a:schemeClr val="tx1"/>
                </a:solidFill>
              </a:rPr>
              <a:t>Examples :</a:t>
            </a:r>
          </a:p>
          <a:p>
            <a:pPr marL="339329" indent="-203597">
              <a:defRPr/>
            </a:pPr>
            <a:endParaRPr lang="en-US" sz="750" b="1" dirty="0">
              <a:solidFill>
                <a:schemeClr val="tx1"/>
              </a:solidFill>
            </a:endParaRPr>
          </a:p>
          <a:p>
            <a:pPr marL="339329" indent="-203597" algn="just">
              <a:buBlip>
                <a:blip r:embed="rId2"/>
              </a:buBlip>
              <a:defRPr/>
            </a:pPr>
            <a:r>
              <a:rPr lang="fr-FR" sz="1050" b="0" i="0" u="none" strike="noStrike" dirty="0">
                <a:solidFill>
                  <a:srgbClr val="000000"/>
                </a:solidFill>
                <a:effectLst/>
                <a:latin typeface="Calibri" panose="020F0502020204030204" pitchFamily="34" charset="0"/>
              </a:rPr>
              <a:t>MB FINANCES</a:t>
            </a:r>
          </a:p>
          <a:p>
            <a:pPr marL="339329" indent="-203597" algn="just">
              <a:buBlip>
                <a:blip r:embed="rId2"/>
              </a:buBlip>
              <a:defRPr/>
            </a:pPr>
            <a:r>
              <a:rPr lang="fr-FR" sz="1050" b="0" i="0" u="none" strike="noStrike" dirty="0">
                <a:solidFill>
                  <a:srgbClr val="000000"/>
                </a:solidFill>
                <a:effectLst/>
                <a:latin typeface="Calibri" panose="020F0502020204030204" pitchFamily="34" charset="0"/>
              </a:rPr>
              <a:t>PREMIDIRECT</a:t>
            </a:r>
          </a:p>
          <a:p>
            <a:pPr marL="339329" indent="-203597" algn="just">
              <a:buBlip>
                <a:blip r:embed="rId2"/>
              </a:buBlip>
              <a:defRPr/>
            </a:pPr>
            <a:r>
              <a:rPr lang="fr-FR" sz="1050" b="0" i="0" u="none" strike="noStrike" dirty="0">
                <a:solidFill>
                  <a:srgbClr val="000000"/>
                </a:solidFill>
                <a:effectLst/>
                <a:latin typeface="Calibri" panose="020F0502020204030204" pitchFamily="34" charset="0"/>
              </a:rPr>
              <a:t>CREDISTOR</a:t>
            </a:r>
          </a:p>
        </p:txBody>
      </p:sp>
      <p:sp>
        <p:nvSpPr>
          <p:cNvPr id="17" name="Rectangle à coins arrondis 16"/>
          <p:cNvSpPr/>
          <p:nvPr/>
        </p:nvSpPr>
        <p:spPr>
          <a:xfrm>
            <a:off x="1794746" y="2696765"/>
            <a:ext cx="1819275" cy="567928"/>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200" dirty="0" err="1"/>
              <a:t>Approval</a:t>
            </a:r>
            <a:r>
              <a:rPr lang="fr-FR" sz="1200" dirty="0"/>
              <a:t> </a:t>
            </a:r>
            <a:r>
              <a:rPr lang="fr-FR" sz="1200" dirty="0" err="1"/>
              <a:t>procedure</a:t>
            </a:r>
            <a:endParaRPr lang="fr-FR" sz="1200" dirty="0"/>
          </a:p>
        </p:txBody>
      </p:sp>
      <p:pic>
        <p:nvPicPr>
          <p:cNvPr id="3" name="Image 2">
            <a:extLst>
              <a:ext uri="{FF2B5EF4-FFF2-40B4-BE49-F238E27FC236}">
                <a16:creationId xmlns:a16="http://schemas.microsoft.com/office/drawing/2014/main" id="{5D5E76A1-E660-4749-8E60-B29EF1DB0D7B}"/>
              </a:ext>
            </a:extLst>
          </p:cNvPr>
          <p:cNvPicPr>
            <a:picLocks noChangeAspect="1"/>
          </p:cNvPicPr>
          <p:nvPr/>
        </p:nvPicPr>
        <p:blipFill>
          <a:blip r:embed="rId3"/>
          <a:stretch>
            <a:fillRect/>
          </a:stretch>
        </p:blipFill>
        <p:spPr>
          <a:xfrm>
            <a:off x="3278285" y="4090363"/>
            <a:ext cx="1094932" cy="372742"/>
          </a:xfrm>
          <a:prstGeom prst="rect">
            <a:avLst/>
          </a:prstGeom>
        </p:spPr>
      </p:pic>
    </p:spTree>
    <p:extLst>
      <p:ext uri="{BB962C8B-B14F-4D97-AF65-F5344CB8AC3E}">
        <p14:creationId xmlns:p14="http://schemas.microsoft.com/office/powerpoint/2010/main" val="11276741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a:t>Summary</a:t>
            </a:r>
            <a:endParaRPr lang="fr-FR" dirty="0"/>
          </a:p>
        </p:txBody>
      </p:sp>
      <p:sp>
        <p:nvSpPr>
          <p:cNvPr id="3" name="Espace réservé du texte 2"/>
          <p:cNvSpPr>
            <a:spLocks noGrp="1"/>
          </p:cNvSpPr>
          <p:nvPr>
            <p:ph type="body" sz="quarter" idx="11"/>
          </p:nvPr>
        </p:nvSpPr>
        <p:spPr>
          <a:xfrm>
            <a:off x="2475551" y="817725"/>
            <a:ext cx="593415" cy="688974"/>
          </a:xfrm>
        </p:spPr>
        <p:txBody>
          <a:bodyPr/>
          <a:lstStyle/>
          <a:p>
            <a:r>
              <a:rPr lang="fr-FR" sz="1400" dirty="0"/>
              <a:t>1.</a:t>
            </a:r>
          </a:p>
        </p:txBody>
      </p:sp>
      <p:sp>
        <p:nvSpPr>
          <p:cNvPr id="4" name="Espace réservé du texte 3"/>
          <p:cNvSpPr>
            <a:spLocks noGrp="1"/>
          </p:cNvSpPr>
          <p:nvPr>
            <p:ph type="body" sz="quarter" idx="12"/>
          </p:nvPr>
        </p:nvSpPr>
        <p:spPr>
          <a:xfrm>
            <a:off x="3084506" y="1637071"/>
            <a:ext cx="4111733" cy="2912526"/>
          </a:xfrm>
        </p:spPr>
        <p:txBody>
          <a:bodyPr/>
          <a:lstStyle/>
          <a:p>
            <a:r>
              <a:rPr lang="en-US" b="1" dirty="0"/>
              <a:t>Overview of CA Consumer Finance</a:t>
            </a:r>
          </a:p>
          <a:p>
            <a:endParaRPr lang="en-US" b="1" dirty="0"/>
          </a:p>
          <a:p>
            <a:r>
              <a:rPr lang="en-US" b="1" dirty="0"/>
              <a:t>Distribution Channels and products</a:t>
            </a:r>
          </a:p>
          <a:p>
            <a:endParaRPr lang="en-US" b="1" dirty="0"/>
          </a:p>
          <a:p>
            <a:r>
              <a:rPr lang="en-US" b="1" dirty="0"/>
              <a:t>Underwriting process</a:t>
            </a:r>
          </a:p>
          <a:p>
            <a:endParaRPr lang="en-US" b="1" dirty="0"/>
          </a:p>
          <a:p>
            <a:r>
              <a:rPr lang="en-US" b="1" dirty="0"/>
              <a:t>Collection and </a:t>
            </a:r>
            <a:r>
              <a:rPr lang="en-US" b="1" dirty="0" err="1"/>
              <a:t>overindebtedness</a:t>
            </a:r>
            <a:r>
              <a:rPr lang="en-US" b="1" dirty="0"/>
              <a:t> process / litigation process</a:t>
            </a:r>
            <a:endParaRPr lang="fr-FR" b="1" dirty="0"/>
          </a:p>
          <a:p>
            <a:endParaRPr lang="fr-FR" b="1" dirty="0"/>
          </a:p>
          <a:p>
            <a:r>
              <a:rPr lang="en-US" b="1" dirty="0"/>
              <a:t>Risk and Permanent Control</a:t>
            </a:r>
            <a:endParaRPr lang="fr-FR" b="1" dirty="0"/>
          </a:p>
          <a:p>
            <a:endParaRPr lang="fr-FR" b="1" dirty="0"/>
          </a:p>
          <a:p>
            <a:r>
              <a:rPr lang="en-US" b="1" dirty="0"/>
              <a:t>Internal Audit</a:t>
            </a:r>
          </a:p>
          <a:p>
            <a:endParaRPr lang="en-US" b="1" dirty="0"/>
          </a:p>
          <a:p>
            <a:r>
              <a:rPr lang="fr-FR" b="1" dirty="0"/>
              <a:t>CACF IT System</a:t>
            </a:r>
          </a:p>
          <a:p>
            <a:endParaRPr lang="fr-FR" b="1" dirty="0"/>
          </a:p>
          <a:p>
            <a:r>
              <a:rPr lang="fr-FR" b="1" dirty="0" err="1"/>
              <a:t>Environmental</a:t>
            </a:r>
            <a:r>
              <a:rPr lang="fr-FR" b="1" dirty="0"/>
              <a:t>, Social, And </a:t>
            </a:r>
            <a:r>
              <a:rPr lang="fr-FR" b="1" dirty="0" err="1"/>
              <a:t>Governance</a:t>
            </a:r>
            <a:endParaRPr lang="fr-FR" b="1" dirty="0"/>
          </a:p>
          <a:p>
            <a:endParaRPr lang="fr-FR" b="1" dirty="0"/>
          </a:p>
          <a:p>
            <a:endParaRPr lang="fr-FR" b="1" dirty="0"/>
          </a:p>
        </p:txBody>
      </p:sp>
      <p:sp>
        <p:nvSpPr>
          <p:cNvPr id="5" name="Espace réservé du texte 4"/>
          <p:cNvSpPr>
            <a:spLocks noGrp="1"/>
          </p:cNvSpPr>
          <p:nvPr>
            <p:ph type="body" sz="quarter" idx="13"/>
          </p:nvPr>
        </p:nvSpPr>
        <p:spPr>
          <a:xfrm>
            <a:off x="2473075" y="1277393"/>
            <a:ext cx="593415" cy="689175"/>
          </a:xfrm>
        </p:spPr>
        <p:txBody>
          <a:bodyPr/>
          <a:lstStyle/>
          <a:p>
            <a:r>
              <a:rPr lang="fr-FR" sz="1400" dirty="0"/>
              <a:t>2.</a:t>
            </a:r>
          </a:p>
        </p:txBody>
      </p:sp>
      <p:sp>
        <p:nvSpPr>
          <p:cNvPr id="7" name="Espace réservé du texte 6"/>
          <p:cNvSpPr>
            <a:spLocks noGrp="1"/>
          </p:cNvSpPr>
          <p:nvPr>
            <p:ph type="body" sz="quarter" idx="15"/>
          </p:nvPr>
        </p:nvSpPr>
        <p:spPr>
          <a:xfrm>
            <a:off x="2469415" y="1715735"/>
            <a:ext cx="593415" cy="689175"/>
          </a:xfrm>
        </p:spPr>
        <p:txBody>
          <a:bodyPr/>
          <a:lstStyle/>
          <a:p>
            <a:r>
              <a:rPr lang="fr-FR" sz="1400" dirty="0"/>
              <a:t>3.</a:t>
            </a:r>
          </a:p>
        </p:txBody>
      </p:sp>
      <p:sp>
        <p:nvSpPr>
          <p:cNvPr id="19" name="Espace réservé du numéro de diapositive 18"/>
          <p:cNvSpPr>
            <a:spLocks noGrp="1"/>
          </p:cNvSpPr>
          <p:nvPr>
            <p:ph type="sldNum" sz="quarter" idx="27"/>
          </p:nvPr>
        </p:nvSpPr>
        <p:spPr>
          <a:xfrm>
            <a:off x="8637511" y="4846820"/>
            <a:ext cx="495300" cy="274637"/>
          </a:xfrm>
        </p:spPr>
        <p:txBody>
          <a:bodyPr/>
          <a:lstStyle/>
          <a:p>
            <a:fld id="{98BD2159-827C-4021-9B0E-DCD852BEB59E}" type="slidenum">
              <a:rPr lang="en-GB" smtClean="0"/>
              <a:pPr/>
              <a:t>2</a:t>
            </a:fld>
            <a:endParaRPr lang="en-GB" dirty="0"/>
          </a:p>
        </p:txBody>
      </p:sp>
      <p:sp>
        <p:nvSpPr>
          <p:cNvPr id="16" name="Espace réservé du texte 6"/>
          <p:cNvSpPr>
            <a:spLocks noGrp="1"/>
          </p:cNvSpPr>
          <p:nvPr>
            <p:ph type="body" sz="quarter" idx="15"/>
          </p:nvPr>
        </p:nvSpPr>
        <p:spPr>
          <a:xfrm>
            <a:off x="2440055" y="2229656"/>
            <a:ext cx="608654" cy="689175"/>
          </a:xfrm>
        </p:spPr>
        <p:txBody>
          <a:bodyPr/>
          <a:lstStyle/>
          <a:p>
            <a:r>
              <a:rPr lang="fr-FR" sz="1400" dirty="0"/>
              <a:t>4.</a:t>
            </a:r>
          </a:p>
        </p:txBody>
      </p:sp>
      <p:sp>
        <p:nvSpPr>
          <p:cNvPr id="13" name="Espace réservé du texte 6"/>
          <p:cNvSpPr>
            <a:spLocks noGrp="1"/>
          </p:cNvSpPr>
          <p:nvPr>
            <p:ph type="body" sz="quarter" idx="15"/>
          </p:nvPr>
        </p:nvSpPr>
        <p:spPr>
          <a:xfrm>
            <a:off x="2439991" y="2812497"/>
            <a:ext cx="608654" cy="689175"/>
          </a:xfrm>
        </p:spPr>
        <p:txBody>
          <a:bodyPr/>
          <a:lstStyle/>
          <a:p>
            <a:r>
              <a:rPr lang="fr-FR" sz="1400" dirty="0"/>
              <a:t>5.</a:t>
            </a:r>
          </a:p>
        </p:txBody>
      </p:sp>
      <p:sp>
        <p:nvSpPr>
          <p:cNvPr id="15" name="Espace réservé du texte 6"/>
          <p:cNvSpPr>
            <a:spLocks noGrp="1"/>
          </p:cNvSpPr>
          <p:nvPr>
            <p:ph type="body" sz="quarter" idx="15"/>
          </p:nvPr>
        </p:nvSpPr>
        <p:spPr>
          <a:xfrm>
            <a:off x="2447804" y="3289516"/>
            <a:ext cx="608654" cy="689175"/>
          </a:xfrm>
        </p:spPr>
        <p:txBody>
          <a:bodyPr/>
          <a:lstStyle/>
          <a:p>
            <a:r>
              <a:rPr lang="fr-FR" sz="1400" dirty="0"/>
              <a:t>6.</a:t>
            </a:r>
          </a:p>
        </p:txBody>
      </p:sp>
      <p:sp>
        <p:nvSpPr>
          <p:cNvPr id="21" name="Espace réservé du texte 2"/>
          <p:cNvSpPr>
            <a:spLocks noGrp="1"/>
          </p:cNvSpPr>
          <p:nvPr>
            <p:ph type="body" sz="quarter" idx="11"/>
          </p:nvPr>
        </p:nvSpPr>
        <p:spPr>
          <a:xfrm>
            <a:off x="2455359" y="3735959"/>
            <a:ext cx="593415" cy="688974"/>
          </a:xfrm>
        </p:spPr>
        <p:txBody>
          <a:bodyPr/>
          <a:lstStyle/>
          <a:p>
            <a:r>
              <a:rPr lang="fr-FR" sz="1400" dirty="0"/>
              <a:t>7.</a:t>
            </a:r>
          </a:p>
        </p:txBody>
      </p:sp>
      <p:sp>
        <p:nvSpPr>
          <p:cNvPr id="24" name="Espace réservé du texte 2"/>
          <p:cNvSpPr>
            <a:spLocks noGrp="1"/>
          </p:cNvSpPr>
          <p:nvPr>
            <p:ph type="body" sz="quarter" idx="11"/>
          </p:nvPr>
        </p:nvSpPr>
        <p:spPr>
          <a:xfrm>
            <a:off x="2461763" y="4211087"/>
            <a:ext cx="593415" cy="688974"/>
          </a:xfrm>
        </p:spPr>
        <p:txBody>
          <a:bodyPr/>
          <a:lstStyle/>
          <a:p>
            <a:r>
              <a:rPr lang="fr-FR" sz="1400" dirty="0"/>
              <a:t>8.</a:t>
            </a:r>
          </a:p>
        </p:txBody>
      </p:sp>
    </p:spTree>
    <p:extLst>
      <p:ext uri="{BB962C8B-B14F-4D97-AF65-F5344CB8AC3E}">
        <p14:creationId xmlns:p14="http://schemas.microsoft.com/office/powerpoint/2010/main" val="5964981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p:cNvSpPr>
            <a:spLocks noGrp="1"/>
          </p:cNvSpPr>
          <p:nvPr>
            <p:ph type="sldNum" sz="quarter" idx="12"/>
          </p:nvPr>
        </p:nvSpPr>
        <p:spPr bwMode="gray">
          <a:xfrm>
            <a:off x="8797501" y="4790126"/>
            <a:ext cx="174221" cy="353374"/>
          </a:xfrm>
          <a:prstGeom prst="rect">
            <a:avLst/>
          </a:prstGeom>
        </p:spPr>
        <p:txBody>
          <a:bodyPr vert="horz" lIns="0" tIns="45720" rIns="0" bIns="45720" rtlCol="0" anchor="ctr">
            <a:norm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189"/>
            <a:fld id="{65571E2A-2AE4-4AE9-A5FF-468BE27EC277}" type="slidenum">
              <a:rPr lang="fr-FR" sz="900" b="1">
                <a:solidFill>
                  <a:prstClr val="white"/>
                </a:solidFill>
                <a:latin typeface="Avenir Next LT Pro"/>
              </a:rPr>
              <a:pPr algn="ctr" defTabSz="457189"/>
              <a:t>20</a:t>
            </a:fld>
            <a:endParaRPr lang="fr-FR" sz="900" b="1" dirty="0">
              <a:solidFill>
                <a:prstClr val="white"/>
              </a:solidFill>
              <a:latin typeface="Avenir Next LT Pro"/>
            </a:endParaRPr>
          </a:p>
        </p:txBody>
      </p:sp>
      <p:sp>
        <p:nvSpPr>
          <p:cNvPr id="8" name="Rectangle 7"/>
          <p:cNvSpPr/>
          <p:nvPr/>
        </p:nvSpPr>
        <p:spPr>
          <a:xfrm>
            <a:off x="439554" y="256059"/>
            <a:ext cx="8264891" cy="572201"/>
          </a:xfrm>
          <a:prstGeom prst="rect">
            <a:avLst/>
          </a:prstGeom>
        </p:spPr>
        <p:txBody>
          <a:bodyPr vert="horz" lIns="91440" tIns="45720" rIns="91440" bIns="45720" rtlCol="0" anchor="t" anchorCtr="0">
            <a:noAutofit/>
          </a:bodyPr>
          <a:lstStyle/>
          <a:p>
            <a:pPr defTabSz="914400">
              <a:lnSpc>
                <a:spcPct val="90000"/>
              </a:lnSpc>
              <a:spcBef>
                <a:spcPct val="0"/>
              </a:spcBef>
            </a:pPr>
            <a:r>
              <a:rPr lang="en-US" b="1" dirty="0">
                <a:latin typeface="+mj-lt"/>
                <a:ea typeface="+mj-ea"/>
                <a:cs typeface="+mj-cs"/>
              </a:rPr>
              <a:t>Credit intermediaries </a:t>
            </a:r>
          </a:p>
          <a:p>
            <a:pPr defTabSz="914400">
              <a:lnSpc>
                <a:spcPct val="90000"/>
              </a:lnSpc>
              <a:spcBef>
                <a:spcPct val="0"/>
              </a:spcBef>
            </a:pPr>
            <a:r>
              <a:rPr lang="fr-FR" sz="1600" b="1" dirty="0" err="1">
                <a:solidFill>
                  <a:schemeClr val="bg1">
                    <a:lumMod val="65000"/>
                  </a:schemeClr>
                </a:solidFill>
                <a:latin typeface="+mj-lt"/>
                <a:ea typeface="+mj-ea"/>
                <a:cs typeface="+mj-cs"/>
              </a:rPr>
              <a:t>Steps</a:t>
            </a:r>
            <a:r>
              <a:rPr lang="fr-FR" sz="1600" b="1" dirty="0">
                <a:solidFill>
                  <a:schemeClr val="bg1">
                    <a:lumMod val="65000"/>
                  </a:schemeClr>
                </a:solidFill>
                <a:latin typeface="+mj-lt"/>
                <a:ea typeface="+mj-ea"/>
                <a:cs typeface="+mj-cs"/>
              </a:rPr>
              <a:t> of an entry in relation </a:t>
            </a:r>
            <a:r>
              <a:rPr lang="fr-FR" sz="1600" b="1" dirty="0" err="1">
                <a:solidFill>
                  <a:schemeClr val="bg1">
                    <a:lumMod val="65000"/>
                  </a:schemeClr>
                </a:solidFill>
                <a:latin typeface="+mj-lt"/>
                <a:ea typeface="+mj-ea"/>
                <a:cs typeface="+mj-cs"/>
              </a:rPr>
              <a:t>under</a:t>
            </a:r>
            <a:r>
              <a:rPr lang="fr-FR" sz="1600" b="1" dirty="0">
                <a:solidFill>
                  <a:schemeClr val="bg1">
                    <a:lumMod val="65000"/>
                  </a:schemeClr>
                </a:solidFill>
                <a:latin typeface="+mj-lt"/>
                <a:ea typeface="+mj-ea"/>
                <a:cs typeface="+mj-cs"/>
              </a:rPr>
              <a:t> </a:t>
            </a:r>
            <a:r>
              <a:rPr lang="fr-FR" sz="1600" b="1" dirty="0" err="1">
                <a:solidFill>
                  <a:schemeClr val="bg1">
                    <a:lumMod val="65000"/>
                  </a:schemeClr>
                </a:solidFill>
                <a:latin typeface="+mj-lt"/>
                <a:ea typeface="+mj-ea"/>
                <a:cs typeface="+mj-cs"/>
              </a:rPr>
              <a:t>Econvention</a:t>
            </a:r>
            <a:endParaRPr lang="fr-FR" sz="1600" b="1" dirty="0">
              <a:solidFill>
                <a:schemeClr val="bg1">
                  <a:lumMod val="65000"/>
                </a:schemeClr>
              </a:solidFill>
              <a:latin typeface="+mj-lt"/>
              <a:ea typeface="+mj-ea"/>
              <a:cs typeface="+mj-cs"/>
            </a:endParaRPr>
          </a:p>
        </p:txBody>
      </p:sp>
      <p:sp>
        <p:nvSpPr>
          <p:cNvPr id="3" name="ZoneTexte 2"/>
          <p:cNvSpPr txBox="1"/>
          <p:nvPr/>
        </p:nvSpPr>
        <p:spPr>
          <a:xfrm>
            <a:off x="3034749" y="1147955"/>
            <a:ext cx="4366590" cy="3185487"/>
          </a:xfrm>
          <a:prstGeom prst="rect">
            <a:avLst/>
          </a:prstGeom>
          <a:noFill/>
        </p:spPr>
        <p:txBody>
          <a:bodyPr wrap="square" rtlCol="0">
            <a:spAutoFit/>
          </a:bodyPr>
          <a:lstStyle/>
          <a:p>
            <a:pPr algn="just"/>
            <a:r>
              <a:rPr lang="fr-FR" sz="1000" dirty="0"/>
              <a:t>1- </a:t>
            </a:r>
            <a:r>
              <a:rPr lang="en-US" sz="1000" dirty="0"/>
              <a:t>Creation of a new integration request sent by the Partnership Manager to the Sales Manager, who accepts or not the entry into relationship.</a:t>
            </a:r>
            <a:endParaRPr lang="fr-FR" sz="1000" dirty="0"/>
          </a:p>
          <a:p>
            <a:pPr algn="just"/>
            <a:endParaRPr lang="fr-FR" sz="1000" dirty="0"/>
          </a:p>
          <a:p>
            <a:pPr algn="just"/>
            <a:r>
              <a:rPr lang="fr-FR" sz="1000" dirty="0"/>
              <a:t>2- </a:t>
            </a:r>
            <a:r>
              <a:rPr lang="en-US" sz="1000" dirty="0"/>
              <a:t>The file is in the hand of the administrator who checks the whole application (credit intermediaries identity card / elements of remuneration / validity of the supporting documents)</a:t>
            </a:r>
            <a:r>
              <a:rPr lang="fr-FR" sz="1000" dirty="0"/>
              <a:t>. </a:t>
            </a:r>
          </a:p>
          <a:p>
            <a:pPr algn="just"/>
            <a:endParaRPr lang="fr-FR" sz="1000" dirty="0"/>
          </a:p>
          <a:p>
            <a:pPr algn="just"/>
            <a:r>
              <a:rPr lang="fr-FR" sz="1000" dirty="0"/>
              <a:t>3- </a:t>
            </a:r>
            <a:r>
              <a:rPr lang="en-US" sz="1000" dirty="0"/>
              <a:t>In parallel, the administrator carries out a BATICA control (Identity card / FIBEN 27 / FIBEN 51 / FCC), checks if the partner is </a:t>
            </a:r>
            <a:r>
              <a:rPr lang="en-US" sz="1100" dirty="0"/>
              <a:t>known</a:t>
            </a:r>
            <a:r>
              <a:rPr lang="en-US" sz="1000" dirty="0"/>
              <a:t> on the management tool (called 3270) and makes a request for an opinion with the LABFT</a:t>
            </a:r>
            <a:r>
              <a:rPr lang="fr-FR" sz="1000" dirty="0"/>
              <a:t>. </a:t>
            </a:r>
          </a:p>
          <a:p>
            <a:pPr algn="just"/>
            <a:endParaRPr lang="fr-FR" sz="1000" dirty="0"/>
          </a:p>
          <a:p>
            <a:pPr algn="just"/>
            <a:r>
              <a:rPr lang="fr-FR" sz="1000" dirty="0"/>
              <a:t>4- </a:t>
            </a:r>
            <a:r>
              <a:rPr lang="en-US" sz="1000" dirty="0"/>
              <a:t>The whole file is coherent, the controls are OK, the administrator launches the file in signature.</a:t>
            </a:r>
          </a:p>
          <a:p>
            <a:pPr algn="just"/>
            <a:endParaRPr lang="en-US" sz="1000" dirty="0"/>
          </a:p>
          <a:p>
            <a:pPr algn="just"/>
            <a:r>
              <a:rPr lang="en-US" sz="1000" dirty="0"/>
              <a:t>5- The credit intermediary receive an email to connect on </a:t>
            </a:r>
            <a:r>
              <a:rPr lang="en-US" sz="1000" i="1" dirty="0"/>
              <a:t>https://econvention.ca-cf.fr/</a:t>
            </a:r>
            <a:r>
              <a:rPr lang="en-US" sz="1000" dirty="0"/>
              <a:t>  and sign his convention.</a:t>
            </a:r>
          </a:p>
          <a:p>
            <a:pPr algn="just"/>
            <a:endParaRPr lang="en-US" sz="1000" dirty="0"/>
          </a:p>
          <a:p>
            <a:pPr algn="just"/>
            <a:r>
              <a:rPr lang="en-US" sz="1000" dirty="0"/>
              <a:t>6- Configuration of the new credit intermediary on the 3270.</a:t>
            </a:r>
          </a:p>
          <a:p>
            <a:pPr algn="just"/>
            <a:endParaRPr lang="en-US" sz="1000" dirty="0"/>
          </a:p>
        </p:txBody>
      </p:sp>
      <p:pic>
        <p:nvPicPr>
          <p:cNvPr id="13314" name="Image 5">
            <a:extLst>
              <a:ext uri="{FF2B5EF4-FFF2-40B4-BE49-F238E27FC236}">
                <a16:creationId xmlns:a16="http://schemas.microsoft.com/office/drawing/2014/main" id="{975C0674-213D-4CA3-926B-21455474A6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4022" y="1199322"/>
            <a:ext cx="1956169" cy="795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a:extLst>
              <a:ext uri="{FF2B5EF4-FFF2-40B4-BE49-F238E27FC236}">
                <a16:creationId xmlns:a16="http://schemas.microsoft.com/office/drawing/2014/main" id="{8E44AC93-593B-4C1C-8882-08CC9DAF76A4}"/>
              </a:ext>
            </a:extLst>
          </p:cNvPr>
          <p:cNvPicPr>
            <a:picLocks noChangeAspect="1"/>
          </p:cNvPicPr>
          <p:nvPr/>
        </p:nvPicPr>
        <p:blipFill>
          <a:blip r:embed="rId3"/>
          <a:stretch>
            <a:fillRect/>
          </a:stretch>
        </p:blipFill>
        <p:spPr>
          <a:xfrm>
            <a:off x="734022" y="1994331"/>
            <a:ext cx="1948487" cy="1297954"/>
          </a:xfrm>
          <a:prstGeom prst="rect">
            <a:avLst/>
          </a:prstGeom>
        </p:spPr>
      </p:pic>
    </p:spTree>
    <p:extLst>
      <p:ext uri="{BB962C8B-B14F-4D97-AF65-F5344CB8AC3E}">
        <p14:creationId xmlns:p14="http://schemas.microsoft.com/office/powerpoint/2010/main" val="34336329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536021" y="222289"/>
            <a:ext cx="6038204" cy="294879"/>
          </a:xfrm>
        </p:spPr>
        <p:txBody>
          <a:bodyPr/>
          <a:lstStyle/>
          <a:p>
            <a:r>
              <a:rPr lang="en-US" sz="1600" dirty="0">
                <a:solidFill>
                  <a:schemeClr val="tx1"/>
                </a:solidFill>
              </a:rPr>
              <a:t>Credit intermediaries : Distribution Channels Overview</a:t>
            </a:r>
            <a:endParaRPr lang="fr-FR" sz="1500" dirty="0">
              <a:solidFill>
                <a:schemeClr val="tx1"/>
              </a:solidFill>
            </a:endParaRPr>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18" name="Rectangle 17"/>
          <p:cNvSpPr/>
          <p:nvPr/>
        </p:nvSpPr>
        <p:spPr>
          <a:xfrm>
            <a:off x="6094295" y="2488174"/>
            <a:ext cx="2363391" cy="80739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defRPr/>
            </a:pPr>
            <a:endParaRPr lang="en-US" sz="900" b="1" dirty="0"/>
          </a:p>
          <a:p>
            <a:pPr marL="339329" indent="-203597">
              <a:defRPr/>
            </a:pPr>
            <a:r>
              <a:rPr lang="en-US" sz="900" b="1" dirty="0"/>
              <a:t>         CA-Consumer Finance</a:t>
            </a:r>
            <a:br>
              <a:rPr lang="en-US" sz="900" b="1" dirty="0"/>
            </a:br>
            <a:r>
              <a:rPr lang="en-US" sz="900" b="1" dirty="0"/>
              <a:t>    </a:t>
            </a:r>
            <a:r>
              <a:rPr lang="en-US" sz="900" b="1" dirty="0" err="1"/>
              <a:t>CréditLift</a:t>
            </a:r>
            <a:r>
              <a:rPr lang="en-US" sz="900" b="1" dirty="0"/>
              <a:t> </a:t>
            </a:r>
            <a:r>
              <a:rPr lang="en-US" sz="900" b="1" dirty="0" err="1"/>
              <a:t>Courtage</a:t>
            </a:r>
            <a:endParaRPr lang="en-US" sz="900" b="1" dirty="0"/>
          </a:p>
          <a:p>
            <a:pPr marL="339329" indent="-203597">
              <a:defRPr/>
            </a:pPr>
            <a:endParaRPr lang="en-US" sz="900" dirty="0"/>
          </a:p>
          <a:p>
            <a:pPr marL="339329" indent="-203597">
              <a:defRPr/>
            </a:pPr>
            <a:endParaRPr lang="en-US" sz="900" dirty="0"/>
          </a:p>
        </p:txBody>
      </p:sp>
      <p:sp>
        <p:nvSpPr>
          <p:cNvPr id="20" name="Rectangle 19"/>
          <p:cNvSpPr/>
          <p:nvPr/>
        </p:nvSpPr>
        <p:spPr>
          <a:xfrm>
            <a:off x="6094296" y="1191112"/>
            <a:ext cx="2307581" cy="59412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lgn="ctr">
              <a:defRPr/>
            </a:pPr>
            <a:endParaRPr lang="en-US" sz="1050" b="1" dirty="0"/>
          </a:p>
          <a:p>
            <a:pPr marL="339329" indent="-203597" algn="ctr">
              <a:defRPr/>
            </a:pPr>
            <a:r>
              <a:rPr lang="en-US" sz="1050" b="1" dirty="0"/>
              <a:t>Other Lenders</a:t>
            </a:r>
          </a:p>
        </p:txBody>
      </p:sp>
      <p:sp>
        <p:nvSpPr>
          <p:cNvPr id="23" name="Rectangle 22"/>
          <p:cNvSpPr/>
          <p:nvPr/>
        </p:nvSpPr>
        <p:spPr>
          <a:xfrm>
            <a:off x="3023619" y="1180479"/>
            <a:ext cx="2369656" cy="59412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lgn="ctr">
              <a:defRPr/>
            </a:pPr>
            <a:endParaRPr lang="en-US" sz="1050" b="1" dirty="0"/>
          </a:p>
          <a:p>
            <a:pPr marL="339329" indent="-203597" algn="ctr">
              <a:defRPr/>
            </a:pPr>
            <a:r>
              <a:rPr lang="en-US" sz="1050" b="1" dirty="0"/>
              <a:t>Customer</a:t>
            </a:r>
          </a:p>
        </p:txBody>
      </p:sp>
      <p:sp>
        <p:nvSpPr>
          <p:cNvPr id="28" name="ZoneTexte 1035"/>
          <p:cNvSpPr txBox="1">
            <a:spLocks noChangeArrowheads="1"/>
          </p:cNvSpPr>
          <p:nvPr/>
        </p:nvSpPr>
        <p:spPr bwMode="auto">
          <a:xfrm>
            <a:off x="3007839" y="3280540"/>
            <a:ext cx="2363391" cy="126497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endParaRPr lang="en-US" sz="1050" dirty="0"/>
          </a:p>
          <a:p>
            <a:r>
              <a:rPr lang="en-US" sz="1050" dirty="0"/>
              <a:t>-Loan Application preparation</a:t>
            </a:r>
          </a:p>
          <a:p>
            <a:r>
              <a:rPr lang="en-US" sz="1050" dirty="0"/>
              <a:t>- Collecting necessary documents</a:t>
            </a:r>
          </a:p>
          <a:p>
            <a:pPr algn="just"/>
            <a:r>
              <a:rPr lang="en-US" sz="1050" dirty="0"/>
              <a:t>- Best offer for the customer selection</a:t>
            </a:r>
          </a:p>
        </p:txBody>
      </p:sp>
      <p:sp>
        <p:nvSpPr>
          <p:cNvPr id="29" name="ZoneTexte 47"/>
          <p:cNvSpPr txBox="1">
            <a:spLocks noChangeArrowheads="1"/>
          </p:cNvSpPr>
          <p:nvPr/>
        </p:nvSpPr>
        <p:spPr bwMode="auto">
          <a:xfrm>
            <a:off x="6094296" y="3288029"/>
            <a:ext cx="2363391" cy="126496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endParaRPr lang="en-US" sz="1050" dirty="0"/>
          </a:p>
          <a:p>
            <a:r>
              <a:rPr lang="en-US" sz="1050" dirty="0"/>
              <a:t>- Risk analysis</a:t>
            </a:r>
          </a:p>
          <a:p>
            <a:r>
              <a:rPr lang="en-US" sz="1050" dirty="0"/>
              <a:t>- Acceptance decision</a:t>
            </a:r>
          </a:p>
          <a:p>
            <a:r>
              <a:rPr lang="en-US" sz="1050" dirty="0"/>
              <a:t>- Funding</a:t>
            </a:r>
          </a:p>
          <a:p>
            <a:r>
              <a:rPr lang="en-US" sz="1050" dirty="0"/>
              <a:t>- Customer relationship</a:t>
            </a:r>
            <a:endParaRPr lang="en-US" sz="1050" dirty="0">
              <a:highlight>
                <a:srgbClr val="FFFF00"/>
              </a:highlight>
            </a:endParaRPr>
          </a:p>
        </p:txBody>
      </p:sp>
      <p:pic>
        <p:nvPicPr>
          <p:cNvPr id="3" name="Image 2">
            <a:extLst>
              <a:ext uri="{FF2B5EF4-FFF2-40B4-BE49-F238E27FC236}">
                <a16:creationId xmlns:a16="http://schemas.microsoft.com/office/drawing/2014/main" id="{21DA9011-9C6D-4168-BECC-3D417979A1C0}"/>
              </a:ext>
            </a:extLst>
          </p:cNvPr>
          <p:cNvPicPr>
            <a:picLocks noChangeAspect="1"/>
          </p:cNvPicPr>
          <p:nvPr/>
        </p:nvPicPr>
        <p:blipFill>
          <a:blip r:embed="rId2"/>
          <a:stretch>
            <a:fillRect/>
          </a:stretch>
        </p:blipFill>
        <p:spPr>
          <a:xfrm>
            <a:off x="6747040" y="2986059"/>
            <a:ext cx="859708" cy="290783"/>
          </a:xfrm>
          <a:prstGeom prst="rect">
            <a:avLst/>
          </a:prstGeom>
        </p:spPr>
      </p:pic>
      <p:sp>
        <p:nvSpPr>
          <p:cNvPr id="22" name="Rectangle 21">
            <a:extLst>
              <a:ext uri="{FF2B5EF4-FFF2-40B4-BE49-F238E27FC236}">
                <a16:creationId xmlns:a16="http://schemas.microsoft.com/office/drawing/2014/main" id="{C86D43A8-090C-44A9-B08C-3E3CD6D26210}"/>
              </a:ext>
            </a:extLst>
          </p:cNvPr>
          <p:cNvSpPr/>
          <p:nvPr/>
        </p:nvSpPr>
        <p:spPr>
          <a:xfrm>
            <a:off x="3007840" y="2469050"/>
            <a:ext cx="2369657" cy="81149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lgn="ctr">
              <a:defRPr/>
            </a:pPr>
            <a:endParaRPr lang="en-US" sz="900" b="1" dirty="0"/>
          </a:p>
          <a:p>
            <a:pPr marL="339329" indent="-203597" algn="ctr">
              <a:defRPr/>
            </a:pPr>
            <a:r>
              <a:rPr lang="en-US" sz="900" b="1" dirty="0"/>
              <a:t>Credit Intermediaries*</a:t>
            </a:r>
          </a:p>
          <a:p>
            <a:pPr marL="339329" indent="-203597" algn="ctr">
              <a:defRPr/>
            </a:pPr>
            <a:r>
              <a:rPr lang="en-US" sz="600" b="1" dirty="0"/>
              <a:t>(Intermediaries in banking operations and payment services – IOBSP) </a:t>
            </a:r>
          </a:p>
          <a:p>
            <a:pPr marL="339329" indent="-203597" algn="ctr">
              <a:defRPr/>
            </a:pPr>
            <a:r>
              <a:rPr lang="en-US" sz="900" b="1" dirty="0"/>
              <a:t> </a:t>
            </a:r>
          </a:p>
          <a:p>
            <a:pPr marL="339329" indent="-203597">
              <a:defRPr/>
            </a:pPr>
            <a:endParaRPr lang="en-US" sz="900" dirty="0"/>
          </a:p>
          <a:p>
            <a:pPr marL="339329" indent="-203597">
              <a:defRPr/>
            </a:pPr>
            <a:endParaRPr lang="en-US" sz="900" dirty="0"/>
          </a:p>
        </p:txBody>
      </p:sp>
      <p:cxnSp>
        <p:nvCxnSpPr>
          <p:cNvPr id="30" name="Connecteur droit avec flèche 29">
            <a:extLst>
              <a:ext uri="{FF2B5EF4-FFF2-40B4-BE49-F238E27FC236}">
                <a16:creationId xmlns:a16="http://schemas.microsoft.com/office/drawing/2014/main" id="{A682144F-32FC-4652-9210-B231082F6B3A}"/>
              </a:ext>
            </a:extLst>
          </p:cNvPr>
          <p:cNvCxnSpPr>
            <a:cxnSpLocks/>
            <a:stCxn id="23" idx="2"/>
          </p:cNvCxnSpPr>
          <p:nvPr/>
        </p:nvCxnSpPr>
        <p:spPr>
          <a:xfrm flipH="1">
            <a:off x="4202180" y="1774601"/>
            <a:ext cx="6267" cy="6944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Connecteur droit avec flèche 31">
            <a:extLst>
              <a:ext uri="{FF2B5EF4-FFF2-40B4-BE49-F238E27FC236}">
                <a16:creationId xmlns:a16="http://schemas.microsoft.com/office/drawing/2014/main" id="{DA371C3E-CCF2-495F-9BC9-39BA5AD5E23E}"/>
              </a:ext>
            </a:extLst>
          </p:cNvPr>
          <p:cNvCxnSpPr>
            <a:cxnSpLocks/>
          </p:cNvCxnSpPr>
          <p:nvPr/>
        </p:nvCxnSpPr>
        <p:spPr>
          <a:xfrm flipV="1">
            <a:off x="5387009" y="2872841"/>
            <a:ext cx="707286" cy="111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Connecteur droit avec flèche 32">
            <a:extLst>
              <a:ext uri="{FF2B5EF4-FFF2-40B4-BE49-F238E27FC236}">
                <a16:creationId xmlns:a16="http://schemas.microsoft.com/office/drawing/2014/main" id="{038A061A-A53D-444A-A10B-4ECB38C15D7E}"/>
              </a:ext>
            </a:extLst>
          </p:cNvPr>
          <p:cNvCxnSpPr>
            <a:cxnSpLocks/>
            <a:endCxn id="20" idx="1"/>
          </p:cNvCxnSpPr>
          <p:nvPr/>
        </p:nvCxnSpPr>
        <p:spPr>
          <a:xfrm flipV="1">
            <a:off x="5387009" y="1488173"/>
            <a:ext cx="707287" cy="139585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ZoneTexte 15">
            <a:extLst>
              <a:ext uri="{FF2B5EF4-FFF2-40B4-BE49-F238E27FC236}">
                <a16:creationId xmlns:a16="http://schemas.microsoft.com/office/drawing/2014/main" id="{23C7F6E9-B932-49EA-A354-58B7122B9730}"/>
              </a:ext>
            </a:extLst>
          </p:cNvPr>
          <p:cNvSpPr txBox="1"/>
          <p:nvPr/>
        </p:nvSpPr>
        <p:spPr>
          <a:xfrm>
            <a:off x="3002764" y="4587901"/>
            <a:ext cx="3571461" cy="184666"/>
          </a:xfrm>
          <a:prstGeom prst="rect">
            <a:avLst/>
          </a:prstGeom>
          <a:noFill/>
        </p:spPr>
        <p:txBody>
          <a:bodyPr wrap="square" rtlCol="0">
            <a:spAutoFit/>
          </a:bodyPr>
          <a:lstStyle/>
          <a:p>
            <a:r>
              <a:rPr lang="fr-FR" sz="600" dirty="0"/>
              <a:t>*No </a:t>
            </a:r>
            <a:r>
              <a:rPr lang="fr-FR" sz="600" dirty="0" err="1"/>
              <a:t>exclusivity</a:t>
            </a:r>
            <a:r>
              <a:rPr lang="fr-FR" sz="600" dirty="0"/>
              <a:t> </a:t>
            </a:r>
            <a:r>
              <a:rPr lang="fr-FR" sz="600" dirty="0" err="1"/>
              <a:t>between</a:t>
            </a:r>
            <a:r>
              <a:rPr lang="fr-FR" sz="600" dirty="0"/>
              <a:t> brokers and CACF</a:t>
            </a:r>
          </a:p>
        </p:txBody>
      </p:sp>
      <p:cxnSp>
        <p:nvCxnSpPr>
          <p:cNvPr id="35" name="Connecteur droit 34">
            <a:extLst>
              <a:ext uri="{FF2B5EF4-FFF2-40B4-BE49-F238E27FC236}">
                <a16:creationId xmlns:a16="http://schemas.microsoft.com/office/drawing/2014/main" id="{46B8DD4E-88E5-46E7-A0BF-BB91875754A4}"/>
              </a:ext>
            </a:extLst>
          </p:cNvPr>
          <p:cNvCxnSpPr>
            <a:cxnSpLocks/>
          </p:cNvCxnSpPr>
          <p:nvPr/>
        </p:nvCxnSpPr>
        <p:spPr>
          <a:xfrm>
            <a:off x="2723322" y="1214718"/>
            <a:ext cx="0" cy="3465516"/>
          </a:xfrm>
          <a:prstGeom prst="line">
            <a:avLst/>
          </a:prstGeom>
        </p:spPr>
        <p:style>
          <a:lnRef idx="1">
            <a:schemeClr val="dk1"/>
          </a:lnRef>
          <a:fillRef idx="0">
            <a:schemeClr val="dk1"/>
          </a:fillRef>
          <a:effectRef idx="0">
            <a:schemeClr val="dk1"/>
          </a:effectRef>
          <a:fontRef idx="minor">
            <a:schemeClr val="tx1"/>
          </a:fontRef>
        </p:style>
      </p:cxnSp>
      <p:sp>
        <p:nvSpPr>
          <p:cNvPr id="39" name="ZoneTexte 38">
            <a:extLst>
              <a:ext uri="{FF2B5EF4-FFF2-40B4-BE49-F238E27FC236}">
                <a16:creationId xmlns:a16="http://schemas.microsoft.com/office/drawing/2014/main" id="{59A8D583-D27D-4595-A9CB-70151D96EF51}"/>
              </a:ext>
            </a:extLst>
          </p:cNvPr>
          <p:cNvSpPr txBox="1"/>
          <p:nvPr/>
        </p:nvSpPr>
        <p:spPr>
          <a:xfrm>
            <a:off x="179999" y="1311965"/>
            <a:ext cx="2543317" cy="1892826"/>
          </a:xfrm>
          <a:prstGeom prst="rect">
            <a:avLst/>
          </a:prstGeom>
          <a:noFill/>
        </p:spPr>
        <p:txBody>
          <a:bodyPr wrap="square" rtlCol="0">
            <a:spAutoFit/>
          </a:bodyPr>
          <a:lstStyle/>
          <a:p>
            <a:pPr marL="171450" indent="-171450">
              <a:buFont typeface="Wingdings" panose="05000000000000000000" pitchFamily="2" charset="2"/>
              <a:buChar char="ü"/>
            </a:pPr>
            <a:r>
              <a:rPr lang="fr-FR" sz="900" dirty="0" err="1"/>
              <a:t>Credilift</a:t>
            </a:r>
            <a:r>
              <a:rPr lang="fr-FR" sz="900" dirty="0"/>
              <a:t> </a:t>
            </a:r>
            <a:r>
              <a:rPr lang="fr-FR" sz="900" dirty="0" err="1"/>
              <a:t>works</a:t>
            </a:r>
            <a:r>
              <a:rPr lang="fr-FR" sz="900" dirty="0"/>
              <a:t> </a:t>
            </a:r>
            <a:r>
              <a:rPr lang="fr-FR" sz="900" dirty="0" err="1"/>
              <a:t>with</a:t>
            </a:r>
            <a:r>
              <a:rPr lang="fr-FR" sz="900" dirty="0"/>
              <a:t> </a:t>
            </a:r>
            <a:r>
              <a:rPr lang="fr-FR" sz="900" dirty="0" err="1"/>
              <a:t>approximately</a:t>
            </a:r>
            <a:r>
              <a:rPr lang="fr-FR" sz="900" dirty="0"/>
              <a:t> 140 </a:t>
            </a:r>
            <a:r>
              <a:rPr lang="fr-FR" sz="900" dirty="0" err="1"/>
              <a:t>credit</a:t>
            </a:r>
            <a:r>
              <a:rPr lang="fr-FR" sz="900" dirty="0"/>
              <a:t> </a:t>
            </a:r>
            <a:r>
              <a:rPr lang="fr-FR" sz="900" dirty="0" err="1"/>
              <a:t>intermediaries</a:t>
            </a:r>
            <a:r>
              <a:rPr lang="fr-FR" sz="900" dirty="0"/>
              <a:t>.</a:t>
            </a:r>
          </a:p>
          <a:p>
            <a:pPr marL="171450" indent="-171450">
              <a:buFont typeface="Wingdings" panose="05000000000000000000" pitchFamily="2" charset="2"/>
              <a:buChar char="ü"/>
            </a:pPr>
            <a:endParaRPr lang="fr-FR" sz="900" dirty="0"/>
          </a:p>
          <a:p>
            <a:pPr marL="171450" indent="-171450">
              <a:buFont typeface="Wingdings" panose="05000000000000000000" pitchFamily="2" charset="2"/>
              <a:buChar char="ü"/>
            </a:pPr>
            <a:r>
              <a:rPr lang="fr-FR" sz="900" dirty="0"/>
              <a:t>The top 5 </a:t>
            </a:r>
            <a:r>
              <a:rPr lang="fr-FR" sz="900" dirty="0" err="1"/>
              <a:t>credit</a:t>
            </a:r>
            <a:r>
              <a:rPr lang="fr-FR" sz="900" dirty="0"/>
              <a:t> </a:t>
            </a:r>
            <a:r>
              <a:rPr lang="fr-FR" sz="900" dirty="0" err="1"/>
              <a:t>intermediary</a:t>
            </a:r>
            <a:r>
              <a:rPr lang="fr-FR" sz="900" dirty="0"/>
              <a:t> </a:t>
            </a:r>
            <a:r>
              <a:rPr lang="fr-FR" sz="900" dirty="0" err="1"/>
              <a:t>represents</a:t>
            </a:r>
            <a:r>
              <a:rPr lang="fr-FR" sz="900" dirty="0"/>
              <a:t> </a:t>
            </a:r>
            <a:r>
              <a:rPr lang="fr-FR" sz="900" dirty="0" err="1"/>
              <a:t>approximately</a:t>
            </a:r>
            <a:r>
              <a:rPr lang="fr-FR" sz="900" dirty="0"/>
              <a:t>  50% of the production in 2023.</a:t>
            </a:r>
          </a:p>
          <a:p>
            <a:endParaRPr lang="fr-FR" sz="900" dirty="0"/>
          </a:p>
          <a:p>
            <a:pPr marL="171450" indent="-171450">
              <a:buFont typeface="Wingdings" panose="05000000000000000000" pitchFamily="2" charset="2"/>
              <a:buChar char="ü"/>
            </a:pPr>
            <a:r>
              <a:rPr lang="fr-FR" sz="900" dirty="0"/>
              <a:t>There </a:t>
            </a:r>
            <a:r>
              <a:rPr lang="fr-FR" sz="900" dirty="0" err="1"/>
              <a:t>is</a:t>
            </a:r>
            <a:r>
              <a:rPr lang="fr-FR" sz="900" dirty="0"/>
              <a:t> an </a:t>
            </a:r>
            <a:r>
              <a:rPr lang="fr-FR" sz="900" dirty="0" err="1"/>
              <a:t>average</a:t>
            </a:r>
            <a:r>
              <a:rPr lang="fr-FR" sz="900" dirty="0"/>
              <a:t> of 2 entry/exit of </a:t>
            </a:r>
            <a:r>
              <a:rPr lang="fr-FR" sz="900" dirty="0" err="1"/>
              <a:t>credit</a:t>
            </a:r>
            <a:r>
              <a:rPr lang="fr-FR" sz="900" dirty="0"/>
              <a:t> </a:t>
            </a:r>
            <a:r>
              <a:rPr lang="fr-FR" sz="900" dirty="0" err="1"/>
              <a:t>intermediary</a:t>
            </a:r>
            <a:r>
              <a:rPr lang="fr-FR" sz="900" dirty="0"/>
              <a:t> per </a:t>
            </a:r>
            <a:r>
              <a:rPr lang="fr-FR" sz="900" dirty="0" err="1"/>
              <a:t>year</a:t>
            </a:r>
            <a:endParaRPr lang="fr-FR" sz="900" dirty="0"/>
          </a:p>
          <a:p>
            <a:pPr marL="171450" indent="-171450">
              <a:buFont typeface="Wingdings" panose="05000000000000000000" pitchFamily="2" charset="2"/>
              <a:buChar char="ü"/>
            </a:pPr>
            <a:endParaRPr lang="fr-FR" sz="900" dirty="0"/>
          </a:p>
          <a:p>
            <a:endParaRPr lang="fr-FR" sz="900" dirty="0"/>
          </a:p>
          <a:p>
            <a:endParaRPr lang="fr-FR" sz="900" dirty="0"/>
          </a:p>
          <a:p>
            <a:endParaRPr lang="fr-FR" sz="900" dirty="0"/>
          </a:p>
        </p:txBody>
      </p:sp>
      <p:sp>
        <p:nvSpPr>
          <p:cNvPr id="19" name="Slide Number Placeholder 3">
            <a:extLst>
              <a:ext uri="{FF2B5EF4-FFF2-40B4-BE49-F238E27FC236}">
                <a16:creationId xmlns:a16="http://schemas.microsoft.com/office/drawing/2014/main" id="{0AB1D31A-9F37-4C88-A862-CD917885F7A1}"/>
              </a:ext>
            </a:extLst>
          </p:cNvPr>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21</a:t>
            </a:fld>
            <a:endParaRPr lang="en-GB" sz="900" dirty="0">
              <a:solidFill>
                <a:prstClr val="white"/>
              </a:solidFill>
              <a:latin typeface="Avenir Next LT Pro"/>
            </a:endParaRPr>
          </a:p>
        </p:txBody>
      </p:sp>
    </p:spTree>
    <p:extLst>
      <p:ext uri="{BB962C8B-B14F-4D97-AF65-F5344CB8AC3E}">
        <p14:creationId xmlns:p14="http://schemas.microsoft.com/office/powerpoint/2010/main" val="27492963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8" name="Rectangle 7"/>
          <p:cNvSpPr/>
          <p:nvPr/>
        </p:nvSpPr>
        <p:spPr>
          <a:xfrm>
            <a:off x="625411" y="229343"/>
            <a:ext cx="7018972" cy="553998"/>
          </a:xfrm>
          <a:prstGeom prst="rect">
            <a:avLst/>
          </a:prstGeom>
        </p:spPr>
        <p:txBody>
          <a:bodyPr wrap="square">
            <a:spAutoFit/>
          </a:bodyPr>
          <a:lstStyle/>
          <a:p>
            <a:r>
              <a:rPr lang="fr-FR" altLang="fr-FR" sz="1500" b="1" dirty="0">
                <a:latin typeface="+mj-lt"/>
                <a:ea typeface="+mj-ea"/>
                <a:cs typeface="+mj-cs"/>
              </a:rPr>
              <a:t>Trends in production and </a:t>
            </a:r>
            <a:r>
              <a:rPr lang="fr-FR" altLang="fr-FR" sz="1500" b="1" dirty="0" err="1">
                <a:latin typeface="+mj-lt"/>
                <a:ea typeface="+mj-ea"/>
                <a:cs typeface="+mj-cs"/>
              </a:rPr>
              <a:t>outstandings</a:t>
            </a:r>
            <a:endParaRPr lang="fr-FR" altLang="fr-FR" sz="1500" b="1" dirty="0">
              <a:latin typeface="+mj-lt"/>
              <a:ea typeface="+mj-ea"/>
              <a:cs typeface="+mj-cs"/>
            </a:endParaRPr>
          </a:p>
          <a:p>
            <a:r>
              <a:rPr lang="fr-FR" altLang="fr-FR" sz="1400" b="1" dirty="0" err="1">
                <a:solidFill>
                  <a:schemeClr val="bg1">
                    <a:lumMod val="65000"/>
                  </a:schemeClr>
                </a:solidFill>
              </a:rPr>
              <a:t>Creditlift</a:t>
            </a:r>
            <a:r>
              <a:rPr lang="fr-FR" altLang="fr-FR" sz="1400" b="1" dirty="0">
                <a:solidFill>
                  <a:schemeClr val="bg1">
                    <a:lumMod val="65000"/>
                  </a:schemeClr>
                </a:solidFill>
              </a:rPr>
              <a:t> </a:t>
            </a:r>
            <a:r>
              <a:rPr lang="fr-FR" altLang="fr-FR" sz="1400" b="1" dirty="0" err="1">
                <a:solidFill>
                  <a:schemeClr val="bg1">
                    <a:lumMod val="65000"/>
                  </a:schemeClr>
                </a:solidFill>
              </a:rPr>
              <a:t>Debt</a:t>
            </a:r>
            <a:r>
              <a:rPr lang="fr-FR" altLang="fr-FR" sz="1400" b="1" dirty="0">
                <a:solidFill>
                  <a:schemeClr val="bg1">
                    <a:lumMod val="65000"/>
                  </a:schemeClr>
                </a:solidFill>
              </a:rPr>
              <a:t> consolidations</a:t>
            </a:r>
            <a:endParaRPr lang="fr-FR" sz="1500" b="1" dirty="0">
              <a:latin typeface="+mj-lt"/>
              <a:ea typeface="+mj-ea"/>
              <a:cs typeface="+mj-cs"/>
            </a:endParaRPr>
          </a:p>
        </p:txBody>
      </p:sp>
      <p:sp>
        <p:nvSpPr>
          <p:cNvPr id="7" name="Slide Number Placeholder 3">
            <a:extLst>
              <a:ext uri="{FF2B5EF4-FFF2-40B4-BE49-F238E27FC236}">
                <a16:creationId xmlns:a16="http://schemas.microsoft.com/office/drawing/2014/main" id="{8D4263E4-5AFB-4834-B7C4-B19A7512E72B}"/>
              </a:ext>
            </a:extLst>
          </p:cNvPr>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22</a:t>
            </a:fld>
            <a:endParaRPr lang="en-GB" sz="900" dirty="0">
              <a:solidFill>
                <a:prstClr val="white"/>
              </a:solidFill>
              <a:latin typeface="Avenir Next LT Pro"/>
            </a:endParaRPr>
          </a:p>
        </p:txBody>
      </p:sp>
      <p:graphicFrame>
        <p:nvGraphicFramePr>
          <p:cNvPr id="4" name="Tableau 3">
            <a:extLst>
              <a:ext uri="{FF2B5EF4-FFF2-40B4-BE49-F238E27FC236}">
                <a16:creationId xmlns:a16="http://schemas.microsoft.com/office/drawing/2014/main" id="{A88FCD62-AA87-4152-A802-36EAC99A56AE}"/>
              </a:ext>
            </a:extLst>
          </p:cNvPr>
          <p:cNvGraphicFramePr>
            <a:graphicFrameLocks noGrp="1"/>
          </p:cNvGraphicFramePr>
          <p:nvPr>
            <p:extLst>
              <p:ext uri="{D42A27DB-BD31-4B8C-83A1-F6EECF244321}">
                <p14:modId xmlns:p14="http://schemas.microsoft.com/office/powerpoint/2010/main" val="541558938"/>
              </p:ext>
            </p:extLst>
          </p:nvPr>
        </p:nvGraphicFramePr>
        <p:xfrm>
          <a:off x="757719" y="724877"/>
          <a:ext cx="6886665" cy="2098786"/>
        </p:xfrm>
        <a:graphic>
          <a:graphicData uri="http://schemas.openxmlformats.org/drawingml/2006/table">
            <a:tbl>
              <a:tblPr/>
              <a:tblGrid>
                <a:gridCol w="2165038">
                  <a:extLst>
                    <a:ext uri="{9D8B030D-6E8A-4147-A177-3AD203B41FA5}">
                      <a16:colId xmlns:a16="http://schemas.microsoft.com/office/drawing/2014/main" val="1626561004"/>
                    </a:ext>
                  </a:extLst>
                </a:gridCol>
                <a:gridCol w="1796520">
                  <a:extLst>
                    <a:ext uri="{9D8B030D-6E8A-4147-A177-3AD203B41FA5}">
                      <a16:colId xmlns:a16="http://schemas.microsoft.com/office/drawing/2014/main" val="32929578"/>
                    </a:ext>
                  </a:extLst>
                </a:gridCol>
                <a:gridCol w="1404972">
                  <a:extLst>
                    <a:ext uri="{9D8B030D-6E8A-4147-A177-3AD203B41FA5}">
                      <a16:colId xmlns:a16="http://schemas.microsoft.com/office/drawing/2014/main" val="1115616302"/>
                    </a:ext>
                  </a:extLst>
                </a:gridCol>
                <a:gridCol w="1520135">
                  <a:extLst>
                    <a:ext uri="{9D8B030D-6E8A-4147-A177-3AD203B41FA5}">
                      <a16:colId xmlns:a16="http://schemas.microsoft.com/office/drawing/2014/main" val="428070864"/>
                    </a:ext>
                  </a:extLst>
                </a:gridCol>
              </a:tblGrid>
              <a:tr h="153551">
                <a:tc>
                  <a:txBody>
                    <a:bodyPr/>
                    <a:lstStyle/>
                    <a:p>
                      <a:pPr algn="l" rtl="0" fontAlgn="b"/>
                      <a:r>
                        <a:rPr lang="fr-FR" sz="800" b="0" i="0" u="none" strike="noStrike">
                          <a:solidFill>
                            <a:srgbClr val="000000"/>
                          </a:solidFill>
                          <a:effectLst/>
                          <a:latin typeface="Arial" panose="020B060402020202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gridSpan="3">
                  <a:txBody>
                    <a:bodyPr/>
                    <a:lstStyle/>
                    <a:p>
                      <a:pPr algn="ctr" rtl="0" fontAlgn="b"/>
                      <a:r>
                        <a:rPr lang="fr-FR" sz="800" b="1" i="0" u="none" strike="noStrike" dirty="0">
                          <a:solidFill>
                            <a:srgbClr val="FFFFFF"/>
                          </a:solidFill>
                          <a:effectLst/>
                          <a:latin typeface="Arial" panose="020B0604020202020204" pitchFamily="34" charset="0"/>
                        </a:rPr>
                        <a:t>Production (in €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05F"/>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395016257"/>
                  </a:ext>
                </a:extLst>
              </a:tr>
              <a:tr h="286883">
                <a:tc>
                  <a:txBody>
                    <a:bodyPr/>
                    <a:lstStyle/>
                    <a:p>
                      <a:pPr algn="l" fontAlgn="b"/>
                      <a:r>
                        <a:rPr lang="fr-FR" sz="1800" b="0" i="0" u="none" strike="noStrike">
                          <a:solidFill>
                            <a:srgbClr val="000000"/>
                          </a:solidFill>
                          <a:effectLst/>
                          <a:latin typeface="Arial" panose="020B060402020202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2152074"/>
                  </a:ext>
                </a:extLst>
              </a:tr>
              <a:tr h="138196">
                <a:tc>
                  <a:txBody>
                    <a:bodyPr/>
                    <a:lstStyle/>
                    <a:p>
                      <a:pPr algn="l" rtl="0" fontAlgn="b"/>
                      <a:r>
                        <a:rPr lang="fr-FR" sz="800" b="0" i="0" u="none" strike="noStrike" dirty="0">
                          <a:solidFill>
                            <a:srgbClr val="000000"/>
                          </a:solidFill>
                          <a:effectLst/>
                          <a:latin typeface="Calibri" panose="020F0502020204030204" pitchFamily="34" charset="0"/>
                        </a:rPr>
                        <a:t>MB FINANC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97 6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04 6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69 7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3205347"/>
                  </a:ext>
                </a:extLst>
              </a:tr>
              <a:tr h="138196">
                <a:tc>
                  <a:txBody>
                    <a:bodyPr/>
                    <a:lstStyle/>
                    <a:p>
                      <a:pPr algn="l" rtl="0" fontAlgn="b"/>
                      <a:r>
                        <a:rPr lang="fr-FR" sz="800" b="0" i="0" u="none" strike="noStrike" dirty="0">
                          <a:solidFill>
                            <a:srgbClr val="000000"/>
                          </a:solidFill>
                          <a:effectLst/>
                          <a:latin typeface="Calibri" panose="020F0502020204030204" pitchFamily="34" charset="0"/>
                        </a:rPr>
                        <a:t>PREMIDIRE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50 1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58 4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43 1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7000971"/>
                  </a:ext>
                </a:extLst>
              </a:tr>
              <a:tr h="138196">
                <a:tc>
                  <a:txBody>
                    <a:bodyPr/>
                    <a:lstStyle/>
                    <a:p>
                      <a:pPr algn="l" rtl="0" fontAlgn="b"/>
                      <a:r>
                        <a:rPr lang="fr-FR" sz="800" b="0" i="0" u="none" strike="noStrike">
                          <a:solidFill>
                            <a:srgbClr val="000000"/>
                          </a:solidFill>
                          <a:effectLst/>
                          <a:latin typeface="Calibri" panose="020F0502020204030204" pitchFamily="34" charset="0"/>
                        </a:rPr>
                        <a:t>ROUAIX FINANC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39 4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29 0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22 5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7980290"/>
                  </a:ext>
                </a:extLst>
              </a:tr>
              <a:tr h="138196">
                <a:tc>
                  <a:txBody>
                    <a:bodyPr/>
                    <a:lstStyle/>
                    <a:p>
                      <a:pPr algn="l" rtl="0" fontAlgn="b"/>
                      <a:r>
                        <a:rPr lang="fr-FR" sz="800" b="0" i="0" u="none" strike="noStrike" dirty="0">
                          <a:solidFill>
                            <a:srgbClr val="000000"/>
                          </a:solidFill>
                          <a:effectLst/>
                          <a:latin typeface="Calibri" panose="020F0502020204030204" pitchFamily="34" charset="0"/>
                        </a:rPr>
                        <a:t>CREDIS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34 9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38 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9 4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0096737"/>
                  </a:ext>
                </a:extLst>
              </a:tr>
              <a:tr h="138196">
                <a:tc>
                  <a:txBody>
                    <a:bodyPr/>
                    <a:lstStyle/>
                    <a:p>
                      <a:pPr algn="l" rtl="0" fontAlgn="b"/>
                      <a:r>
                        <a:rPr lang="fr-FR" sz="800" b="0" i="0" u="none" strike="noStrike" dirty="0">
                          <a:solidFill>
                            <a:srgbClr val="000000"/>
                          </a:solidFill>
                          <a:effectLst/>
                          <a:latin typeface="Calibri" panose="020F0502020204030204" pitchFamily="34" charset="0"/>
                        </a:rPr>
                        <a:t>MTX SOLUT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30 0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39 0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23 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7492354"/>
                  </a:ext>
                </a:extLst>
              </a:tr>
              <a:tr h="138196">
                <a:tc>
                  <a:txBody>
                    <a:bodyPr/>
                    <a:lstStyle/>
                    <a:p>
                      <a:pPr algn="l" rtl="0" fontAlgn="b"/>
                      <a:r>
                        <a:rPr lang="fr-FR" sz="800" b="0" i="0" u="none" strike="noStrike">
                          <a:solidFill>
                            <a:srgbClr val="000000"/>
                          </a:solidFill>
                          <a:effectLst/>
                          <a:latin typeface="Calibri" panose="020F0502020204030204" pitchFamily="34" charset="0"/>
                        </a:rPr>
                        <a:t>L.C CA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9 8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7 2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6 5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0069626"/>
                  </a:ext>
                </a:extLst>
              </a:tr>
              <a:tr h="138196">
                <a:tc>
                  <a:txBody>
                    <a:bodyPr/>
                    <a:lstStyle/>
                    <a:p>
                      <a:pPr algn="l" rtl="0" fontAlgn="b"/>
                      <a:r>
                        <a:rPr lang="fr-FR" sz="800" b="0" i="0" u="none" strike="noStrike">
                          <a:solidFill>
                            <a:srgbClr val="000000"/>
                          </a:solidFill>
                          <a:effectLst/>
                          <a:latin typeface="Calibri" panose="020F0502020204030204" pitchFamily="34" charset="0"/>
                        </a:rPr>
                        <a:t>CAFP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7 3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2 3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9 6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0894419"/>
                  </a:ext>
                </a:extLst>
              </a:tr>
              <a:tr h="138196">
                <a:tc>
                  <a:txBody>
                    <a:bodyPr/>
                    <a:lstStyle/>
                    <a:p>
                      <a:pPr algn="l" rtl="0" fontAlgn="b"/>
                      <a:r>
                        <a:rPr lang="fr-FR" sz="800" b="0" i="0" u="none" strike="noStrike">
                          <a:solidFill>
                            <a:srgbClr val="000000"/>
                          </a:solidFill>
                          <a:effectLst/>
                          <a:latin typeface="Calibri" panose="020F0502020204030204" pitchFamily="34" charset="0"/>
                        </a:rPr>
                        <a:t>GREENIZ</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5 5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5 1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6 7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6902927"/>
                  </a:ext>
                </a:extLst>
              </a:tr>
              <a:tr h="138196">
                <a:tc>
                  <a:txBody>
                    <a:bodyPr/>
                    <a:lstStyle/>
                    <a:p>
                      <a:pPr algn="l" rtl="0" fontAlgn="b"/>
                      <a:r>
                        <a:rPr lang="fr-FR" sz="800" b="0" i="0" u="none" strike="noStrike">
                          <a:solidFill>
                            <a:srgbClr val="000000"/>
                          </a:solidFill>
                          <a:effectLst/>
                          <a:latin typeface="Calibri" panose="020F0502020204030204" pitchFamily="34" charset="0"/>
                        </a:rPr>
                        <a:t>CVL FINANC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3 1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9 2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8 4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6280925"/>
                  </a:ext>
                </a:extLst>
              </a:tr>
              <a:tr h="138196">
                <a:tc>
                  <a:txBody>
                    <a:bodyPr/>
                    <a:lstStyle/>
                    <a:p>
                      <a:pPr algn="l" rtl="0" fontAlgn="b"/>
                      <a:r>
                        <a:rPr lang="fr-FR" sz="800" b="0" i="0" u="none" strike="noStrike">
                          <a:solidFill>
                            <a:srgbClr val="000000"/>
                          </a:solidFill>
                          <a:effectLst/>
                          <a:latin typeface="Calibri" panose="020F0502020204030204" pitchFamily="34" charset="0"/>
                        </a:rPr>
                        <a:t>SOLUTI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2 7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1 1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6 7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0894778"/>
                  </a:ext>
                </a:extLst>
              </a:tr>
              <a:tr h="138196">
                <a:tc>
                  <a:txBody>
                    <a:bodyPr/>
                    <a:lstStyle/>
                    <a:p>
                      <a:pPr algn="l" rtl="0" fontAlgn="b"/>
                      <a:r>
                        <a:rPr lang="fr-FR" sz="800" b="0" i="0" u="none" strike="noStrike">
                          <a:solidFill>
                            <a:srgbClr val="000000"/>
                          </a:solidFill>
                          <a:effectLst/>
                          <a:latin typeface="Calibri" panose="020F0502020204030204" pitchFamily="34" charset="0"/>
                        </a:rPr>
                        <a:t>Othe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290 6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279 6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92 8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77368"/>
                  </a:ext>
                </a:extLst>
              </a:tr>
              <a:tr h="138196">
                <a:tc>
                  <a:txBody>
                    <a:bodyPr/>
                    <a:lstStyle/>
                    <a:p>
                      <a:pPr algn="l" rtl="0" fontAlgn="b"/>
                      <a:r>
                        <a:rPr lang="fr-FR" sz="800" b="1" i="0" u="none" strike="noStrike" dirty="0">
                          <a:solidFill>
                            <a:srgbClr val="000000"/>
                          </a:solidFill>
                          <a:effectLst/>
                          <a:latin typeface="Arial" panose="020B0604020202020204" pitchFamily="34" charset="0"/>
                        </a:rPr>
                        <a:t>Global produc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621 4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624 3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429 8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1872907"/>
                  </a:ext>
                </a:extLst>
              </a:tr>
            </a:tbl>
          </a:graphicData>
        </a:graphic>
      </p:graphicFrame>
      <p:graphicFrame>
        <p:nvGraphicFramePr>
          <p:cNvPr id="5" name="Tableau 4">
            <a:extLst>
              <a:ext uri="{FF2B5EF4-FFF2-40B4-BE49-F238E27FC236}">
                <a16:creationId xmlns:a16="http://schemas.microsoft.com/office/drawing/2014/main" id="{D6901E91-32D8-4C17-9FF2-4DA0D81BB00E}"/>
              </a:ext>
            </a:extLst>
          </p:cNvPr>
          <p:cNvGraphicFramePr>
            <a:graphicFrameLocks noGrp="1"/>
          </p:cNvGraphicFramePr>
          <p:nvPr>
            <p:extLst>
              <p:ext uri="{D42A27DB-BD31-4B8C-83A1-F6EECF244321}">
                <p14:modId xmlns:p14="http://schemas.microsoft.com/office/powerpoint/2010/main" val="2430158861"/>
              </p:ext>
            </p:extLst>
          </p:nvPr>
        </p:nvGraphicFramePr>
        <p:xfrm>
          <a:off x="625410" y="2996032"/>
          <a:ext cx="7018973" cy="2009634"/>
        </p:xfrm>
        <a:graphic>
          <a:graphicData uri="http://schemas.openxmlformats.org/drawingml/2006/table">
            <a:tbl>
              <a:tblPr/>
              <a:tblGrid>
                <a:gridCol w="2300670">
                  <a:extLst>
                    <a:ext uri="{9D8B030D-6E8A-4147-A177-3AD203B41FA5}">
                      <a16:colId xmlns:a16="http://schemas.microsoft.com/office/drawing/2014/main" val="1845151654"/>
                    </a:ext>
                  </a:extLst>
                </a:gridCol>
                <a:gridCol w="1828800">
                  <a:extLst>
                    <a:ext uri="{9D8B030D-6E8A-4147-A177-3AD203B41FA5}">
                      <a16:colId xmlns:a16="http://schemas.microsoft.com/office/drawing/2014/main" val="524423473"/>
                    </a:ext>
                  </a:extLst>
                </a:gridCol>
                <a:gridCol w="1397203">
                  <a:extLst>
                    <a:ext uri="{9D8B030D-6E8A-4147-A177-3AD203B41FA5}">
                      <a16:colId xmlns:a16="http://schemas.microsoft.com/office/drawing/2014/main" val="109191431"/>
                    </a:ext>
                  </a:extLst>
                </a:gridCol>
                <a:gridCol w="1492300">
                  <a:extLst>
                    <a:ext uri="{9D8B030D-6E8A-4147-A177-3AD203B41FA5}">
                      <a16:colId xmlns:a16="http://schemas.microsoft.com/office/drawing/2014/main" val="4138769666"/>
                    </a:ext>
                  </a:extLst>
                </a:gridCol>
              </a:tblGrid>
              <a:tr h="141324">
                <a:tc>
                  <a:txBody>
                    <a:bodyPr/>
                    <a:lstStyle/>
                    <a:p>
                      <a:pPr algn="l" rtl="0" fontAlgn="b"/>
                      <a:r>
                        <a:rPr lang="fr-FR" sz="800" b="0" i="0" u="none" strike="noStrike">
                          <a:solidFill>
                            <a:srgbClr val="000000"/>
                          </a:solidFill>
                          <a:effectLst/>
                          <a:latin typeface="Arial" panose="020B060402020202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gridSpan="3">
                  <a:txBody>
                    <a:bodyPr/>
                    <a:lstStyle/>
                    <a:p>
                      <a:pPr algn="ctr" rtl="0" fontAlgn="b"/>
                      <a:r>
                        <a:rPr lang="fr-FR" sz="800" b="1" i="0" u="none" strike="noStrike" dirty="0">
                          <a:solidFill>
                            <a:srgbClr val="FFFFFF"/>
                          </a:solidFill>
                          <a:effectLst/>
                          <a:latin typeface="Arial" panose="020B0604020202020204" pitchFamily="34" charset="0"/>
                        </a:rPr>
                        <a:t>Commercial </a:t>
                      </a:r>
                      <a:r>
                        <a:rPr lang="fr-FR" sz="800" b="1" i="0" u="none" strike="noStrike" dirty="0" err="1">
                          <a:solidFill>
                            <a:srgbClr val="FFFFFF"/>
                          </a:solidFill>
                          <a:effectLst/>
                          <a:latin typeface="Arial" panose="020B0604020202020204" pitchFamily="34" charset="0"/>
                        </a:rPr>
                        <a:t>outstanding</a:t>
                      </a:r>
                      <a:r>
                        <a:rPr lang="fr-FR" sz="800" b="1" i="0" u="none" strike="noStrike" dirty="0">
                          <a:solidFill>
                            <a:srgbClr val="FFFFFF"/>
                          </a:solidFill>
                          <a:effectLst/>
                          <a:latin typeface="Arial" panose="020B0604020202020204" pitchFamily="34" charset="0"/>
                        </a:rPr>
                        <a:t> (in €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05F"/>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112825448"/>
                  </a:ext>
                </a:extLst>
              </a:tr>
              <a:tr h="119672">
                <a:tc>
                  <a:txBody>
                    <a:bodyPr/>
                    <a:lstStyle/>
                    <a:p>
                      <a:pPr algn="l" fontAlgn="b"/>
                      <a:r>
                        <a:rPr lang="fr-FR" sz="1800" b="0" i="0" u="none" strike="noStrike" dirty="0">
                          <a:solidFill>
                            <a:srgbClr val="000000"/>
                          </a:solidFill>
                          <a:effectLst/>
                          <a:latin typeface="Arial" panose="020B060402020202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a:solidFill>
                            <a:srgbClr val="000000"/>
                          </a:solidFill>
                          <a:effectLst/>
                          <a:latin typeface="Arial" panose="020B0604020202020204" pitchFamily="34" charset="0"/>
                        </a:rPr>
                        <a:t>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9640841"/>
                  </a:ext>
                </a:extLst>
              </a:tr>
              <a:tr h="128036">
                <a:tc>
                  <a:txBody>
                    <a:bodyPr/>
                    <a:lstStyle/>
                    <a:p>
                      <a:pPr algn="l" rtl="0" fontAlgn="b"/>
                      <a:r>
                        <a:rPr lang="fr-FR" sz="800" b="0" i="0" u="none" strike="noStrike" dirty="0">
                          <a:solidFill>
                            <a:srgbClr val="000000"/>
                          </a:solidFill>
                          <a:effectLst/>
                          <a:latin typeface="Calibri" panose="020F0502020204030204" pitchFamily="34" charset="0"/>
                        </a:rPr>
                        <a:t>MB FINANC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377 5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406 6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400 7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981181"/>
                  </a:ext>
                </a:extLst>
              </a:tr>
              <a:tr h="128036">
                <a:tc>
                  <a:txBody>
                    <a:bodyPr/>
                    <a:lstStyle/>
                    <a:p>
                      <a:pPr algn="l" rtl="0" fontAlgn="b"/>
                      <a:r>
                        <a:rPr lang="fr-FR" sz="800" b="0" i="0" u="none" strike="noStrike">
                          <a:solidFill>
                            <a:srgbClr val="000000"/>
                          </a:solidFill>
                          <a:effectLst/>
                          <a:latin typeface="Calibri" panose="020F0502020204030204" pitchFamily="34" charset="0"/>
                        </a:rPr>
                        <a:t>PREMIDIRE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219 7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235 0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234 7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206304"/>
                  </a:ext>
                </a:extLst>
              </a:tr>
              <a:tr h="128036">
                <a:tc>
                  <a:txBody>
                    <a:bodyPr/>
                    <a:lstStyle/>
                    <a:p>
                      <a:pPr algn="l" rtl="0" fontAlgn="b"/>
                      <a:r>
                        <a:rPr lang="fr-FR" sz="800" b="0" i="0" u="none" strike="noStrike">
                          <a:solidFill>
                            <a:srgbClr val="000000"/>
                          </a:solidFill>
                          <a:effectLst/>
                          <a:latin typeface="Calibri" panose="020F0502020204030204" pitchFamily="34" charset="0"/>
                        </a:rPr>
                        <a:t>CREDIS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142 3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51 0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43 9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688477"/>
                  </a:ext>
                </a:extLst>
              </a:tr>
              <a:tr h="128036">
                <a:tc>
                  <a:txBody>
                    <a:bodyPr/>
                    <a:lstStyle/>
                    <a:p>
                      <a:pPr algn="l" rtl="0" fontAlgn="b"/>
                      <a:r>
                        <a:rPr lang="fr-FR" sz="800" b="0" i="0" u="none" strike="noStrike">
                          <a:solidFill>
                            <a:srgbClr val="000000"/>
                          </a:solidFill>
                          <a:effectLst/>
                          <a:latin typeface="Calibri" panose="020F0502020204030204" pitchFamily="34" charset="0"/>
                        </a:rPr>
                        <a:t>MTX SOLUT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131 0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42 5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40 4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5398900"/>
                  </a:ext>
                </a:extLst>
              </a:tr>
              <a:tr h="128036">
                <a:tc>
                  <a:txBody>
                    <a:bodyPr/>
                    <a:lstStyle/>
                    <a:p>
                      <a:pPr algn="l" rtl="0" fontAlgn="b"/>
                      <a:r>
                        <a:rPr lang="fr-FR" sz="800" b="0" i="0" u="none" strike="noStrike" dirty="0">
                          <a:solidFill>
                            <a:srgbClr val="000000"/>
                          </a:solidFill>
                          <a:effectLst/>
                          <a:latin typeface="Calibri" panose="020F0502020204030204" pitchFamily="34" charset="0"/>
                        </a:rPr>
                        <a:t>COA ORIA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134 5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138 8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40 4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112449"/>
                  </a:ext>
                </a:extLst>
              </a:tr>
              <a:tr h="128036">
                <a:tc>
                  <a:txBody>
                    <a:bodyPr/>
                    <a:lstStyle/>
                    <a:p>
                      <a:pPr algn="l" rtl="0" fontAlgn="b"/>
                      <a:r>
                        <a:rPr lang="fr-FR" sz="800" b="0" i="0" u="none" strike="noStrike">
                          <a:solidFill>
                            <a:srgbClr val="000000"/>
                          </a:solidFill>
                          <a:effectLst/>
                          <a:latin typeface="Calibri" panose="020F0502020204030204" pitchFamily="34" charset="0"/>
                        </a:rPr>
                        <a:t>ROUAIX FINANC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04 3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112 0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13 4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3195773"/>
                  </a:ext>
                </a:extLst>
              </a:tr>
              <a:tr h="128036">
                <a:tc>
                  <a:txBody>
                    <a:bodyPr/>
                    <a:lstStyle/>
                    <a:p>
                      <a:pPr algn="l" rtl="0" fontAlgn="b"/>
                      <a:r>
                        <a:rPr lang="fr-FR" sz="800" b="0" i="0" u="none" strike="noStrike" dirty="0">
                          <a:solidFill>
                            <a:srgbClr val="000000"/>
                          </a:solidFill>
                          <a:effectLst/>
                          <a:latin typeface="Calibri" panose="020F0502020204030204" pitchFamily="34" charset="0"/>
                        </a:rPr>
                        <a:t>CAFPIMEILLEUR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73 9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77 3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78 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006313"/>
                  </a:ext>
                </a:extLst>
              </a:tr>
              <a:tr h="128036">
                <a:tc>
                  <a:txBody>
                    <a:bodyPr/>
                    <a:lstStyle/>
                    <a:p>
                      <a:pPr algn="l" rtl="0" fontAlgn="b"/>
                      <a:r>
                        <a:rPr lang="fr-FR" sz="800" b="0" i="0" u="none" strike="noStrike" dirty="0">
                          <a:solidFill>
                            <a:srgbClr val="000000"/>
                          </a:solidFill>
                          <a:effectLst/>
                          <a:latin typeface="Calibri" panose="020F0502020204030204" pitchFamily="34" charset="0"/>
                        </a:rPr>
                        <a:t>L.C CA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65 4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68 4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62 9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8713336"/>
                  </a:ext>
                </a:extLst>
              </a:tr>
              <a:tr h="128036">
                <a:tc>
                  <a:txBody>
                    <a:bodyPr/>
                    <a:lstStyle/>
                    <a:p>
                      <a:pPr algn="l" rtl="0" fontAlgn="b"/>
                      <a:r>
                        <a:rPr lang="fr-FR" sz="800" b="0" i="0" u="none" strike="noStrike">
                          <a:solidFill>
                            <a:srgbClr val="000000"/>
                          </a:solidFill>
                          <a:effectLst/>
                          <a:latin typeface="Calibri" panose="020F0502020204030204" pitchFamily="34" charset="0"/>
                        </a:rPr>
                        <a:t>KEYLIANC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58 7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59 5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60 5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6907983"/>
                  </a:ext>
                </a:extLst>
              </a:tr>
              <a:tr h="138570">
                <a:tc>
                  <a:txBody>
                    <a:bodyPr/>
                    <a:lstStyle/>
                    <a:p>
                      <a:pPr algn="l" rtl="0" fontAlgn="b"/>
                      <a:r>
                        <a:rPr lang="fr-FR" sz="800" b="0" i="0" u="none" strike="noStrike">
                          <a:solidFill>
                            <a:srgbClr val="000000"/>
                          </a:solidFill>
                          <a:effectLst/>
                          <a:latin typeface="Calibri" panose="020F0502020204030204" pitchFamily="34" charset="0"/>
                        </a:rPr>
                        <a:t>CREDIT-PAC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48 0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a:solidFill>
                            <a:srgbClr val="000000"/>
                          </a:solidFill>
                          <a:effectLst/>
                          <a:latin typeface="Arial" panose="020B0604020202020204" pitchFamily="34" charset="0"/>
                        </a:rPr>
                        <a:t>54 8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56 3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4647632"/>
                  </a:ext>
                </a:extLst>
              </a:tr>
              <a:tr h="128036">
                <a:tc>
                  <a:txBody>
                    <a:bodyPr/>
                    <a:lstStyle/>
                    <a:p>
                      <a:pPr algn="l" rtl="0" fontAlgn="b"/>
                      <a:r>
                        <a:rPr lang="fr-FR" sz="800" b="0" i="0" u="none" strike="noStrike">
                          <a:solidFill>
                            <a:srgbClr val="000000"/>
                          </a:solidFill>
                          <a:effectLst/>
                          <a:latin typeface="Calibri" panose="020F0502020204030204" pitchFamily="34" charset="0"/>
                        </a:rPr>
                        <a:t>Othe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 007 6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 051 4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0" i="0" u="none" strike="noStrike" dirty="0">
                          <a:solidFill>
                            <a:srgbClr val="000000"/>
                          </a:solidFill>
                          <a:effectLst/>
                          <a:latin typeface="Arial" panose="020B0604020202020204" pitchFamily="34" charset="0"/>
                        </a:rPr>
                        <a:t>1 060 2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7264497"/>
                  </a:ext>
                </a:extLst>
              </a:tr>
              <a:tr h="128036">
                <a:tc>
                  <a:txBody>
                    <a:bodyPr/>
                    <a:lstStyle/>
                    <a:p>
                      <a:pPr algn="l" rtl="0" fontAlgn="b"/>
                      <a:r>
                        <a:rPr lang="fr-FR" sz="800" b="1" i="0" u="none" strike="noStrike">
                          <a:solidFill>
                            <a:srgbClr val="000000"/>
                          </a:solidFill>
                          <a:effectLst/>
                          <a:latin typeface="Arial" panose="020B0604020202020204" pitchFamily="34" charset="0"/>
                        </a:rPr>
                        <a:t>Global outstand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2 363 6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2 497 9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800" b="1" i="0" u="none" strike="noStrike" dirty="0">
                          <a:solidFill>
                            <a:srgbClr val="000000"/>
                          </a:solidFill>
                          <a:effectLst/>
                          <a:latin typeface="Arial" panose="020B0604020202020204" pitchFamily="34" charset="0"/>
                        </a:rPr>
                        <a:t>2 492 1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3254633"/>
                  </a:ext>
                </a:extLst>
              </a:tr>
            </a:tbl>
          </a:graphicData>
        </a:graphic>
      </p:graphicFrame>
    </p:spTree>
    <p:extLst>
      <p:ext uri="{BB962C8B-B14F-4D97-AF65-F5344CB8AC3E}">
        <p14:creationId xmlns:p14="http://schemas.microsoft.com/office/powerpoint/2010/main" val="10598443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8F995D-AA6C-4B2C-86D0-E8BF6437F281}"/>
              </a:ext>
            </a:extLst>
          </p:cNvPr>
          <p:cNvSpPr>
            <a:spLocks noGrp="1"/>
          </p:cNvSpPr>
          <p:nvPr>
            <p:ph type="title"/>
          </p:nvPr>
        </p:nvSpPr>
        <p:spPr>
          <a:xfrm>
            <a:off x="517608" y="173626"/>
            <a:ext cx="6373522" cy="300082"/>
          </a:xfrm>
        </p:spPr>
        <p:txBody>
          <a:bodyPr wrap="square">
            <a:spAutoFit/>
          </a:bodyPr>
          <a:lstStyle/>
          <a:p>
            <a:pPr defTabSz="457200"/>
            <a:r>
              <a:rPr lang="fr-FR" sz="1500" dirty="0" err="1">
                <a:solidFill>
                  <a:schemeClr val="tx1"/>
                </a:solidFill>
              </a:rPr>
              <a:t>Creditlift</a:t>
            </a:r>
            <a:r>
              <a:rPr lang="fr-FR" sz="1500" dirty="0">
                <a:solidFill>
                  <a:schemeClr val="tx1"/>
                </a:solidFill>
              </a:rPr>
              <a:t> </a:t>
            </a:r>
            <a:r>
              <a:rPr lang="fr-FR" sz="1500" dirty="0" err="1">
                <a:solidFill>
                  <a:schemeClr val="tx1"/>
                </a:solidFill>
              </a:rPr>
              <a:t>Market</a:t>
            </a:r>
            <a:r>
              <a:rPr lang="fr-FR" sz="1500" dirty="0">
                <a:solidFill>
                  <a:schemeClr val="tx1"/>
                </a:solidFill>
              </a:rPr>
              <a:t> </a:t>
            </a:r>
            <a:r>
              <a:rPr lang="fr-FR" sz="1500" dirty="0" err="1">
                <a:solidFill>
                  <a:schemeClr val="tx1"/>
                </a:solidFill>
              </a:rPr>
              <a:t>share</a:t>
            </a:r>
            <a:r>
              <a:rPr lang="fr-FR" sz="1500" dirty="0">
                <a:solidFill>
                  <a:schemeClr val="tx1"/>
                </a:solidFill>
              </a:rPr>
              <a:t> in 2023</a:t>
            </a:r>
          </a:p>
        </p:txBody>
      </p:sp>
      <p:sp>
        <p:nvSpPr>
          <p:cNvPr id="4" name="Espace réservé du numéro de diapositive 3">
            <a:extLst>
              <a:ext uri="{FF2B5EF4-FFF2-40B4-BE49-F238E27FC236}">
                <a16:creationId xmlns:a16="http://schemas.microsoft.com/office/drawing/2014/main" id="{5DA1F8E7-1186-4436-994D-0301210799A7}"/>
              </a:ext>
            </a:extLst>
          </p:cNvPr>
          <p:cNvSpPr>
            <a:spLocks noGrp="1"/>
          </p:cNvSpPr>
          <p:nvPr>
            <p:ph type="sldNum" sz="quarter" idx="19"/>
          </p:nvPr>
        </p:nvSpPr>
        <p:spPr/>
        <p:txBody>
          <a:bodyPr/>
          <a:lstStyle/>
          <a:p>
            <a:fld id="{98BD2159-827C-4021-9B0E-DCD852BEB59E}" type="slidenum">
              <a:rPr lang="en-GB" smtClean="0"/>
              <a:pPr/>
              <a:t>23</a:t>
            </a:fld>
            <a:endParaRPr lang="en-GB" dirty="0"/>
          </a:p>
        </p:txBody>
      </p:sp>
      <p:graphicFrame>
        <p:nvGraphicFramePr>
          <p:cNvPr id="9" name="Tableau 8">
            <a:extLst>
              <a:ext uri="{FF2B5EF4-FFF2-40B4-BE49-F238E27FC236}">
                <a16:creationId xmlns:a16="http://schemas.microsoft.com/office/drawing/2014/main" id="{C3BC134E-765A-4407-A386-3F059A9B488A}"/>
              </a:ext>
            </a:extLst>
          </p:cNvPr>
          <p:cNvGraphicFramePr>
            <a:graphicFrameLocks noGrp="1"/>
          </p:cNvGraphicFramePr>
          <p:nvPr>
            <p:extLst>
              <p:ext uri="{D42A27DB-BD31-4B8C-83A1-F6EECF244321}">
                <p14:modId xmlns:p14="http://schemas.microsoft.com/office/powerpoint/2010/main" val="3624615920"/>
              </p:ext>
            </p:extLst>
          </p:nvPr>
        </p:nvGraphicFramePr>
        <p:xfrm>
          <a:off x="337417" y="1286897"/>
          <a:ext cx="7997823" cy="2994050"/>
        </p:xfrm>
        <a:graphic>
          <a:graphicData uri="http://schemas.openxmlformats.org/drawingml/2006/table">
            <a:tbl>
              <a:tblPr/>
              <a:tblGrid>
                <a:gridCol w="723239">
                  <a:extLst>
                    <a:ext uri="{9D8B030D-6E8A-4147-A177-3AD203B41FA5}">
                      <a16:colId xmlns:a16="http://schemas.microsoft.com/office/drawing/2014/main" val="3325059208"/>
                    </a:ext>
                  </a:extLst>
                </a:gridCol>
                <a:gridCol w="1169237">
                  <a:extLst>
                    <a:ext uri="{9D8B030D-6E8A-4147-A177-3AD203B41FA5}">
                      <a16:colId xmlns:a16="http://schemas.microsoft.com/office/drawing/2014/main" val="216461182"/>
                    </a:ext>
                  </a:extLst>
                </a:gridCol>
                <a:gridCol w="723239">
                  <a:extLst>
                    <a:ext uri="{9D8B030D-6E8A-4147-A177-3AD203B41FA5}">
                      <a16:colId xmlns:a16="http://schemas.microsoft.com/office/drawing/2014/main" val="444060295"/>
                    </a:ext>
                  </a:extLst>
                </a:gridCol>
                <a:gridCol w="1012536">
                  <a:extLst>
                    <a:ext uri="{9D8B030D-6E8A-4147-A177-3AD203B41FA5}">
                      <a16:colId xmlns:a16="http://schemas.microsoft.com/office/drawing/2014/main" val="116902768"/>
                    </a:ext>
                  </a:extLst>
                </a:gridCol>
                <a:gridCol w="723239">
                  <a:extLst>
                    <a:ext uri="{9D8B030D-6E8A-4147-A177-3AD203B41FA5}">
                      <a16:colId xmlns:a16="http://schemas.microsoft.com/office/drawing/2014/main" val="2963252782"/>
                    </a:ext>
                  </a:extLst>
                </a:gridCol>
                <a:gridCol w="1066779">
                  <a:extLst>
                    <a:ext uri="{9D8B030D-6E8A-4147-A177-3AD203B41FA5}">
                      <a16:colId xmlns:a16="http://schemas.microsoft.com/office/drawing/2014/main" val="1486383780"/>
                    </a:ext>
                  </a:extLst>
                </a:gridCol>
                <a:gridCol w="723239">
                  <a:extLst>
                    <a:ext uri="{9D8B030D-6E8A-4147-A177-3AD203B41FA5}">
                      <a16:colId xmlns:a16="http://schemas.microsoft.com/office/drawing/2014/main" val="3435072064"/>
                    </a:ext>
                  </a:extLst>
                </a:gridCol>
                <a:gridCol w="1133076">
                  <a:extLst>
                    <a:ext uri="{9D8B030D-6E8A-4147-A177-3AD203B41FA5}">
                      <a16:colId xmlns:a16="http://schemas.microsoft.com/office/drawing/2014/main" val="145242643"/>
                    </a:ext>
                  </a:extLst>
                </a:gridCol>
                <a:gridCol w="723239">
                  <a:extLst>
                    <a:ext uri="{9D8B030D-6E8A-4147-A177-3AD203B41FA5}">
                      <a16:colId xmlns:a16="http://schemas.microsoft.com/office/drawing/2014/main" val="2224360855"/>
                    </a:ext>
                  </a:extLst>
                </a:gridCol>
              </a:tblGrid>
              <a:tr h="180674">
                <a:tc>
                  <a:txBody>
                    <a:bodyPr/>
                    <a:lstStyle/>
                    <a:p>
                      <a:pPr algn="l" fontAlgn="b"/>
                      <a:r>
                        <a:rPr lang="fr-FR" sz="10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C6E0B4"/>
                    </a:solidFill>
                  </a:tcPr>
                </a:tc>
                <a:tc>
                  <a:txBody>
                    <a:bodyPr/>
                    <a:lstStyle/>
                    <a:p>
                      <a:pPr algn="l" fontAlgn="b"/>
                      <a:r>
                        <a:rPr lang="fr-FR" sz="10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C6E0B4"/>
                    </a:solidFill>
                  </a:tcPr>
                </a:tc>
                <a:tc>
                  <a:txBody>
                    <a:bodyPr/>
                    <a:lstStyle/>
                    <a:p>
                      <a:pPr algn="l" fontAlgn="b"/>
                      <a:r>
                        <a:rPr lang="fr-FR" sz="10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C6E0B4"/>
                    </a:solidFill>
                  </a:tcPr>
                </a:tc>
                <a:tc gridSpan="3">
                  <a:txBody>
                    <a:bodyPr/>
                    <a:lstStyle/>
                    <a:p>
                      <a:pPr algn="l" fontAlgn="b"/>
                      <a:r>
                        <a:rPr lang="fr-FR" sz="1000" b="1" i="0" u="none" strike="noStrike">
                          <a:solidFill>
                            <a:srgbClr val="000000"/>
                          </a:solidFill>
                          <a:effectLst/>
                          <a:latin typeface="Calibri" panose="020F0502020204030204" pitchFamily="34" charset="0"/>
                        </a:rPr>
                        <a:t>Credit intermediary Market at end 2023</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C6E0B4"/>
                    </a:solidFill>
                  </a:tcPr>
                </a:tc>
                <a:tc hMerge="1">
                  <a:txBody>
                    <a:bodyPr/>
                    <a:lstStyle/>
                    <a:p>
                      <a:endParaRPr lang="fr-FR"/>
                    </a:p>
                  </a:txBody>
                  <a:tcPr/>
                </a:tc>
                <a:tc hMerge="1">
                  <a:txBody>
                    <a:bodyPr/>
                    <a:lstStyle/>
                    <a:p>
                      <a:endParaRPr lang="fr-FR"/>
                    </a:p>
                  </a:txBody>
                  <a:tcPr/>
                </a:tc>
                <a:tc>
                  <a:txBody>
                    <a:bodyPr/>
                    <a:lstStyle/>
                    <a:p>
                      <a:pPr algn="l" fontAlgn="b"/>
                      <a:r>
                        <a:rPr lang="fr-FR" sz="10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C6E0B4"/>
                    </a:solidFill>
                  </a:tcPr>
                </a:tc>
                <a:tc>
                  <a:txBody>
                    <a:bodyPr/>
                    <a:lstStyle/>
                    <a:p>
                      <a:pPr algn="l" fontAlgn="b"/>
                      <a:r>
                        <a:rPr lang="fr-FR" sz="10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C6E0B4"/>
                    </a:solidFill>
                  </a:tcPr>
                </a:tc>
                <a:tc>
                  <a:txBody>
                    <a:bodyPr/>
                    <a:lstStyle/>
                    <a:p>
                      <a:pPr algn="l" fontAlgn="b"/>
                      <a:r>
                        <a:rPr lang="fr-FR" sz="10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3588734098"/>
                  </a:ext>
                </a:extLst>
              </a:tr>
              <a:tr h="180674">
                <a:tc>
                  <a:txBody>
                    <a:bodyPr/>
                    <a:lstStyle/>
                    <a:p>
                      <a:pPr algn="l" fontAlgn="b"/>
                      <a:r>
                        <a:rPr lang="fr-FR" sz="10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C6E0B4"/>
                    </a:solidFill>
                  </a:tcPr>
                </a:tc>
                <a:tc>
                  <a:txBody>
                    <a:bodyPr/>
                    <a:lstStyle/>
                    <a:p>
                      <a:pPr algn="ctr" fontAlgn="ctr"/>
                      <a:r>
                        <a:rPr lang="fr-FR" sz="1000" b="1" i="0" u="none" strike="noStrike">
                          <a:solidFill>
                            <a:srgbClr val="000000"/>
                          </a:solidFill>
                          <a:effectLst/>
                          <a:latin typeface="Calibri" panose="020F0502020204030204" pitchFamily="34" charset="0"/>
                        </a:rPr>
                        <a:t>SG*</a:t>
                      </a:r>
                    </a:p>
                  </a:txBody>
                  <a:tcPr marL="0" marR="0" marT="0" marB="0" anchor="ctr">
                    <a:lnL>
                      <a:noFill/>
                    </a:lnL>
                    <a:lnR>
                      <a:noFill/>
                    </a:lnR>
                    <a:lnT>
                      <a:noFill/>
                    </a:lnT>
                    <a:lnB>
                      <a:noFill/>
                    </a:lnB>
                    <a:solidFill>
                      <a:srgbClr val="C6E0B4"/>
                    </a:solidFill>
                  </a:tcPr>
                </a:tc>
                <a:tc>
                  <a:txBody>
                    <a:bodyPr/>
                    <a:lstStyle/>
                    <a:p>
                      <a:pPr algn="ctr" fontAlgn="ctr"/>
                      <a:r>
                        <a:rPr lang="fr-FR" sz="1000" b="1" i="0" u="none" strike="noStrike" dirty="0">
                          <a:solidFill>
                            <a:srgbClr val="000000"/>
                          </a:solidFill>
                          <a:effectLst/>
                          <a:latin typeface="Calibri" panose="020F0502020204030204" pitchFamily="34" charset="0"/>
                        </a:rPr>
                        <a:t>PDM SG</a:t>
                      </a:r>
                    </a:p>
                  </a:txBody>
                  <a:tcPr marL="0" marR="0" marT="0" marB="0" anchor="ctr">
                    <a:lnL>
                      <a:noFill/>
                    </a:lnL>
                    <a:lnR>
                      <a:noFill/>
                    </a:lnR>
                    <a:lnT>
                      <a:noFill/>
                    </a:lnT>
                    <a:lnB>
                      <a:noFill/>
                    </a:lnB>
                    <a:solidFill>
                      <a:srgbClr val="C6E0B4"/>
                    </a:solidFill>
                  </a:tcPr>
                </a:tc>
                <a:tc>
                  <a:txBody>
                    <a:bodyPr/>
                    <a:lstStyle/>
                    <a:p>
                      <a:pPr algn="ctr" fontAlgn="ctr"/>
                      <a:r>
                        <a:rPr lang="fr-FR" sz="1000" b="1" i="0" u="none" strike="noStrike">
                          <a:solidFill>
                            <a:srgbClr val="000000"/>
                          </a:solidFill>
                          <a:effectLst/>
                          <a:latin typeface="Calibri" panose="020F0502020204030204" pitchFamily="34" charset="0"/>
                        </a:rPr>
                        <a:t>PH LCC*</a:t>
                      </a:r>
                    </a:p>
                  </a:txBody>
                  <a:tcPr marL="0" marR="0" marT="0" marB="0" anchor="ctr">
                    <a:lnL>
                      <a:noFill/>
                    </a:lnL>
                    <a:lnR>
                      <a:noFill/>
                    </a:lnR>
                    <a:lnT>
                      <a:noFill/>
                    </a:lnT>
                    <a:lnB>
                      <a:noFill/>
                    </a:lnB>
                    <a:solidFill>
                      <a:srgbClr val="C6E0B4"/>
                    </a:solidFill>
                  </a:tcPr>
                </a:tc>
                <a:tc>
                  <a:txBody>
                    <a:bodyPr/>
                    <a:lstStyle/>
                    <a:p>
                      <a:pPr algn="ctr" fontAlgn="ctr"/>
                      <a:r>
                        <a:rPr lang="fr-FR" sz="1000" b="1" i="0" u="none" strike="noStrike">
                          <a:solidFill>
                            <a:srgbClr val="000000"/>
                          </a:solidFill>
                          <a:effectLst/>
                          <a:latin typeface="Calibri" panose="020F0502020204030204" pitchFamily="34" charset="0"/>
                        </a:rPr>
                        <a:t>PDM PH LCC</a:t>
                      </a:r>
                    </a:p>
                  </a:txBody>
                  <a:tcPr marL="0" marR="0" marT="0" marB="0" anchor="ctr">
                    <a:lnL>
                      <a:noFill/>
                    </a:lnL>
                    <a:lnR>
                      <a:noFill/>
                    </a:lnR>
                    <a:lnT>
                      <a:noFill/>
                    </a:lnT>
                    <a:lnB>
                      <a:noFill/>
                    </a:lnB>
                    <a:solidFill>
                      <a:srgbClr val="C6E0B4"/>
                    </a:solidFill>
                  </a:tcPr>
                </a:tc>
                <a:tc>
                  <a:txBody>
                    <a:bodyPr/>
                    <a:lstStyle/>
                    <a:p>
                      <a:pPr algn="ctr" fontAlgn="ctr"/>
                      <a:r>
                        <a:rPr lang="fr-FR" sz="1000" b="1" i="0" u="none" strike="noStrike">
                          <a:solidFill>
                            <a:srgbClr val="000000"/>
                          </a:solidFill>
                          <a:effectLst/>
                          <a:latin typeface="Calibri" panose="020F0502020204030204" pitchFamily="34" charset="0"/>
                        </a:rPr>
                        <a:t>PH LS2*</a:t>
                      </a:r>
                    </a:p>
                  </a:txBody>
                  <a:tcPr marL="0" marR="0" marT="0" marB="0" anchor="ctr">
                    <a:lnL>
                      <a:noFill/>
                    </a:lnL>
                    <a:lnR>
                      <a:noFill/>
                    </a:lnR>
                    <a:lnT>
                      <a:noFill/>
                    </a:lnT>
                    <a:lnB>
                      <a:noFill/>
                    </a:lnB>
                    <a:solidFill>
                      <a:srgbClr val="C6E0B4"/>
                    </a:solidFill>
                  </a:tcPr>
                </a:tc>
                <a:tc>
                  <a:txBody>
                    <a:bodyPr/>
                    <a:lstStyle/>
                    <a:p>
                      <a:pPr algn="ctr" fontAlgn="ctr"/>
                      <a:r>
                        <a:rPr lang="fr-FR" sz="1000" b="1" i="0" u="none" strike="noStrike">
                          <a:solidFill>
                            <a:srgbClr val="000000"/>
                          </a:solidFill>
                          <a:effectLst/>
                          <a:latin typeface="Calibri" panose="020F0502020204030204" pitchFamily="34" charset="0"/>
                        </a:rPr>
                        <a:t>PDM PH LS2</a:t>
                      </a:r>
                    </a:p>
                  </a:txBody>
                  <a:tcPr marL="0" marR="0" marT="0" marB="0" anchor="ctr">
                    <a:lnL>
                      <a:noFill/>
                    </a:lnL>
                    <a:lnR>
                      <a:noFill/>
                    </a:lnR>
                    <a:lnT>
                      <a:noFill/>
                    </a:lnT>
                    <a:lnB>
                      <a:noFill/>
                    </a:lnB>
                    <a:solidFill>
                      <a:srgbClr val="C6E0B4"/>
                    </a:solidFill>
                  </a:tcPr>
                </a:tc>
                <a:tc>
                  <a:txBody>
                    <a:bodyPr/>
                    <a:lstStyle/>
                    <a:p>
                      <a:pPr algn="ctr" fontAlgn="ctr"/>
                      <a:r>
                        <a:rPr lang="fr-FR" sz="1000" b="1" i="0" u="none" strike="noStrike">
                          <a:solidFill>
                            <a:srgbClr val="000000"/>
                          </a:solidFill>
                          <a:effectLst/>
                          <a:latin typeface="Calibri" panose="020F0502020204030204" pitchFamily="34" charset="0"/>
                        </a:rPr>
                        <a:t>TOTAL</a:t>
                      </a:r>
                    </a:p>
                  </a:txBody>
                  <a:tcPr marL="0" marR="0" marT="0" marB="0" anchor="ctr">
                    <a:lnL>
                      <a:noFill/>
                    </a:lnL>
                    <a:lnR>
                      <a:noFill/>
                    </a:lnR>
                    <a:lnT>
                      <a:noFill/>
                    </a:lnT>
                    <a:lnB>
                      <a:noFill/>
                    </a:lnB>
                    <a:solidFill>
                      <a:srgbClr val="C6E0B4"/>
                    </a:solidFill>
                  </a:tcPr>
                </a:tc>
                <a:tc>
                  <a:txBody>
                    <a:bodyPr/>
                    <a:lstStyle/>
                    <a:p>
                      <a:pPr algn="ctr" fontAlgn="ctr"/>
                      <a:r>
                        <a:rPr lang="fr-FR" sz="1000" b="1" i="0" u="none" strike="noStrike">
                          <a:solidFill>
                            <a:srgbClr val="000000"/>
                          </a:solidFill>
                          <a:effectLst/>
                          <a:latin typeface="Calibri" panose="020F0502020204030204" pitchFamily="34" charset="0"/>
                        </a:rPr>
                        <a:t>PDM TOTAL</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solidFill>
                      <a:srgbClr val="C6E0B4"/>
                    </a:solidFill>
                  </a:tcPr>
                </a:tc>
                <a:extLst>
                  <a:ext uri="{0D108BD9-81ED-4DB2-BD59-A6C34878D82A}">
                    <a16:rowId xmlns:a16="http://schemas.microsoft.com/office/drawing/2014/main" val="3740284787"/>
                  </a:ext>
                </a:extLst>
              </a:tr>
              <a:tr h="317986">
                <a:tc>
                  <a:txBody>
                    <a:bodyPr/>
                    <a:lstStyle/>
                    <a:p>
                      <a:pPr algn="l" fontAlgn="b"/>
                      <a:r>
                        <a:rPr lang="fr-FR" sz="1000" b="1" i="0" u="none" strike="noStrike">
                          <a:solidFill>
                            <a:srgbClr val="000000"/>
                          </a:solidFill>
                          <a:effectLst/>
                          <a:latin typeface="Calibri" panose="020F0502020204030204" pitchFamily="34" charset="0"/>
                        </a:rPr>
                        <a:t>CREATIS</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C6E0B4"/>
                    </a:solidFill>
                  </a:tcPr>
                </a:tc>
                <a:tc>
                  <a:txBody>
                    <a:bodyPr/>
                    <a:lstStyle/>
                    <a:p>
                      <a:pPr algn="ctr" fontAlgn="b"/>
                      <a:r>
                        <a:rPr lang="fr-FR" sz="1000" b="0" i="0" u="none" strike="noStrike" dirty="0">
                          <a:solidFill>
                            <a:srgbClr val="000000"/>
                          </a:solidFill>
                          <a:effectLst/>
                          <a:latin typeface="Calibri" panose="020F0502020204030204" pitchFamily="34" charset="0"/>
                        </a:rPr>
                        <a:t>        616 000 000,00 € </a:t>
                      </a:r>
                    </a:p>
                  </a:txBody>
                  <a:tcPr marL="0" marR="0" marT="0" marB="0" anchor="b">
                    <a:lnL>
                      <a:noFill/>
                    </a:lnL>
                    <a:lnR>
                      <a:noFill/>
                    </a:lnR>
                    <a:lnT>
                      <a:noFill/>
                    </a:lnT>
                    <a:lnB>
                      <a:noFill/>
                    </a:lnB>
                  </a:tcPr>
                </a:tc>
                <a:tc>
                  <a:txBody>
                    <a:bodyPr/>
                    <a:lstStyle/>
                    <a:p>
                      <a:pPr algn="ctr" fontAlgn="b"/>
                      <a:r>
                        <a:rPr lang="fr-FR" sz="1000" b="0" i="1" u="none" strike="noStrike" dirty="0">
                          <a:solidFill>
                            <a:srgbClr val="000000"/>
                          </a:solidFill>
                          <a:effectLst/>
                          <a:latin typeface="Calibri" panose="020F0502020204030204" pitchFamily="34" charset="0"/>
                        </a:rPr>
                        <a:t>38,87%</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60 0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19,40%</a:t>
                      </a:r>
                    </a:p>
                  </a:txBody>
                  <a:tcPr marL="0" marR="0" marT="0" marB="0" anchor="b">
                    <a:lnL>
                      <a:noFill/>
                    </a:lnL>
                    <a:lnR>
                      <a:noFill/>
                    </a:lnR>
                    <a:lnT>
                      <a:noFill/>
                    </a:lnT>
                    <a:lnB>
                      <a:noFill/>
                    </a:lnB>
                  </a:tcPr>
                </a:tc>
                <a:tc>
                  <a:txBody>
                    <a:bodyPr/>
                    <a:lstStyle/>
                    <a:p>
                      <a:pPr algn="ctr" fontAlgn="b"/>
                      <a:r>
                        <a:rPr lang="fr-FR" sz="1000" b="0" i="0" u="none" strike="noStrike" dirty="0">
                          <a:solidFill>
                            <a:srgbClr val="000000"/>
                          </a:solidFill>
                          <a:effectLst/>
                          <a:latin typeface="Calibri" panose="020F0502020204030204" pitchFamily="34" charset="0"/>
                        </a:rPr>
                        <a:t>         3 0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1,49%</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679 0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32,40%</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08632184"/>
                  </a:ext>
                </a:extLst>
              </a:tr>
              <a:tr h="354405">
                <a:tc>
                  <a:txBody>
                    <a:bodyPr/>
                    <a:lstStyle/>
                    <a:p>
                      <a:pPr algn="l" fontAlgn="b"/>
                      <a:r>
                        <a:rPr lang="fr-FR" sz="1000" b="1" i="0" u="none" strike="noStrike">
                          <a:solidFill>
                            <a:srgbClr val="000000"/>
                          </a:solidFill>
                          <a:effectLst/>
                          <a:latin typeface="Calibri" panose="020F0502020204030204" pitchFamily="34" charset="0"/>
                        </a:rPr>
                        <a:t>SYGMA</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C6E0B4"/>
                    </a:solidFill>
                  </a:tcPr>
                </a:tc>
                <a:tc>
                  <a:txBody>
                    <a:bodyPr/>
                    <a:lstStyle/>
                    <a:p>
                      <a:pPr algn="ctr" fontAlgn="b"/>
                      <a:r>
                        <a:rPr lang="fr-FR" sz="1000" b="0" i="0" u="none" strike="noStrike">
                          <a:solidFill>
                            <a:srgbClr val="000000"/>
                          </a:solidFill>
                          <a:effectLst/>
                          <a:latin typeface="Calibri" panose="020F0502020204030204" pitchFamily="34" charset="0"/>
                        </a:rPr>
                        <a:t>        176 000 000,00 € </a:t>
                      </a:r>
                    </a:p>
                  </a:txBody>
                  <a:tcPr marL="0" marR="0" marT="0" marB="0" anchor="b">
                    <a:lnL>
                      <a:noFill/>
                    </a:lnL>
                    <a:lnR>
                      <a:noFill/>
                    </a:lnR>
                    <a:lnT>
                      <a:noFill/>
                    </a:lnT>
                    <a:lnB>
                      <a:noFill/>
                    </a:lnB>
                  </a:tcPr>
                </a:tc>
                <a:tc>
                  <a:txBody>
                    <a:bodyPr/>
                    <a:lstStyle/>
                    <a:p>
                      <a:pPr algn="ctr" fontAlgn="b"/>
                      <a:r>
                        <a:rPr lang="fr-FR" sz="1000" b="0" i="1" u="none" strike="noStrike" dirty="0">
                          <a:solidFill>
                            <a:srgbClr val="000000"/>
                          </a:solidFill>
                          <a:effectLst/>
                          <a:latin typeface="Calibri" panose="020F0502020204030204" pitchFamily="34" charset="0"/>
                        </a:rPr>
                        <a:t>11,11%</a:t>
                      </a:r>
                    </a:p>
                  </a:txBody>
                  <a:tcPr marL="0" marR="0" marT="0" marB="0" anchor="b">
                    <a:lnL>
                      <a:noFill/>
                    </a:lnL>
                    <a:lnR>
                      <a:noFill/>
                    </a:lnR>
                    <a:lnT>
                      <a:noFill/>
                    </a:lnT>
                    <a:lnB>
                      <a:noFill/>
                    </a:lnB>
                  </a:tcPr>
                </a:tc>
                <a:tc>
                  <a:txBody>
                    <a:bodyPr/>
                    <a:lstStyle/>
                    <a:p>
                      <a:pPr algn="ctr" fontAlgn="b"/>
                      <a:r>
                        <a:rPr lang="fr-FR" sz="1000" b="0" i="0" u="none" strike="noStrike" dirty="0">
                          <a:solidFill>
                            <a:srgbClr val="000000"/>
                          </a:solidFill>
                          <a:effectLst/>
                          <a:latin typeface="Calibri" panose="020F0502020204030204" pitchFamily="34" charset="0"/>
                        </a:rPr>
                        <a:t>    34 000 000,00 € </a:t>
                      </a:r>
                    </a:p>
                  </a:txBody>
                  <a:tcPr marL="0" marR="0" marT="0" marB="0" anchor="b">
                    <a:lnL>
                      <a:noFill/>
                    </a:lnL>
                    <a:lnR>
                      <a:noFill/>
                    </a:lnR>
                    <a:lnT>
                      <a:noFill/>
                    </a:lnT>
                    <a:lnB>
                      <a:noFill/>
                    </a:lnB>
                  </a:tcPr>
                </a:tc>
                <a:tc>
                  <a:txBody>
                    <a:bodyPr/>
                    <a:lstStyle/>
                    <a:p>
                      <a:pPr algn="ctr" fontAlgn="b"/>
                      <a:r>
                        <a:rPr lang="fr-FR" sz="1000" b="0" i="1" u="none" strike="noStrike" dirty="0">
                          <a:solidFill>
                            <a:srgbClr val="000000"/>
                          </a:solidFill>
                          <a:effectLst/>
                          <a:latin typeface="Calibri" panose="020F0502020204030204" pitchFamily="34" charset="0"/>
                        </a:rPr>
                        <a:t>11,00%</a:t>
                      </a:r>
                    </a:p>
                  </a:txBody>
                  <a:tcPr marL="0" marR="0" marT="0" marB="0" anchor="b">
                    <a:lnL>
                      <a:noFill/>
                    </a:lnL>
                    <a:lnR>
                      <a:noFill/>
                    </a:lnR>
                    <a:lnT>
                      <a:noFill/>
                    </a:lnT>
                    <a:lnB>
                      <a:noFill/>
                    </a:lnB>
                  </a:tcPr>
                </a:tc>
                <a:tc>
                  <a:txBody>
                    <a:bodyPr/>
                    <a:lstStyle/>
                    <a:p>
                      <a:pPr algn="ctr" fontAlgn="b"/>
                      <a:r>
                        <a:rPr lang="fr-FR" sz="1000" b="0" i="0" u="none" strike="noStrike" dirty="0">
                          <a:solidFill>
                            <a:srgbClr val="000000"/>
                          </a:solidFill>
                          <a:effectLst/>
                          <a:latin typeface="Calibri" panose="020F0502020204030204" pitchFamily="34" charset="0"/>
                        </a:rPr>
                        <a:t>                             -   € </a:t>
                      </a:r>
                    </a:p>
                  </a:txBody>
                  <a:tcPr marL="0" marR="0" marT="0" marB="0" anchor="b">
                    <a:lnL>
                      <a:noFill/>
                    </a:lnL>
                    <a:lnR>
                      <a:noFill/>
                    </a:lnR>
                    <a:lnT>
                      <a:noFill/>
                    </a:lnT>
                    <a:lnB>
                      <a:noFill/>
                    </a:lnB>
                  </a:tcPr>
                </a:tc>
                <a:tc>
                  <a:txBody>
                    <a:bodyPr/>
                    <a:lstStyle/>
                    <a:p>
                      <a:pPr algn="ctr" fontAlgn="b"/>
                      <a:endParaRPr lang="fr-FR" sz="1000" b="0" i="1"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210 0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10,02%</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09607313"/>
                  </a:ext>
                </a:extLst>
              </a:tr>
              <a:tr h="180674">
                <a:tc>
                  <a:txBody>
                    <a:bodyPr/>
                    <a:lstStyle/>
                    <a:p>
                      <a:pPr algn="l" fontAlgn="b"/>
                      <a:r>
                        <a:rPr lang="fr-FR" sz="1000" b="1" i="0" u="none" strike="noStrike" dirty="0">
                          <a:solidFill>
                            <a:srgbClr val="000000"/>
                          </a:solidFill>
                          <a:effectLst/>
                          <a:latin typeface="Calibri" panose="020F0502020204030204" pitchFamily="34" charset="0"/>
                        </a:rPr>
                        <a:t>CGI</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C6E0B4"/>
                    </a:solidFill>
                  </a:tcPr>
                </a:tc>
                <a:tc gridSpan="8">
                  <a:txBody>
                    <a:bodyPr/>
                    <a:lstStyle/>
                    <a:p>
                      <a:pPr algn="ctr" fontAlgn="b"/>
                      <a:r>
                        <a:rPr lang="fr-FR" sz="1000" b="1" i="0" u="none" strike="noStrike" dirty="0">
                          <a:solidFill>
                            <a:srgbClr val="ED7D31"/>
                          </a:solidFill>
                          <a:effectLst/>
                          <a:latin typeface="Calibri" panose="020F0502020204030204" pitchFamily="34" charset="0"/>
                        </a:rPr>
                        <a:t>data </a:t>
                      </a:r>
                      <a:r>
                        <a:rPr lang="fr-FR" sz="1000" b="1" i="0" u="none" strike="noStrike" dirty="0" err="1">
                          <a:solidFill>
                            <a:srgbClr val="ED7D31"/>
                          </a:solidFill>
                          <a:effectLst/>
                          <a:latin typeface="Calibri" panose="020F0502020204030204" pitchFamily="34" charset="0"/>
                        </a:rPr>
                        <a:t>unavailable</a:t>
                      </a:r>
                      <a:endParaRPr lang="fr-FR" sz="1000" b="1" i="0" u="none" strike="noStrike" dirty="0">
                        <a:solidFill>
                          <a:srgbClr val="ED7D31"/>
                        </a:solidFill>
                        <a:effectLst/>
                        <a:latin typeface="Calibri" panose="020F0502020204030204"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536470547"/>
                  </a:ext>
                </a:extLst>
              </a:tr>
              <a:tr h="317986">
                <a:tc>
                  <a:txBody>
                    <a:bodyPr/>
                    <a:lstStyle/>
                    <a:p>
                      <a:pPr algn="l" fontAlgn="b"/>
                      <a:r>
                        <a:rPr lang="fr-FR" sz="1000" b="1" i="0" u="none" strike="noStrike">
                          <a:solidFill>
                            <a:srgbClr val="000000"/>
                          </a:solidFill>
                          <a:effectLst/>
                          <a:latin typeface="Calibri" panose="020F0502020204030204" pitchFamily="34" charset="0"/>
                        </a:rPr>
                        <a:t>CREDITLIFT</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C6E0B4"/>
                    </a:solidFill>
                  </a:tcPr>
                </a:tc>
                <a:tc>
                  <a:txBody>
                    <a:bodyPr/>
                    <a:lstStyle/>
                    <a:p>
                      <a:pPr algn="ctr" fontAlgn="b"/>
                      <a:r>
                        <a:rPr lang="fr-FR" sz="1000" b="0" i="0" u="none" strike="noStrike">
                          <a:solidFill>
                            <a:srgbClr val="000000"/>
                          </a:solidFill>
                          <a:effectLst/>
                          <a:latin typeface="Calibri" panose="020F0502020204030204" pitchFamily="34" charset="0"/>
                        </a:rPr>
                        <a:t>        430 8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27,19%</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2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0,06%</a:t>
                      </a:r>
                    </a:p>
                  </a:txBody>
                  <a:tcPr marL="0" marR="0" marT="0" marB="0" anchor="b">
                    <a:lnL>
                      <a:noFill/>
                    </a:lnL>
                    <a:lnR>
                      <a:noFill/>
                    </a:lnR>
                    <a:lnT>
                      <a:noFill/>
                    </a:lnT>
                    <a:lnB>
                      <a:noFill/>
                    </a:lnB>
                  </a:tcPr>
                </a:tc>
                <a:tc>
                  <a:txBody>
                    <a:bodyPr/>
                    <a:lstStyle/>
                    <a:p>
                      <a:pPr algn="ctr" fontAlgn="b"/>
                      <a:r>
                        <a:rPr lang="fr-FR" sz="1000" b="0" i="0" u="none" strike="noStrike" dirty="0">
                          <a:solidFill>
                            <a:srgbClr val="000000"/>
                          </a:solidFill>
                          <a:effectLst/>
                          <a:latin typeface="Calibri" panose="020F0502020204030204" pitchFamily="34" charset="0"/>
                        </a:rPr>
                        <a:t>                             -   € </a:t>
                      </a:r>
                    </a:p>
                  </a:txBody>
                  <a:tcPr marL="0" marR="0" marT="0" marB="0" anchor="b">
                    <a:lnL>
                      <a:noFill/>
                    </a:lnL>
                    <a:lnR>
                      <a:noFill/>
                    </a:lnR>
                    <a:lnT>
                      <a:noFill/>
                    </a:lnT>
                    <a:lnB>
                      <a:noFill/>
                    </a:lnB>
                  </a:tcPr>
                </a:tc>
                <a:tc>
                  <a:txBody>
                    <a:bodyPr/>
                    <a:lstStyle/>
                    <a:p>
                      <a:pPr algn="ctr" fontAlgn="b"/>
                      <a:r>
                        <a:rPr lang="fr-FR" sz="1000" b="0" i="1" u="none" strike="noStrike" dirty="0">
                          <a:solidFill>
                            <a:srgbClr val="000000"/>
                          </a:solidFill>
                          <a:effectLst/>
                          <a:latin typeface="Calibri" panose="020F0502020204030204" pitchFamily="34" charset="0"/>
                        </a:rPr>
                        <a:t>0,00%</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431 0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20,56%</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00379956"/>
                  </a:ext>
                </a:extLst>
              </a:tr>
              <a:tr h="317986">
                <a:tc>
                  <a:txBody>
                    <a:bodyPr/>
                    <a:lstStyle/>
                    <a:p>
                      <a:pPr algn="l" fontAlgn="b"/>
                      <a:r>
                        <a:rPr lang="fr-FR" sz="1000" b="1" i="0" u="none" strike="noStrike">
                          <a:solidFill>
                            <a:srgbClr val="000000"/>
                          </a:solidFill>
                          <a:effectLst/>
                          <a:latin typeface="Calibri" panose="020F0502020204030204" pitchFamily="34" charset="0"/>
                        </a:rPr>
                        <a:t>MYMB</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C6E0B4"/>
                    </a:solidFill>
                  </a:tcPr>
                </a:tc>
                <a:tc>
                  <a:txBody>
                    <a:bodyPr/>
                    <a:lstStyle/>
                    <a:p>
                      <a:pPr algn="ctr" fontAlgn="b"/>
                      <a:r>
                        <a:rPr lang="fr-FR" sz="1000" b="0" i="0" u="none" strike="noStrike">
                          <a:solidFill>
                            <a:srgbClr val="000000"/>
                          </a:solidFill>
                          <a:effectLst/>
                          <a:latin typeface="Calibri" panose="020F0502020204030204" pitchFamily="34" charset="0"/>
                        </a:rPr>
                        <a:t>        120 5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7,60%</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70 0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22,64%</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113 000 000,00 € </a:t>
                      </a:r>
                    </a:p>
                  </a:txBody>
                  <a:tcPr marL="0" marR="0" marT="0" marB="0" anchor="b">
                    <a:lnL>
                      <a:noFill/>
                    </a:lnL>
                    <a:lnR>
                      <a:noFill/>
                    </a:lnR>
                    <a:lnT>
                      <a:noFill/>
                    </a:lnT>
                    <a:lnB>
                      <a:noFill/>
                    </a:lnB>
                  </a:tcPr>
                </a:tc>
                <a:tc>
                  <a:txBody>
                    <a:bodyPr/>
                    <a:lstStyle/>
                    <a:p>
                      <a:pPr algn="ctr" fontAlgn="b"/>
                      <a:r>
                        <a:rPr lang="fr-FR" sz="1000" b="0" i="1" u="none" strike="noStrike" dirty="0">
                          <a:solidFill>
                            <a:srgbClr val="000000"/>
                          </a:solidFill>
                          <a:effectLst/>
                          <a:latin typeface="Calibri" panose="020F0502020204030204" pitchFamily="34" charset="0"/>
                        </a:rPr>
                        <a:t>55,94%</a:t>
                      </a:r>
                    </a:p>
                  </a:txBody>
                  <a:tcPr marL="0" marR="0" marT="0" marB="0" anchor="b">
                    <a:lnL>
                      <a:noFill/>
                    </a:lnL>
                    <a:lnR>
                      <a:noFill/>
                    </a:lnR>
                    <a:lnT>
                      <a:noFill/>
                    </a:lnT>
                    <a:lnB>
                      <a:noFill/>
                    </a:lnB>
                  </a:tcPr>
                </a:tc>
                <a:tc>
                  <a:txBody>
                    <a:bodyPr/>
                    <a:lstStyle/>
                    <a:p>
                      <a:pPr algn="ctr" fontAlgn="b"/>
                      <a:r>
                        <a:rPr lang="fr-FR" sz="1000" b="0" i="0" u="none" strike="noStrike" dirty="0">
                          <a:solidFill>
                            <a:srgbClr val="000000"/>
                          </a:solidFill>
                          <a:effectLst/>
                          <a:latin typeface="Calibri" panose="020F0502020204030204" pitchFamily="34" charset="0"/>
                        </a:rPr>
                        <a:t>      303 5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14,48%</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7342523"/>
                  </a:ext>
                </a:extLst>
              </a:tr>
              <a:tr h="317986">
                <a:tc>
                  <a:txBody>
                    <a:bodyPr/>
                    <a:lstStyle/>
                    <a:p>
                      <a:pPr algn="l" fontAlgn="b"/>
                      <a:r>
                        <a:rPr lang="fr-FR" sz="1000" b="1" i="0" u="none" strike="noStrike">
                          <a:solidFill>
                            <a:srgbClr val="000000"/>
                          </a:solidFill>
                          <a:effectLst/>
                          <a:latin typeface="Calibri" panose="020F0502020204030204" pitchFamily="34" charset="0"/>
                        </a:rPr>
                        <a:t>CFCAL</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C6E0B4"/>
                    </a:solidFill>
                  </a:tcPr>
                </a:tc>
                <a:tc>
                  <a:txBody>
                    <a:bodyPr/>
                    <a:lstStyle/>
                    <a:p>
                      <a:pPr algn="ctr" fontAlgn="b"/>
                      <a:r>
                        <a:rPr lang="fr-FR" sz="1000" b="0" i="0" u="none" strike="noStrike">
                          <a:solidFill>
                            <a:srgbClr val="000000"/>
                          </a:solidFill>
                          <a:effectLst/>
                          <a:latin typeface="Calibri" panose="020F0502020204030204" pitchFamily="34" charset="0"/>
                        </a:rPr>
                        <a:t>        131 0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8,27%</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145 000 000,00 € </a:t>
                      </a:r>
                    </a:p>
                  </a:txBody>
                  <a:tcPr marL="0" marR="0" marT="0" marB="0" anchor="b">
                    <a:lnL>
                      <a:noFill/>
                    </a:lnL>
                    <a:lnR>
                      <a:noFill/>
                    </a:lnR>
                    <a:lnT>
                      <a:noFill/>
                    </a:lnT>
                    <a:lnB>
                      <a:noFill/>
                    </a:lnB>
                  </a:tcPr>
                </a:tc>
                <a:tc>
                  <a:txBody>
                    <a:bodyPr/>
                    <a:lstStyle/>
                    <a:p>
                      <a:pPr algn="ctr" fontAlgn="b"/>
                      <a:r>
                        <a:rPr lang="fr-FR" sz="1000" b="0" i="1" u="none" strike="noStrike" dirty="0">
                          <a:solidFill>
                            <a:srgbClr val="000000"/>
                          </a:solidFill>
                          <a:effectLst/>
                          <a:latin typeface="Calibri" panose="020F0502020204030204" pitchFamily="34" charset="0"/>
                        </a:rPr>
                        <a:t>46,90%</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86 000 000,00 € </a:t>
                      </a:r>
                    </a:p>
                  </a:txBody>
                  <a:tcPr marL="0" marR="0" marT="0" marB="0" anchor="b">
                    <a:lnL>
                      <a:noFill/>
                    </a:lnL>
                    <a:lnR>
                      <a:noFill/>
                    </a:lnR>
                    <a:lnT>
                      <a:noFill/>
                    </a:lnT>
                    <a:lnB>
                      <a:noFill/>
                    </a:lnB>
                  </a:tcPr>
                </a:tc>
                <a:tc>
                  <a:txBody>
                    <a:bodyPr/>
                    <a:lstStyle/>
                    <a:p>
                      <a:pPr algn="ctr" fontAlgn="b"/>
                      <a:r>
                        <a:rPr lang="fr-FR" sz="1000" b="0" i="1" u="none" strike="noStrike" dirty="0">
                          <a:solidFill>
                            <a:srgbClr val="000000"/>
                          </a:solidFill>
                          <a:effectLst/>
                          <a:latin typeface="Calibri" panose="020F0502020204030204" pitchFamily="34" charset="0"/>
                        </a:rPr>
                        <a:t>42,57%</a:t>
                      </a:r>
                    </a:p>
                  </a:txBody>
                  <a:tcPr marL="0" marR="0" marT="0" marB="0" anchor="b">
                    <a:lnL>
                      <a:noFill/>
                    </a:lnL>
                    <a:lnR>
                      <a:noFill/>
                    </a:lnR>
                    <a:lnT>
                      <a:noFill/>
                    </a:lnT>
                    <a:lnB>
                      <a:noFill/>
                    </a:lnB>
                  </a:tcPr>
                </a:tc>
                <a:tc>
                  <a:txBody>
                    <a:bodyPr/>
                    <a:lstStyle/>
                    <a:p>
                      <a:pPr algn="ctr" fontAlgn="b"/>
                      <a:r>
                        <a:rPr lang="fr-FR" sz="1000" b="0" i="0" u="none" strike="noStrike" dirty="0">
                          <a:solidFill>
                            <a:srgbClr val="000000"/>
                          </a:solidFill>
                          <a:effectLst/>
                          <a:latin typeface="Calibri" panose="020F0502020204030204" pitchFamily="34" charset="0"/>
                        </a:rPr>
                        <a:t>      362 0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17,27%</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51645847"/>
                  </a:ext>
                </a:extLst>
              </a:tr>
              <a:tr h="317986">
                <a:tc>
                  <a:txBody>
                    <a:bodyPr/>
                    <a:lstStyle/>
                    <a:p>
                      <a:pPr algn="l" fontAlgn="b"/>
                      <a:r>
                        <a:rPr lang="fr-FR" sz="1000" b="1" i="0" u="none" strike="noStrike">
                          <a:solidFill>
                            <a:srgbClr val="000000"/>
                          </a:solidFill>
                          <a:effectLst/>
                          <a:latin typeface="Calibri" panose="020F0502020204030204" pitchFamily="34" charset="0"/>
                        </a:rPr>
                        <a:t>YOUNITED</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C6E0B4"/>
                    </a:solidFill>
                  </a:tcPr>
                </a:tc>
                <a:tc>
                  <a:txBody>
                    <a:bodyPr/>
                    <a:lstStyle/>
                    <a:p>
                      <a:pPr algn="ctr" fontAlgn="b"/>
                      <a:r>
                        <a:rPr lang="fr-FR" sz="1000" b="0" i="0" u="none" strike="noStrike">
                          <a:solidFill>
                            <a:srgbClr val="000000"/>
                          </a:solidFill>
                          <a:effectLst/>
                          <a:latin typeface="Calibri" panose="020F0502020204030204" pitchFamily="34" charset="0"/>
                        </a:rPr>
                        <a:t>          25 3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1,60%</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   € </a:t>
                      </a:r>
                    </a:p>
                  </a:txBody>
                  <a:tcPr marL="0" marR="0" marT="0" marB="0" anchor="b">
                    <a:lnL>
                      <a:noFill/>
                    </a:lnL>
                    <a:lnR>
                      <a:noFill/>
                    </a:lnR>
                    <a:lnT>
                      <a:noFill/>
                    </a:lnT>
                    <a:lnB>
                      <a:noFill/>
                    </a:lnB>
                  </a:tcPr>
                </a:tc>
                <a:tc>
                  <a:txBody>
                    <a:bodyPr/>
                    <a:lstStyle/>
                    <a:p>
                      <a:pPr algn="ctr" fontAlgn="b"/>
                      <a:endParaRPr lang="fr-FR" sz="1000" b="0" i="1"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   € </a:t>
                      </a:r>
                    </a:p>
                  </a:txBody>
                  <a:tcPr marL="0" marR="0" marT="0" marB="0" anchor="b">
                    <a:lnL>
                      <a:noFill/>
                    </a:lnL>
                    <a:lnR>
                      <a:noFill/>
                    </a:lnR>
                    <a:lnT>
                      <a:noFill/>
                    </a:lnT>
                    <a:lnB>
                      <a:noFill/>
                    </a:lnB>
                  </a:tcPr>
                </a:tc>
                <a:tc>
                  <a:txBody>
                    <a:bodyPr/>
                    <a:lstStyle/>
                    <a:p>
                      <a:pPr algn="ctr" fontAlgn="b"/>
                      <a:endParaRPr lang="fr-FR" sz="1000" b="0" i="1"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ctr" fontAlgn="b"/>
                      <a:r>
                        <a:rPr lang="fr-FR" sz="1000" b="0" i="0" u="none" strike="noStrike" dirty="0">
                          <a:solidFill>
                            <a:srgbClr val="000000"/>
                          </a:solidFill>
                          <a:effectLst/>
                          <a:latin typeface="Calibri" panose="020F0502020204030204" pitchFamily="34" charset="0"/>
                        </a:rPr>
                        <a:t>         25 3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1,21%</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62347958"/>
                  </a:ext>
                </a:extLst>
              </a:tr>
              <a:tr h="317986">
                <a:tc>
                  <a:txBody>
                    <a:bodyPr/>
                    <a:lstStyle/>
                    <a:p>
                      <a:pPr algn="l" fontAlgn="b"/>
                      <a:r>
                        <a:rPr lang="fr-FR" sz="1000" b="1" i="0" u="none" strike="noStrike">
                          <a:solidFill>
                            <a:srgbClr val="000000"/>
                          </a:solidFill>
                          <a:effectLst/>
                          <a:latin typeface="Calibri" panose="020F0502020204030204" pitchFamily="34" charset="0"/>
                        </a:rPr>
                        <a:t>LBPCF</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C6E0B4"/>
                    </a:solidFill>
                  </a:tcPr>
                </a:tc>
                <a:tc>
                  <a:txBody>
                    <a:bodyPr/>
                    <a:lstStyle/>
                    <a:p>
                      <a:pPr algn="ctr" fontAlgn="b"/>
                      <a:r>
                        <a:rPr lang="fr-FR" sz="1000" b="0" i="0" u="none" strike="noStrike">
                          <a:solidFill>
                            <a:srgbClr val="000000"/>
                          </a:solidFill>
                          <a:effectLst/>
                          <a:latin typeface="Calibri" panose="020F0502020204030204" pitchFamily="34" charset="0"/>
                        </a:rPr>
                        <a:t>          85 000 000,00 € </a:t>
                      </a:r>
                    </a:p>
                  </a:txBody>
                  <a:tcPr marL="0" marR="0" marT="0" marB="0" anchor="b">
                    <a:lnL>
                      <a:noFill/>
                    </a:lnL>
                    <a:lnR>
                      <a:noFill/>
                    </a:lnR>
                    <a:lnT>
                      <a:noFill/>
                    </a:lnT>
                    <a:lnB>
                      <a:noFill/>
                    </a:lnB>
                  </a:tcPr>
                </a:tc>
                <a:tc>
                  <a:txBody>
                    <a:bodyPr/>
                    <a:lstStyle/>
                    <a:p>
                      <a:pPr algn="ctr" fontAlgn="b"/>
                      <a:r>
                        <a:rPr lang="fr-FR" sz="1000" b="0" i="1" u="none" strike="noStrike">
                          <a:solidFill>
                            <a:srgbClr val="000000"/>
                          </a:solidFill>
                          <a:effectLst/>
                          <a:latin typeface="Calibri" panose="020F0502020204030204" pitchFamily="34" charset="0"/>
                        </a:rPr>
                        <a:t>5,36%</a:t>
                      </a: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   € </a:t>
                      </a:r>
                    </a:p>
                  </a:txBody>
                  <a:tcPr marL="0" marR="0" marT="0" marB="0" anchor="b">
                    <a:lnL>
                      <a:noFill/>
                    </a:lnL>
                    <a:lnR>
                      <a:noFill/>
                    </a:lnR>
                    <a:lnT>
                      <a:noFill/>
                    </a:lnT>
                    <a:lnB>
                      <a:noFill/>
                    </a:lnB>
                  </a:tcPr>
                </a:tc>
                <a:tc>
                  <a:txBody>
                    <a:bodyPr/>
                    <a:lstStyle/>
                    <a:p>
                      <a:pPr algn="ctr" fontAlgn="b"/>
                      <a:endParaRPr lang="fr-FR" sz="1000" b="0" i="1"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ctr" fontAlgn="b"/>
                      <a:r>
                        <a:rPr lang="fr-FR" sz="1000" b="0" i="0" u="none" strike="noStrike">
                          <a:solidFill>
                            <a:srgbClr val="000000"/>
                          </a:solidFill>
                          <a:effectLst/>
                          <a:latin typeface="Calibri" panose="020F0502020204030204" pitchFamily="34" charset="0"/>
                        </a:rPr>
                        <a:t>                             -   € </a:t>
                      </a:r>
                    </a:p>
                  </a:txBody>
                  <a:tcPr marL="0" marR="0" marT="0" marB="0" anchor="b">
                    <a:lnL>
                      <a:noFill/>
                    </a:lnL>
                    <a:lnR>
                      <a:noFill/>
                    </a:lnR>
                    <a:lnT>
                      <a:noFill/>
                    </a:lnT>
                    <a:lnB>
                      <a:noFill/>
                    </a:lnB>
                  </a:tcPr>
                </a:tc>
                <a:tc>
                  <a:txBody>
                    <a:bodyPr/>
                    <a:lstStyle/>
                    <a:p>
                      <a:pPr algn="ctr" fontAlgn="b"/>
                      <a:endParaRPr lang="fr-FR" sz="1000" b="0" i="1"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ctr" fontAlgn="b"/>
                      <a:r>
                        <a:rPr lang="fr-FR" sz="1000" b="0" i="0" u="none" strike="noStrike" dirty="0">
                          <a:solidFill>
                            <a:srgbClr val="000000"/>
                          </a:solidFill>
                          <a:effectLst/>
                          <a:latin typeface="Calibri" panose="020F0502020204030204" pitchFamily="34" charset="0"/>
                        </a:rPr>
                        <a:t>         85 000 000,00 € </a:t>
                      </a:r>
                    </a:p>
                  </a:txBody>
                  <a:tcPr marL="0" marR="0" marT="0" marB="0" anchor="b">
                    <a:lnL>
                      <a:noFill/>
                    </a:lnL>
                    <a:lnR>
                      <a:noFill/>
                    </a:lnR>
                    <a:lnT>
                      <a:noFill/>
                    </a:lnT>
                    <a:lnB>
                      <a:noFill/>
                    </a:lnB>
                  </a:tcPr>
                </a:tc>
                <a:tc>
                  <a:txBody>
                    <a:bodyPr/>
                    <a:lstStyle/>
                    <a:p>
                      <a:pPr algn="ctr" fontAlgn="b"/>
                      <a:r>
                        <a:rPr lang="fr-FR" sz="1000" b="0" i="1" u="none" strike="noStrike" dirty="0">
                          <a:solidFill>
                            <a:srgbClr val="000000"/>
                          </a:solidFill>
                          <a:effectLst/>
                          <a:latin typeface="Calibri" panose="020F0502020204030204" pitchFamily="34" charset="0"/>
                        </a:rPr>
                        <a:t>4,06%</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24782077"/>
                  </a:ext>
                </a:extLst>
              </a:tr>
              <a:tr h="189707">
                <a:tc>
                  <a:txBody>
                    <a:bodyPr/>
                    <a:lstStyle/>
                    <a:p>
                      <a:pPr algn="l" fontAlgn="b"/>
                      <a:r>
                        <a:rPr lang="fr-FR" sz="1000" b="1" i="0" u="none" strike="noStrike">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fr-FR" sz="1000" b="1" i="0" u="none" strike="noStrike">
                          <a:solidFill>
                            <a:srgbClr val="000000"/>
                          </a:solidFill>
                          <a:effectLst/>
                          <a:latin typeface="Calibri" panose="020F0502020204030204" pitchFamily="34" charset="0"/>
                        </a:rPr>
                        <a:t>    1 584 600 000,00 €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fr-FR" sz="1000" b="1"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fr-FR" sz="1000" b="1" i="0" u="none" strike="noStrike">
                          <a:solidFill>
                            <a:srgbClr val="000000"/>
                          </a:solidFill>
                          <a:effectLst/>
                          <a:latin typeface="Calibri" panose="020F0502020204030204" pitchFamily="34" charset="0"/>
                        </a:rPr>
                        <a:t>  309 200 000,00 €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fr-FR" sz="1000" b="1"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fr-FR" sz="1000" b="1" i="0" u="none" strike="noStrike">
                          <a:solidFill>
                            <a:srgbClr val="000000"/>
                          </a:solidFill>
                          <a:effectLst/>
                          <a:latin typeface="Calibri" panose="020F0502020204030204" pitchFamily="34" charset="0"/>
                        </a:rPr>
                        <a:t>    202 000 000,00 €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fr-FR" sz="1000" b="1"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fr-FR" sz="1000" b="1" i="0" u="none" strike="noStrike" dirty="0">
                          <a:solidFill>
                            <a:srgbClr val="000000"/>
                          </a:solidFill>
                          <a:effectLst/>
                          <a:latin typeface="Calibri" panose="020F0502020204030204" pitchFamily="34" charset="0"/>
                        </a:rPr>
                        <a:t>   2 095 800 000,00 €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fr-FR" sz="1000" b="1" i="0" u="none" strike="noStrike" dirty="0">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004227028"/>
                  </a:ext>
                </a:extLst>
              </a:tr>
            </a:tbl>
          </a:graphicData>
        </a:graphic>
      </p:graphicFrame>
      <p:sp>
        <p:nvSpPr>
          <p:cNvPr id="10" name="ZoneTexte 9">
            <a:extLst>
              <a:ext uri="{FF2B5EF4-FFF2-40B4-BE49-F238E27FC236}">
                <a16:creationId xmlns:a16="http://schemas.microsoft.com/office/drawing/2014/main" id="{D9689E43-5B04-4CC5-B04C-9B64D5728E54}"/>
              </a:ext>
            </a:extLst>
          </p:cNvPr>
          <p:cNvSpPr txBox="1"/>
          <p:nvPr/>
        </p:nvSpPr>
        <p:spPr>
          <a:xfrm>
            <a:off x="517609" y="4446104"/>
            <a:ext cx="6419904" cy="461665"/>
          </a:xfrm>
          <a:prstGeom prst="rect">
            <a:avLst/>
          </a:prstGeom>
          <a:noFill/>
        </p:spPr>
        <p:txBody>
          <a:bodyPr wrap="square" rtlCol="0">
            <a:spAutoFit/>
          </a:bodyPr>
          <a:lstStyle/>
          <a:p>
            <a:r>
              <a:rPr lang="fr-FR" sz="800" i="1" dirty="0"/>
              <a:t>SG : Sans Garantie et en usure conso (montant part </a:t>
            </a:r>
            <a:r>
              <a:rPr lang="fr-FR" sz="800" i="1" dirty="0" err="1"/>
              <a:t>immo</a:t>
            </a:r>
            <a:r>
              <a:rPr lang="fr-FR" sz="800" i="1" dirty="0"/>
              <a:t>&lt;60% du RAC)</a:t>
            </a:r>
          </a:p>
          <a:p>
            <a:r>
              <a:rPr lang="fr-FR" sz="800" i="1" dirty="0"/>
              <a:t>PH LCC : prêt hypothécaire en usure conso (montant part </a:t>
            </a:r>
            <a:r>
              <a:rPr lang="fr-FR" sz="800" i="1" dirty="0" err="1"/>
              <a:t>immo</a:t>
            </a:r>
            <a:r>
              <a:rPr lang="fr-FR" sz="800" i="1" dirty="0"/>
              <a:t>&lt;60% du RAC)</a:t>
            </a:r>
          </a:p>
          <a:p>
            <a:r>
              <a:rPr lang="fr-FR" sz="800" i="1" dirty="0"/>
              <a:t>PH LS2 : prêt hypothécaire en usure </a:t>
            </a:r>
            <a:r>
              <a:rPr lang="fr-FR" sz="800" i="1" dirty="0" err="1"/>
              <a:t>immo</a:t>
            </a:r>
            <a:r>
              <a:rPr lang="fr-FR" sz="800" i="1" dirty="0"/>
              <a:t> (montant part </a:t>
            </a:r>
            <a:r>
              <a:rPr lang="fr-FR" sz="800" i="1" dirty="0" err="1"/>
              <a:t>immo</a:t>
            </a:r>
            <a:r>
              <a:rPr lang="fr-FR" sz="800" i="1" dirty="0"/>
              <a:t>&gt;60% du RAC)</a:t>
            </a:r>
          </a:p>
        </p:txBody>
      </p:sp>
    </p:spTree>
    <p:extLst>
      <p:ext uri="{BB962C8B-B14F-4D97-AF65-F5344CB8AC3E}">
        <p14:creationId xmlns:p14="http://schemas.microsoft.com/office/powerpoint/2010/main" val="39785949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12C9992-02CC-4B36-AED2-EB2FCD44F01D}"/>
              </a:ext>
            </a:extLst>
          </p:cNvPr>
          <p:cNvSpPr>
            <a:spLocks noGrp="1"/>
          </p:cNvSpPr>
          <p:nvPr>
            <p:ph type="title"/>
          </p:nvPr>
        </p:nvSpPr>
        <p:spPr>
          <a:xfrm>
            <a:off x="410816" y="173626"/>
            <a:ext cx="7997742" cy="548617"/>
          </a:xfrm>
        </p:spPr>
        <p:txBody>
          <a:bodyPr vert="horz" lIns="91440" tIns="45720" rIns="91440" bIns="45720" rtlCol="0" anchor="t" anchorCtr="0">
            <a:noAutofit/>
          </a:bodyPr>
          <a:lstStyle/>
          <a:p>
            <a:r>
              <a:rPr lang="fr-FR" sz="1800" dirty="0">
                <a:solidFill>
                  <a:schemeClr val="tx1"/>
                </a:solidFill>
              </a:rPr>
              <a:t>Control process of </a:t>
            </a:r>
            <a:r>
              <a:rPr lang="fr-FR" sz="1800" dirty="0" err="1">
                <a:solidFill>
                  <a:schemeClr val="tx1"/>
                </a:solidFill>
              </a:rPr>
              <a:t>credit</a:t>
            </a:r>
            <a:r>
              <a:rPr lang="fr-FR" sz="1800" dirty="0">
                <a:solidFill>
                  <a:schemeClr val="tx1"/>
                </a:solidFill>
              </a:rPr>
              <a:t> </a:t>
            </a:r>
            <a:r>
              <a:rPr lang="fr-FR" sz="1800" dirty="0" err="1">
                <a:solidFill>
                  <a:schemeClr val="tx1"/>
                </a:solidFill>
              </a:rPr>
              <a:t>intermediaries</a:t>
            </a:r>
            <a:endParaRPr lang="fr-FR" sz="1800" dirty="0">
              <a:solidFill>
                <a:schemeClr val="tx1"/>
              </a:solidFill>
            </a:endParaRPr>
          </a:p>
        </p:txBody>
      </p:sp>
      <p:sp>
        <p:nvSpPr>
          <p:cNvPr id="3" name="Espace réservé du contenu 2">
            <a:extLst>
              <a:ext uri="{FF2B5EF4-FFF2-40B4-BE49-F238E27FC236}">
                <a16:creationId xmlns:a16="http://schemas.microsoft.com/office/drawing/2014/main" id="{BF73A94D-DBBE-49A4-AF2B-66BBC22308EB}"/>
              </a:ext>
            </a:extLst>
          </p:cNvPr>
          <p:cNvSpPr>
            <a:spLocks noGrp="1"/>
          </p:cNvSpPr>
          <p:nvPr>
            <p:ph idx="1"/>
          </p:nvPr>
        </p:nvSpPr>
        <p:spPr>
          <a:xfrm>
            <a:off x="410816" y="910806"/>
            <a:ext cx="7765773" cy="4088200"/>
          </a:xfrm>
        </p:spPr>
        <p:txBody>
          <a:bodyPr/>
          <a:lstStyle/>
          <a:p>
            <a:r>
              <a:rPr lang="fr-FR" sz="900" dirty="0" err="1"/>
              <a:t>Creditlift</a:t>
            </a:r>
            <a:r>
              <a:rPr lang="fr-FR" sz="900" dirty="0"/>
              <a:t> </a:t>
            </a:r>
            <a:r>
              <a:rPr lang="fr-FR" sz="900" dirty="0" err="1"/>
              <a:t>may</a:t>
            </a:r>
            <a:r>
              <a:rPr lang="fr-FR" sz="900" dirty="0"/>
              <a:t> control and audit the </a:t>
            </a:r>
            <a:r>
              <a:rPr lang="fr-FR" sz="900" dirty="0" err="1"/>
              <a:t>intermediary</a:t>
            </a:r>
            <a:r>
              <a:rPr lang="fr-FR" sz="900" dirty="0"/>
              <a:t> </a:t>
            </a:r>
            <a:r>
              <a:rPr lang="fr-FR" sz="900" dirty="0" err="1"/>
              <a:t>within</a:t>
            </a:r>
            <a:r>
              <a:rPr lang="fr-FR" sz="900" dirty="0"/>
              <a:t> the </a:t>
            </a:r>
            <a:r>
              <a:rPr lang="fr-FR" sz="900" dirty="0" err="1"/>
              <a:t>meaning</a:t>
            </a:r>
            <a:r>
              <a:rPr lang="fr-FR" sz="900" dirty="0"/>
              <a:t> of Article 14 of the convention.</a:t>
            </a:r>
          </a:p>
          <a:p>
            <a:r>
              <a:rPr lang="fr-FR" sz="900" dirty="0" err="1"/>
              <a:t>Creditlift</a:t>
            </a:r>
            <a:r>
              <a:rPr lang="fr-FR" sz="900" dirty="0"/>
              <a:t> </a:t>
            </a:r>
            <a:r>
              <a:rPr lang="fr-FR" sz="900" dirty="0" err="1"/>
              <a:t>will</a:t>
            </a:r>
            <a:r>
              <a:rPr lang="fr-FR" sz="900" dirty="0"/>
              <a:t> have </a:t>
            </a:r>
            <a:r>
              <a:rPr lang="fr-FR" sz="900" dirty="0" err="1"/>
              <a:t>access</a:t>
            </a:r>
            <a:r>
              <a:rPr lang="fr-FR" sz="900" dirty="0"/>
              <a:t> </a:t>
            </a:r>
            <a:r>
              <a:rPr lang="fr-FR" sz="900" dirty="0" err="1"/>
              <a:t>during</a:t>
            </a:r>
            <a:r>
              <a:rPr lang="fr-FR" sz="900" dirty="0"/>
              <a:t> business </a:t>
            </a:r>
            <a:r>
              <a:rPr lang="fr-FR" sz="900" dirty="0" err="1"/>
              <a:t>hours</a:t>
            </a:r>
            <a:r>
              <a:rPr lang="fr-FR" sz="900" dirty="0"/>
              <a:t> to the offices of the </a:t>
            </a:r>
            <a:r>
              <a:rPr lang="fr-FR" sz="900" dirty="0" err="1"/>
              <a:t>intermediary</a:t>
            </a:r>
            <a:r>
              <a:rPr lang="fr-FR" sz="900" dirty="0"/>
              <a:t> </a:t>
            </a:r>
            <a:r>
              <a:rPr lang="fr-FR" sz="900" dirty="0" err="1"/>
              <a:t>within</a:t>
            </a:r>
            <a:r>
              <a:rPr lang="fr-FR" sz="900" dirty="0"/>
              <a:t> the </a:t>
            </a:r>
            <a:r>
              <a:rPr lang="fr-FR" sz="900" dirty="0" err="1"/>
              <a:t>meaning</a:t>
            </a:r>
            <a:r>
              <a:rPr lang="fr-FR" sz="900" dirty="0"/>
              <a:t> of Article 14 of the convention</a:t>
            </a:r>
          </a:p>
          <a:p>
            <a:endParaRPr lang="fr-FR" sz="900" dirty="0"/>
          </a:p>
          <a:p>
            <a:r>
              <a:rPr lang="en-US" sz="900" dirty="0"/>
              <a:t>The checks carried out may include compliance with the obligations and commitments of the Intermediary with respect to: </a:t>
            </a:r>
          </a:p>
          <a:p>
            <a:pPr marL="351450" lvl="2" indent="-171450">
              <a:buClrTx/>
              <a:buFont typeface="Arial" panose="020B0604020202020204" pitchFamily="34" charset="0"/>
              <a:buChar char="•"/>
            </a:pPr>
            <a:r>
              <a:rPr lang="fr-FR" sz="900" dirty="0"/>
              <a:t>Registration on ORIAS</a:t>
            </a:r>
          </a:p>
          <a:p>
            <a:pPr marL="351450" lvl="2" indent="-171450">
              <a:buClrTx/>
              <a:buFont typeface="Arial" panose="020B0604020202020204" pitchFamily="34" charset="0"/>
              <a:buChar char="•"/>
            </a:pPr>
            <a:r>
              <a:rPr lang="fr-FR" sz="900" dirty="0"/>
              <a:t>Professional </a:t>
            </a:r>
            <a:r>
              <a:rPr lang="fr-FR" sz="900" dirty="0" err="1"/>
              <a:t>competence</a:t>
            </a:r>
            <a:r>
              <a:rPr lang="fr-FR" sz="900" dirty="0"/>
              <a:t> (</a:t>
            </a:r>
            <a:r>
              <a:rPr lang="fr-FR" sz="900" dirty="0" err="1"/>
              <a:t>including</a:t>
            </a:r>
            <a:r>
              <a:rPr lang="fr-FR" sz="900" dirty="0"/>
              <a:t> training, </a:t>
            </a:r>
            <a:r>
              <a:rPr lang="fr-FR" sz="900" dirty="0" err="1"/>
              <a:t>diploma</a:t>
            </a:r>
            <a:r>
              <a:rPr lang="fr-FR" sz="900" dirty="0"/>
              <a:t> or </a:t>
            </a:r>
            <a:r>
              <a:rPr lang="fr-FR" sz="900" dirty="0" err="1"/>
              <a:t>experience</a:t>
            </a:r>
            <a:r>
              <a:rPr lang="fr-FR" sz="900" dirty="0"/>
              <a:t>)</a:t>
            </a:r>
          </a:p>
          <a:p>
            <a:pPr marL="351450" lvl="2" indent="-171450">
              <a:buClrTx/>
              <a:buFont typeface="Arial" panose="020B0604020202020204" pitchFamily="34" charset="0"/>
              <a:buChar char="•"/>
            </a:pPr>
            <a:r>
              <a:rPr lang="en-US" sz="900" dirty="0"/>
              <a:t>Communications and advertisements carried out by the Intermediary (if any)</a:t>
            </a:r>
          </a:p>
          <a:p>
            <a:pPr marL="351450" lvl="2" indent="-171450">
              <a:buClrTx/>
              <a:buFont typeface="Arial" panose="020B0604020202020204" pitchFamily="34" charset="0"/>
              <a:buChar char="•"/>
            </a:pPr>
            <a:r>
              <a:rPr lang="en-US" sz="900" dirty="0"/>
              <a:t> Prevention of conflicts of interest and remuneration of its staff</a:t>
            </a:r>
          </a:p>
          <a:p>
            <a:pPr marL="351450" lvl="2" indent="-171450">
              <a:buClrTx/>
              <a:buFont typeface="Arial" panose="020B0604020202020204" pitchFamily="34" charset="0"/>
              <a:buChar char="•"/>
            </a:pPr>
            <a:r>
              <a:rPr lang="fr-FR" sz="900" dirty="0"/>
              <a:t>Sales and marketing </a:t>
            </a:r>
            <a:r>
              <a:rPr lang="fr-FR" sz="900" dirty="0" err="1"/>
              <a:t>processes</a:t>
            </a:r>
            <a:endParaRPr lang="en-US" sz="900" dirty="0"/>
          </a:p>
          <a:p>
            <a:pPr marL="351450" lvl="2" indent="-171450">
              <a:buClrTx/>
              <a:buFont typeface="Arial" panose="020B0604020202020204" pitchFamily="34" charset="0"/>
              <a:buChar char="•"/>
            </a:pPr>
            <a:r>
              <a:rPr lang="en-US" sz="900" dirty="0"/>
              <a:t>If applicable, telephone or electronic canvassing that involves the sale of the products</a:t>
            </a:r>
            <a:endParaRPr lang="fr-FR" sz="900" dirty="0"/>
          </a:p>
          <a:p>
            <a:endParaRPr lang="fr-FR" sz="900" dirty="0"/>
          </a:p>
          <a:p>
            <a:r>
              <a:rPr lang="fr-FR" sz="900" dirty="0"/>
              <a:t>The </a:t>
            </a:r>
            <a:r>
              <a:rPr lang="fr-FR" sz="900" dirty="0" err="1"/>
              <a:t>intermediary</a:t>
            </a:r>
            <a:r>
              <a:rPr lang="fr-FR" sz="900" dirty="0"/>
              <a:t> </a:t>
            </a:r>
            <a:r>
              <a:rPr lang="fr-FR" sz="900" dirty="0" err="1"/>
              <a:t>undertakes</a:t>
            </a:r>
            <a:r>
              <a:rPr lang="fr-FR" sz="900" dirty="0"/>
              <a:t> to </a:t>
            </a:r>
            <a:r>
              <a:rPr lang="fr-FR" sz="900" dirty="0" err="1"/>
              <a:t>make</a:t>
            </a:r>
            <a:r>
              <a:rPr lang="fr-FR" sz="900" dirty="0"/>
              <a:t> </a:t>
            </a:r>
            <a:r>
              <a:rPr lang="fr-FR" sz="900" dirty="0" err="1"/>
              <a:t>available</a:t>
            </a:r>
            <a:r>
              <a:rPr lang="fr-FR" sz="900" dirty="0"/>
              <a:t> to </a:t>
            </a:r>
            <a:r>
              <a:rPr lang="fr-FR" sz="900" dirty="0" err="1"/>
              <a:t>Creditlift</a:t>
            </a:r>
            <a:r>
              <a:rPr lang="fr-FR" sz="900" dirty="0"/>
              <a:t> :</a:t>
            </a:r>
          </a:p>
          <a:p>
            <a:pPr marL="351450" lvl="2" indent="-171450">
              <a:buClrTx/>
              <a:buFont typeface="Arial" panose="020B0604020202020204" pitchFamily="34" charset="0"/>
              <a:buChar char="•"/>
            </a:pPr>
            <a:r>
              <a:rPr lang="fr-FR" sz="900" dirty="0"/>
              <a:t>Employees training </a:t>
            </a:r>
            <a:r>
              <a:rPr lang="fr-FR" sz="900" dirty="0" err="1"/>
              <a:t>certificates</a:t>
            </a:r>
            <a:r>
              <a:rPr lang="fr-FR" sz="900" dirty="0"/>
              <a:t> (</a:t>
            </a:r>
            <a:r>
              <a:rPr lang="fr-FR" sz="900" dirty="0" err="1"/>
              <a:t>reviewed</a:t>
            </a:r>
            <a:r>
              <a:rPr lang="fr-FR" sz="900" dirty="0"/>
              <a:t> once a </a:t>
            </a:r>
            <a:r>
              <a:rPr lang="fr-FR" sz="900" dirty="0" err="1"/>
              <a:t>year</a:t>
            </a:r>
            <a:r>
              <a:rPr lang="fr-FR" sz="900" dirty="0"/>
              <a:t>)</a:t>
            </a:r>
          </a:p>
          <a:p>
            <a:pPr marL="351450" lvl="2" indent="-171450">
              <a:buClrTx/>
              <a:buFont typeface="Arial" panose="020B0604020202020204" pitchFamily="34" charset="0"/>
              <a:buChar char="•"/>
            </a:pPr>
            <a:r>
              <a:rPr lang="fr-FR" sz="900" dirty="0"/>
              <a:t>Documentation </a:t>
            </a:r>
            <a:r>
              <a:rPr lang="fr-FR" sz="900" dirty="0" err="1"/>
              <a:t>related</a:t>
            </a:r>
            <a:r>
              <a:rPr lang="fr-FR" sz="900" dirty="0"/>
              <a:t> to sales and marketing </a:t>
            </a:r>
            <a:r>
              <a:rPr lang="fr-FR" sz="900" dirty="0" err="1"/>
              <a:t>processes</a:t>
            </a:r>
            <a:endParaRPr lang="fr-FR" sz="900" dirty="0"/>
          </a:p>
          <a:p>
            <a:endParaRPr lang="fr-FR" sz="900" dirty="0"/>
          </a:p>
          <a:p>
            <a:r>
              <a:rPr lang="en-US" sz="900" dirty="0"/>
              <a:t>In the case that the checks reveal a failure to comply with one of the contractual and/or regulatory requirements of the Intermediary, </a:t>
            </a:r>
            <a:r>
              <a:rPr lang="en-US" sz="900" dirty="0" err="1"/>
              <a:t>Creditlift</a:t>
            </a:r>
            <a:r>
              <a:rPr lang="en-US" sz="900" dirty="0"/>
              <a:t> will set a deadline for the implementation of corrective actions. The Intermediary will inform in writing of the corrective actions and, unless </a:t>
            </a:r>
            <a:r>
              <a:rPr lang="en-US" sz="900" dirty="0" err="1"/>
              <a:t>Creditllift</a:t>
            </a:r>
            <a:r>
              <a:rPr lang="en-US" sz="900" dirty="0"/>
              <a:t> disagrees with such corrective measures, will implement them at its costs as soon as possible, and at the most within the time allowed by </a:t>
            </a:r>
            <a:r>
              <a:rPr lang="en-US" sz="900" dirty="0" err="1"/>
              <a:t>Creditlift</a:t>
            </a:r>
            <a:r>
              <a:rPr lang="en-US" sz="900" dirty="0"/>
              <a:t>.</a:t>
            </a:r>
            <a:endParaRPr lang="fr-FR" sz="900" dirty="0"/>
          </a:p>
          <a:p>
            <a:endParaRPr lang="fr-FR" sz="900" dirty="0">
              <a:highlight>
                <a:srgbClr val="FFFF00"/>
              </a:highlight>
            </a:endParaRPr>
          </a:p>
          <a:p>
            <a:r>
              <a:rPr lang="fr-FR" sz="900" dirty="0" err="1"/>
              <a:t>Each</a:t>
            </a:r>
            <a:r>
              <a:rPr lang="fr-FR" sz="900" dirty="0"/>
              <a:t> </a:t>
            </a:r>
            <a:r>
              <a:rPr lang="fr-FR" sz="900" dirty="0" err="1"/>
              <a:t>year</a:t>
            </a:r>
            <a:r>
              <a:rPr lang="fr-FR" sz="900" dirty="0"/>
              <a:t>, the convention </a:t>
            </a:r>
            <a:r>
              <a:rPr lang="fr-FR" sz="900" dirty="0" err="1"/>
              <a:t>signed</a:t>
            </a:r>
            <a:r>
              <a:rPr lang="fr-FR" sz="900" dirty="0"/>
              <a:t> </a:t>
            </a:r>
            <a:r>
              <a:rPr lang="fr-FR" sz="900" dirty="0" err="1"/>
              <a:t>between</a:t>
            </a:r>
            <a:r>
              <a:rPr lang="fr-FR" sz="900" dirty="0"/>
              <a:t> the </a:t>
            </a:r>
            <a:r>
              <a:rPr lang="fr-FR" sz="900" dirty="0" err="1"/>
              <a:t>intermediary</a:t>
            </a:r>
            <a:r>
              <a:rPr lang="fr-FR" sz="900" dirty="0"/>
              <a:t> and </a:t>
            </a:r>
            <a:r>
              <a:rPr lang="fr-FR" sz="900" dirty="0" err="1"/>
              <a:t>Credilift</a:t>
            </a:r>
            <a:r>
              <a:rPr lang="fr-FR" sz="900" dirty="0"/>
              <a:t> </a:t>
            </a:r>
            <a:r>
              <a:rPr lang="fr-FR" sz="900" dirty="0" err="1"/>
              <a:t>is</a:t>
            </a:r>
            <a:r>
              <a:rPr lang="fr-FR" sz="900" dirty="0"/>
              <a:t> </a:t>
            </a:r>
            <a:r>
              <a:rPr lang="fr-FR" sz="900" dirty="0" err="1"/>
              <a:t>renewed</a:t>
            </a:r>
            <a:r>
              <a:rPr lang="fr-FR" sz="900" dirty="0"/>
              <a:t> and a </a:t>
            </a:r>
            <a:r>
              <a:rPr lang="fr-FR" sz="900" dirty="0" err="1"/>
              <a:t>serie</a:t>
            </a:r>
            <a:r>
              <a:rPr lang="fr-FR" sz="900" dirty="0"/>
              <a:t> of documents are </a:t>
            </a:r>
            <a:r>
              <a:rPr lang="fr-FR" sz="900" dirty="0" err="1"/>
              <a:t>reviewed</a:t>
            </a:r>
            <a:r>
              <a:rPr lang="fr-FR" sz="900" dirty="0"/>
              <a:t> :</a:t>
            </a:r>
          </a:p>
          <a:p>
            <a:pPr marL="351450" lvl="2" indent="-171450">
              <a:buClrTx/>
              <a:buFont typeface="Arial" panose="020B0604020202020204" pitchFamily="34" charset="0"/>
              <a:buChar char="•"/>
            </a:pPr>
            <a:r>
              <a:rPr lang="fr-FR" sz="900" dirty="0"/>
              <a:t>Registration on ORIAS</a:t>
            </a:r>
          </a:p>
          <a:p>
            <a:pPr marL="351450" lvl="2" indent="-171450">
              <a:buClrTx/>
              <a:buFont typeface="Arial" panose="020B0604020202020204" pitchFamily="34" charset="0"/>
              <a:buChar char="•"/>
            </a:pPr>
            <a:r>
              <a:rPr lang="fr-FR" sz="900" dirty="0"/>
              <a:t>RCPRO (attestation Responsabilité civile Pro)</a:t>
            </a:r>
          </a:p>
          <a:p>
            <a:pPr marL="351450" lvl="2" indent="-171450">
              <a:buClrTx/>
              <a:buFont typeface="Arial" panose="020B0604020202020204" pitchFamily="34" charset="0"/>
              <a:buChar char="•"/>
            </a:pPr>
            <a:r>
              <a:rPr lang="fr-FR" sz="900" dirty="0" err="1"/>
              <a:t>Certificate</a:t>
            </a:r>
            <a:r>
              <a:rPr lang="fr-FR" sz="900" dirty="0"/>
              <a:t> of incorporation (KBIS)</a:t>
            </a:r>
          </a:p>
          <a:p>
            <a:endParaRPr lang="fr-FR" sz="1000" dirty="0">
              <a:highlight>
                <a:srgbClr val="FFFF00"/>
              </a:highlight>
            </a:endParaRPr>
          </a:p>
          <a:p>
            <a:pPr marL="171450" indent="-171450">
              <a:buFont typeface="Arial" panose="020B0604020202020204" pitchFamily="34" charset="0"/>
              <a:buChar char="•"/>
            </a:pPr>
            <a:endParaRPr lang="fr-FR" sz="1000" dirty="0">
              <a:highlight>
                <a:srgbClr val="FFFF00"/>
              </a:highlight>
            </a:endParaRPr>
          </a:p>
          <a:p>
            <a:endParaRPr lang="fr-FR" sz="1000" dirty="0"/>
          </a:p>
          <a:p>
            <a:r>
              <a:rPr lang="fr-FR" sz="1000" dirty="0"/>
              <a:t>  </a:t>
            </a:r>
          </a:p>
        </p:txBody>
      </p:sp>
      <p:sp>
        <p:nvSpPr>
          <p:cNvPr id="4" name="Espace réservé du numéro de diapositive 3">
            <a:extLst>
              <a:ext uri="{FF2B5EF4-FFF2-40B4-BE49-F238E27FC236}">
                <a16:creationId xmlns:a16="http://schemas.microsoft.com/office/drawing/2014/main" id="{AB5EA3B7-63C2-4D0D-9A02-9DE883788432}"/>
              </a:ext>
            </a:extLst>
          </p:cNvPr>
          <p:cNvSpPr>
            <a:spLocks noGrp="1"/>
          </p:cNvSpPr>
          <p:nvPr>
            <p:ph type="sldNum" sz="quarter" idx="19"/>
          </p:nvPr>
        </p:nvSpPr>
        <p:spPr/>
        <p:txBody>
          <a:bodyPr/>
          <a:lstStyle/>
          <a:p>
            <a:fld id="{98BD2159-827C-4021-9B0E-DCD852BEB59E}" type="slidenum">
              <a:rPr lang="en-GB" smtClean="0"/>
              <a:pPr/>
              <a:t>24</a:t>
            </a:fld>
            <a:endParaRPr lang="en-GB" dirty="0"/>
          </a:p>
        </p:txBody>
      </p:sp>
    </p:spTree>
    <p:extLst>
      <p:ext uri="{BB962C8B-B14F-4D97-AF65-F5344CB8AC3E}">
        <p14:creationId xmlns:p14="http://schemas.microsoft.com/office/powerpoint/2010/main" val="24893808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608" y="173626"/>
            <a:ext cx="7997742" cy="438235"/>
          </a:xfrm>
        </p:spPr>
        <p:txBody>
          <a:bodyPr/>
          <a:lstStyle/>
          <a:p>
            <a:r>
              <a:rPr lang="fr-FR" sz="1600" dirty="0">
                <a:solidFill>
                  <a:schemeClr val="tx1"/>
                </a:solidFill>
              </a:rPr>
              <a:t>Distribution Channels </a:t>
            </a:r>
            <a:r>
              <a:rPr lang="fr-FR" sz="1600" dirty="0" err="1">
                <a:solidFill>
                  <a:schemeClr val="tx1"/>
                </a:solidFill>
              </a:rPr>
              <a:t>Overview</a:t>
            </a:r>
            <a:r>
              <a:rPr lang="fr-FR" sz="1600" dirty="0">
                <a:solidFill>
                  <a:schemeClr val="tx1"/>
                </a:solidFill>
              </a:rPr>
              <a:t> CACF France</a:t>
            </a:r>
            <a:br>
              <a:rPr lang="fr-FR" sz="1600" dirty="0">
                <a:solidFill>
                  <a:schemeClr val="tx1"/>
                </a:solidFill>
              </a:rPr>
            </a:br>
            <a:r>
              <a:rPr lang="fr-FR" sz="1600" dirty="0">
                <a:solidFill>
                  <a:schemeClr val="bg1">
                    <a:lumMod val="65000"/>
                  </a:schemeClr>
                </a:solidFill>
              </a:rPr>
              <a:t>Focus on Sofinco Brand</a:t>
            </a:r>
            <a:endParaRPr lang="en-US" sz="1600" strike="sngStrike" dirty="0">
              <a:solidFill>
                <a:schemeClr val="bg1">
                  <a:lumMod val="65000"/>
                </a:schemeClr>
              </a:solidFill>
            </a:endParaRPr>
          </a:p>
        </p:txBody>
      </p:sp>
      <p:sp>
        <p:nvSpPr>
          <p:cNvPr id="8" name="Slide Number Placeholder 3"/>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25</a:t>
            </a:fld>
            <a:endParaRPr lang="en-GB" sz="900" dirty="0">
              <a:solidFill>
                <a:prstClr val="white"/>
              </a:solidFill>
              <a:latin typeface="Avenir Next LT Pro"/>
            </a:endParaRPr>
          </a:p>
        </p:txBody>
      </p:sp>
      <p:sp>
        <p:nvSpPr>
          <p:cNvPr id="13" name="Rectangle 12"/>
          <p:cNvSpPr/>
          <p:nvPr/>
        </p:nvSpPr>
        <p:spPr>
          <a:xfrm>
            <a:off x="4768156" y="1065425"/>
            <a:ext cx="3598862" cy="148132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2425" marR="0" lvl="0" indent="-171450" algn="l" defTabSz="457200" rtl="0" eaLnBrk="1" fontAlgn="auto" latinLnBrk="0" hangingPunct="1">
              <a:lnSpc>
                <a:spcPct val="100000"/>
              </a:lnSpc>
              <a:spcBef>
                <a:spcPts val="300"/>
              </a:spcBef>
              <a:spcAft>
                <a:spcPts val="300"/>
              </a:spcAft>
              <a:buClr>
                <a:srgbClr val="45735A">
                  <a:lumMod val="75000"/>
                </a:srgbClr>
              </a:buClr>
              <a:buSzPct val="110000"/>
              <a:buFont typeface="Wingdings" panose="05000000000000000000" pitchFamily="2" charset="2"/>
              <a:buChar char="Ø"/>
              <a:tabLst/>
              <a:defRPr/>
            </a:pPr>
            <a:r>
              <a:rPr kumimoji="0" lang="en-GB" sz="1100" b="0" i="0" u="none" strike="noStrike" kern="1200" cap="none" spc="0" normalizeH="0" baseline="0" noProof="0" dirty="0">
                <a:ln>
                  <a:noFill/>
                </a:ln>
                <a:solidFill>
                  <a:prstClr val="black"/>
                </a:solidFill>
                <a:effectLst/>
                <a:uLnTx/>
                <a:uFillTx/>
                <a:latin typeface="Arial"/>
                <a:ea typeface="+mn-ea"/>
                <a:cs typeface="ＭＳ Ｐゴシック"/>
              </a:rPr>
              <a:t>Home improvement and home equipment specialised retailers </a:t>
            </a:r>
            <a:endParaRPr lang="en-GB" sz="1100" dirty="0">
              <a:solidFill>
                <a:prstClr val="black"/>
              </a:solidFill>
              <a:latin typeface="Arial"/>
              <a:cs typeface="ＭＳ Ｐゴシック"/>
            </a:endParaRPr>
          </a:p>
          <a:p>
            <a:pPr marL="452438" marR="0" lvl="0" indent="-271463" algn="l" defTabSz="457200" rtl="0" eaLnBrk="1" fontAlgn="auto" latinLnBrk="0" hangingPunct="1">
              <a:lnSpc>
                <a:spcPct val="100000"/>
              </a:lnSpc>
              <a:spcBef>
                <a:spcPts val="300"/>
              </a:spcBef>
              <a:spcAft>
                <a:spcPts val="300"/>
              </a:spcAft>
              <a:buClr>
                <a:srgbClr val="45735A">
                  <a:lumMod val="75000"/>
                </a:srgbClr>
              </a:buClr>
              <a:buSzPct val="110000"/>
              <a:buFont typeface="Wingdings" panose="05000000000000000000" pitchFamily="2" charset="2"/>
              <a:buChar char="Ø"/>
              <a:tabLst/>
              <a:defRPr/>
            </a:pPr>
            <a:r>
              <a:rPr kumimoji="0" lang="en-GB" sz="1100" b="0" i="0" u="none" strike="noStrike" kern="1200" cap="none" spc="0" normalizeH="0" baseline="0" noProof="0" dirty="0">
                <a:ln>
                  <a:noFill/>
                </a:ln>
                <a:solidFill>
                  <a:prstClr val="black"/>
                </a:solidFill>
                <a:effectLst/>
                <a:uLnTx/>
                <a:uFillTx/>
                <a:latin typeface="Arial"/>
                <a:ea typeface="+mn-ea"/>
                <a:cs typeface="ＭＳ Ｐゴシック"/>
              </a:rPr>
              <a:t>Vehicle distributors and dealers – auto, motorcycles, recreational vehicles, boats</a:t>
            </a:r>
            <a:endParaRPr lang="en-GB" sz="1100" dirty="0">
              <a:solidFill>
                <a:schemeClr val="tx1"/>
              </a:solidFill>
              <a:cs typeface="ＭＳ Ｐゴシック"/>
            </a:endParaRPr>
          </a:p>
        </p:txBody>
      </p:sp>
      <p:grpSp>
        <p:nvGrpSpPr>
          <p:cNvPr id="15" name="Group 2"/>
          <p:cNvGrpSpPr/>
          <p:nvPr/>
        </p:nvGrpSpPr>
        <p:grpSpPr>
          <a:xfrm>
            <a:off x="780253" y="816365"/>
            <a:ext cx="3598862" cy="1725435"/>
            <a:chOff x="1173163" y="1487665"/>
            <a:chExt cx="3598862" cy="1725435"/>
          </a:xfrm>
        </p:grpSpPr>
        <p:sp>
          <p:nvSpPr>
            <p:cNvPr id="16" name="Rectangle 15"/>
            <p:cNvSpPr/>
            <p:nvPr/>
          </p:nvSpPr>
          <p:spPr>
            <a:xfrm>
              <a:off x="1173163" y="1736725"/>
              <a:ext cx="3598862" cy="147637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61950" indent="-271463">
                <a:lnSpc>
                  <a:spcPct val="150000"/>
                </a:lnSpc>
                <a:buSzPct val="110000"/>
                <a:buFont typeface="Wingdings" panose="05000000000000000000" pitchFamily="2" charset="2"/>
                <a:buChar char="Ø"/>
                <a:defRPr/>
              </a:pPr>
              <a:r>
                <a:rPr lang="en-GB" sz="1100" dirty="0">
                  <a:solidFill>
                    <a:schemeClr val="tx1"/>
                  </a:solidFill>
                  <a:latin typeface="Arial" panose="020B0604020202020204" pitchFamily="34" charset="0"/>
                  <a:cs typeface="Arial" panose="020B0604020202020204" pitchFamily="34" charset="0"/>
                </a:rPr>
                <a:t>Branch network</a:t>
              </a:r>
            </a:p>
            <a:p>
              <a:pPr marL="361950" indent="-271463">
                <a:lnSpc>
                  <a:spcPct val="150000"/>
                </a:lnSpc>
                <a:buSzPct val="110000"/>
                <a:buFont typeface="Wingdings" panose="05000000000000000000" pitchFamily="2" charset="2"/>
                <a:buChar char="Ø"/>
                <a:defRPr/>
              </a:pPr>
              <a:r>
                <a:rPr lang="en-GB" sz="1100" dirty="0">
                  <a:solidFill>
                    <a:schemeClr val="tx1"/>
                  </a:solidFill>
                  <a:latin typeface="Arial" panose="020B0604020202020204" pitchFamily="34" charset="0"/>
                  <a:cs typeface="Arial" panose="020B0604020202020204" pitchFamily="34" charset="0"/>
                </a:rPr>
                <a:t>Website</a:t>
              </a:r>
            </a:p>
            <a:p>
              <a:pPr marL="361950" indent="-271463">
                <a:lnSpc>
                  <a:spcPct val="150000"/>
                </a:lnSpc>
                <a:buSzPct val="110000"/>
                <a:buFont typeface="Wingdings" panose="05000000000000000000" pitchFamily="2" charset="2"/>
                <a:buChar char="Ø"/>
                <a:defRPr/>
              </a:pPr>
              <a:r>
                <a:rPr lang="en-GB" sz="1100" dirty="0">
                  <a:solidFill>
                    <a:schemeClr val="tx1"/>
                  </a:solidFill>
                  <a:latin typeface="Arial" panose="020B0604020202020204" pitchFamily="34" charset="0"/>
                  <a:cs typeface="Arial" panose="020B0604020202020204" pitchFamily="34" charset="0"/>
                </a:rPr>
                <a:t>Call </a:t>
              </a:r>
              <a:r>
                <a:rPr lang="en-GB" sz="1100" dirty="0" err="1">
                  <a:solidFill>
                    <a:schemeClr val="tx1"/>
                  </a:solidFill>
                  <a:latin typeface="Arial" panose="020B0604020202020204" pitchFamily="34" charset="0"/>
                  <a:cs typeface="Arial" panose="020B0604020202020204" pitchFamily="34" charset="0"/>
                </a:rPr>
                <a:t>centers</a:t>
              </a:r>
              <a:r>
                <a:rPr lang="en-GB" sz="1100" dirty="0">
                  <a:solidFill>
                    <a:schemeClr val="tx1"/>
                  </a:solidFill>
                  <a:latin typeface="Arial" panose="020B0604020202020204" pitchFamily="34" charset="0"/>
                  <a:cs typeface="Arial" panose="020B0604020202020204" pitchFamily="34" charset="0"/>
                </a:rPr>
                <a:t> </a:t>
              </a:r>
            </a:p>
            <a:p>
              <a:pPr marL="361950" indent="-271463">
                <a:lnSpc>
                  <a:spcPct val="150000"/>
                </a:lnSpc>
                <a:buSzPct val="110000"/>
                <a:buFont typeface="Wingdings" panose="05000000000000000000" pitchFamily="2" charset="2"/>
                <a:buChar char="Ø"/>
                <a:defRPr/>
              </a:pPr>
              <a:r>
                <a:rPr lang="en-GB" sz="1100" dirty="0">
                  <a:solidFill>
                    <a:schemeClr val="tx1"/>
                  </a:solidFill>
                  <a:latin typeface="Arial" panose="020B0604020202020204" pitchFamily="34" charset="0"/>
                  <a:cs typeface="Arial" panose="020B0604020202020204" pitchFamily="34" charset="0"/>
                </a:rPr>
                <a:t>Direct Marketing </a:t>
              </a:r>
            </a:p>
          </p:txBody>
        </p:sp>
        <p:sp>
          <p:nvSpPr>
            <p:cNvPr id="17" name="Rectangle 10"/>
            <p:cNvSpPr>
              <a:spLocks noChangeArrowheads="1"/>
            </p:cNvSpPr>
            <p:nvPr/>
          </p:nvSpPr>
          <p:spPr bwMode="gray">
            <a:xfrm>
              <a:off x="1173744" y="1487665"/>
              <a:ext cx="3598281" cy="256032"/>
            </a:xfrm>
            <a:prstGeom prst="rect">
              <a:avLst/>
            </a:prstGeom>
            <a:solidFill>
              <a:srgbClr val="92D050"/>
            </a:solidFill>
            <a:ln w="12700">
              <a:solidFill>
                <a:schemeClr val="tx1"/>
              </a:solidFill>
              <a:miter lim="800000"/>
              <a:headEnd/>
              <a:tailEnd/>
            </a:ln>
          </p:spPr>
          <p:txBody>
            <a:bodyPr anchor="ctr"/>
            <a:lstStyle/>
            <a:p>
              <a:pPr algn="ctr" eaLnBrk="0" hangingPunct="0"/>
              <a:r>
                <a:rPr lang="fr-FR" altLang="fr-FR" sz="1100" b="1" dirty="0">
                  <a:solidFill>
                    <a:schemeClr val="bg1"/>
                  </a:solidFill>
                  <a:latin typeface="Arial" pitchFamily="34" charset="0"/>
                  <a:ea typeface="MS PGothic" pitchFamily="34" charset="-128"/>
                  <a:cs typeface="Arial" pitchFamily="34" charset="0"/>
                </a:rPr>
                <a:t>Direct to </a:t>
              </a:r>
              <a:r>
                <a:rPr lang="fr-FR" altLang="fr-FR" sz="1100" b="1" dirty="0" err="1">
                  <a:solidFill>
                    <a:schemeClr val="bg1"/>
                  </a:solidFill>
                  <a:latin typeface="Arial" pitchFamily="34" charset="0"/>
                  <a:ea typeface="MS PGothic" pitchFamily="34" charset="-128"/>
                  <a:cs typeface="Arial" pitchFamily="34" charset="0"/>
                </a:rPr>
                <a:t>Consumers</a:t>
              </a:r>
              <a:r>
                <a:rPr lang="fr-FR" altLang="fr-FR" sz="1100" b="1" dirty="0">
                  <a:solidFill>
                    <a:schemeClr val="bg1"/>
                  </a:solidFill>
                  <a:latin typeface="Arial" pitchFamily="34" charset="0"/>
                  <a:ea typeface="MS PGothic" pitchFamily="34" charset="-128"/>
                  <a:cs typeface="Arial" pitchFamily="34" charset="0"/>
                </a:rPr>
                <a:t> « Sofinco brand »</a:t>
              </a:r>
            </a:p>
          </p:txBody>
        </p:sp>
      </p:grpSp>
      <p:sp>
        <p:nvSpPr>
          <p:cNvPr id="18" name="Rectangle 17"/>
          <p:cNvSpPr>
            <a:spLocks noChangeArrowheads="1"/>
          </p:cNvSpPr>
          <p:nvPr/>
        </p:nvSpPr>
        <p:spPr bwMode="gray">
          <a:xfrm>
            <a:off x="4768156" y="809393"/>
            <a:ext cx="3598862" cy="256032"/>
          </a:xfrm>
          <a:prstGeom prst="rect">
            <a:avLst/>
          </a:prstGeom>
          <a:solidFill>
            <a:schemeClr val="accent5"/>
          </a:solidFill>
          <a:ln w="12700">
            <a:solidFill>
              <a:schemeClr val="tx1"/>
            </a:solidFill>
            <a:miter lim="800000"/>
            <a:headEnd/>
            <a:tailEnd/>
          </a:ln>
        </p:spPr>
        <p:txBody>
          <a:bodyPr anchor="ctr"/>
          <a:lstStyle/>
          <a:p>
            <a:pPr algn="ctr" eaLnBrk="0" hangingPunct="0"/>
            <a:r>
              <a:rPr lang="fr-FR" altLang="fr-FR" sz="1100" b="1" dirty="0">
                <a:solidFill>
                  <a:srgbClr val="FFFFFF"/>
                </a:solidFill>
                <a:latin typeface="Arial" pitchFamily="34" charset="0"/>
                <a:ea typeface="MS PGothic" pitchFamily="34" charset="-128"/>
                <a:cs typeface="Arial" pitchFamily="34" charset="0"/>
              </a:rPr>
              <a:t>Points of Sale*</a:t>
            </a:r>
          </a:p>
        </p:txBody>
      </p:sp>
      <p:grpSp>
        <p:nvGrpSpPr>
          <p:cNvPr id="19" name="Group 16"/>
          <p:cNvGrpSpPr/>
          <p:nvPr/>
        </p:nvGrpSpPr>
        <p:grpSpPr>
          <a:xfrm>
            <a:off x="4768156" y="2975113"/>
            <a:ext cx="1877805" cy="1798623"/>
            <a:chOff x="1173164" y="1480780"/>
            <a:chExt cx="2533123" cy="1732320"/>
          </a:xfrm>
        </p:grpSpPr>
        <p:sp>
          <p:nvSpPr>
            <p:cNvPr id="20" name="Rectangle 19"/>
            <p:cNvSpPr/>
            <p:nvPr/>
          </p:nvSpPr>
          <p:spPr>
            <a:xfrm>
              <a:off x="1173164" y="1736725"/>
              <a:ext cx="2533121" cy="147637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52438" indent="-271463">
                <a:spcBef>
                  <a:spcPts val="300"/>
                </a:spcBef>
                <a:spcAft>
                  <a:spcPts val="300"/>
                </a:spcAft>
                <a:buClr>
                  <a:schemeClr val="accent5">
                    <a:lumMod val="75000"/>
                  </a:schemeClr>
                </a:buClr>
                <a:buSzPct val="110000"/>
                <a:buFont typeface="Wingdings" panose="05000000000000000000" pitchFamily="2" charset="2"/>
                <a:buChar char="Ø"/>
                <a:defRPr/>
              </a:pPr>
              <a:r>
                <a:rPr lang="en-GB" sz="900" dirty="0">
                  <a:solidFill>
                    <a:schemeClr val="tx1"/>
                  </a:solidFill>
                  <a:cs typeface="ＭＳ Ｐゴシック"/>
                </a:rPr>
                <a:t>Financial institutions (banks and insurance companies) </a:t>
              </a:r>
            </a:p>
            <a:p>
              <a:pPr marL="452438" indent="-271463">
                <a:spcBef>
                  <a:spcPts val="300"/>
                </a:spcBef>
                <a:spcAft>
                  <a:spcPts val="300"/>
                </a:spcAft>
                <a:buClr>
                  <a:schemeClr val="accent5">
                    <a:lumMod val="75000"/>
                  </a:schemeClr>
                </a:buClr>
                <a:buSzPct val="110000"/>
                <a:buFont typeface="Wingdings" panose="05000000000000000000" pitchFamily="2" charset="2"/>
                <a:buChar char="Ø"/>
                <a:defRPr/>
              </a:pPr>
              <a:r>
                <a:rPr lang="en-GB" sz="900" dirty="0">
                  <a:solidFill>
                    <a:schemeClr val="tx1"/>
                  </a:solidFill>
                  <a:cs typeface="ＭＳ Ｐゴシック"/>
                </a:rPr>
                <a:t>Large Retailers (generalist and specialised)</a:t>
              </a:r>
            </a:p>
            <a:p>
              <a:pPr marL="452438" indent="-271463">
                <a:spcBef>
                  <a:spcPts val="300"/>
                </a:spcBef>
                <a:spcAft>
                  <a:spcPts val="300"/>
                </a:spcAft>
                <a:buClr>
                  <a:schemeClr val="accent5">
                    <a:lumMod val="75000"/>
                  </a:schemeClr>
                </a:buClr>
                <a:buSzPct val="110000"/>
                <a:buFont typeface="Wingdings" panose="05000000000000000000" pitchFamily="2" charset="2"/>
                <a:buChar char="Ø"/>
                <a:defRPr/>
              </a:pPr>
              <a:r>
                <a:rPr lang="en-GB" sz="900" dirty="0">
                  <a:solidFill>
                    <a:schemeClr val="tx1"/>
                  </a:solidFill>
                  <a:cs typeface="ＭＳ Ｐゴシック"/>
                </a:rPr>
                <a:t>Auto manufacturers and dealers</a:t>
              </a:r>
            </a:p>
          </p:txBody>
        </p:sp>
        <p:sp>
          <p:nvSpPr>
            <p:cNvPr id="21" name="Rectangle 10"/>
            <p:cNvSpPr>
              <a:spLocks noChangeArrowheads="1"/>
            </p:cNvSpPr>
            <p:nvPr/>
          </p:nvSpPr>
          <p:spPr bwMode="gray">
            <a:xfrm>
              <a:off x="1173164" y="1480780"/>
              <a:ext cx="2533123" cy="256032"/>
            </a:xfrm>
            <a:prstGeom prst="rect">
              <a:avLst/>
            </a:prstGeom>
            <a:solidFill>
              <a:schemeClr val="accent5"/>
            </a:solidFill>
            <a:ln w="12700">
              <a:solidFill>
                <a:schemeClr val="tx1"/>
              </a:solidFill>
              <a:miter lim="800000"/>
              <a:headEnd/>
              <a:tailEnd/>
            </a:ln>
          </p:spPr>
          <p:txBody>
            <a:bodyPr anchor="ctr"/>
            <a:lstStyle/>
            <a:p>
              <a:pPr algn="ctr" eaLnBrk="0" hangingPunct="0"/>
              <a:r>
                <a:rPr lang="fr-FR" altLang="fr-FR" sz="1100" b="1" dirty="0">
                  <a:solidFill>
                    <a:srgbClr val="FFFFFF"/>
                  </a:solidFill>
                  <a:latin typeface="Arial" pitchFamily="34" charset="0"/>
                  <a:ea typeface="MS PGothic" pitchFamily="34" charset="-128"/>
                  <a:cs typeface="Arial" pitchFamily="34" charset="0"/>
                </a:rPr>
                <a:t>White-Labelling*</a:t>
              </a:r>
            </a:p>
          </p:txBody>
        </p:sp>
      </p:grpSp>
      <p:grpSp>
        <p:nvGrpSpPr>
          <p:cNvPr id="22" name="Group 19"/>
          <p:cNvGrpSpPr/>
          <p:nvPr/>
        </p:nvGrpSpPr>
        <p:grpSpPr>
          <a:xfrm>
            <a:off x="6637545" y="2975069"/>
            <a:ext cx="1803082" cy="1798670"/>
            <a:chOff x="-456646" y="1480736"/>
            <a:chExt cx="5024337" cy="1732364"/>
          </a:xfrm>
        </p:grpSpPr>
        <p:sp>
          <p:nvSpPr>
            <p:cNvPr id="23" name="Rectangle 22"/>
            <p:cNvSpPr/>
            <p:nvPr/>
          </p:nvSpPr>
          <p:spPr>
            <a:xfrm>
              <a:off x="-456646" y="1736725"/>
              <a:ext cx="5024337" cy="147637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52438" indent="-271463">
                <a:spcBef>
                  <a:spcPts val="300"/>
                </a:spcBef>
                <a:spcAft>
                  <a:spcPts val="300"/>
                </a:spcAft>
                <a:buClr>
                  <a:schemeClr val="accent5">
                    <a:lumMod val="75000"/>
                  </a:schemeClr>
                </a:buClr>
                <a:buSzPct val="110000"/>
                <a:buFont typeface="Wingdings" panose="05000000000000000000" pitchFamily="2" charset="2"/>
                <a:buChar char="Ø"/>
                <a:defRPr/>
              </a:pPr>
              <a:r>
                <a:rPr lang="en-US" sz="1000" dirty="0">
                  <a:solidFill>
                    <a:schemeClr val="tx1"/>
                  </a:solidFill>
                  <a:cs typeface="ＭＳ Ｐゴシック"/>
                </a:rPr>
                <a:t>Mutual retail banking network of </a:t>
              </a:r>
              <a:r>
                <a:rPr lang="en-US" sz="1000" dirty="0" err="1">
                  <a:solidFill>
                    <a:schemeClr val="tx1"/>
                  </a:solidFill>
                  <a:cs typeface="ＭＳ Ｐゴシック"/>
                </a:rPr>
                <a:t>Crédit</a:t>
              </a:r>
              <a:r>
                <a:rPr lang="en-US" sz="1000" dirty="0">
                  <a:solidFill>
                    <a:schemeClr val="tx1"/>
                  </a:solidFill>
                  <a:cs typeface="ＭＳ Ｐゴシック"/>
                </a:rPr>
                <a:t> </a:t>
              </a:r>
              <a:r>
                <a:rPr lang="en-US" sz="1000" dirty="0" err="1">
                  <a:solidFill>
                    <a:schemeClr val="tx1"/>
                  </a:solidFill>
                  <a:cs typeface="ＭＳ Ｐゴシック"/>
                </a:rPr>
                <a:t>Agricole</a:t>
              </a:r>
              <a:r>
                <a:rPr lang="en-US" sz="1000" dirty="0">
                  <a:solidFill>
                    <a:schemeClr val="tx1"/>
                  </a:solidFill>
                  <a:cs typeface="ＭＳ Ｐゴシック"/>
                </a:rPr>
                <a:t> </a:t>
              </a:r>
            </a:p>
            <a:p>
              <a:pPr marL="180975">
                <a:spcBef>
                  <a:spcPts val="300"/>
                </a:spcBef>
                <a:spcAft>
                  <a:spcPts val="300"/>
                </a:spcAft>
                <a:buClr>
                  <a:schemeClr val="accent5">
                    <a:lumMod val="75000"/>
                  </a:schemeClr>
                </a:buClr>
                <a:buSzPct val="110000"/>
                <a:defRPr/>
              </a:pPr>
              <a:endParaRPr lang="en-US" sz="1100" dirty="0">
                <a:solidFill>
                  <a:schemeClr val="tx1"/>
                </a:solidFill>
                <a:cs typeface="ＭＳ Ｐゴシック"/>
              </a:endParaRPr>
            </a:p>
          </p:txBody>
        </p:sp>
        <p:sp>
          <p:nvSpPr>
            <p:cNvPr id="24" name="Rectangle 10"/>
            <p:cNvSpPr>
              <a:spLocks noChangeArrowheads="1"/>
            </p:cNvSpPr>
            <p:nvPr/>
          </p:nvSpPr>
          <p:spPr bwMode="gray">
            <a:xfrm>
              <a:off x="-433198" y="1480736"/>
              <a:ext cx="5000886" cy="256032"/>
            </a:xfrm>
            <a:prstGeom prst="rect">
              <a:avLst/>
            </a:prstGeom>
            <a:solidFill>
              <a:schemeClr val="accent5"/>
            </a:solidFill>
            <a:ln w="12700">
              <a:solidFill>
                <a:schemeClr val="tx1"/>
              </a:solidFill>
              <a:miter lim="800000"/>
              <a:headEnd/>
              <a:tailEnd/>
            </a:ln>
          </p:spPr>
          <p:txBody>
            <a:bodyPr anchor="ctr"/>
            <a:lstStyle/>
            <a:p>
              <a:pPr algn="ctr" eaLnBrk="0" hangingPunct="0"/>
              <a:r>
                <a:rPr lang="fr-FR" altLang="fr-FR" sz="900" b="1" dirty="0">
                  <a:solidFill>
                    <a:srgbClr val="FFFFFF"/>
                  </a:solidFill>
                  <a:latin typeface="Arial" pitchFamily="34" charset="0"/>
                  <a:ea typeface="MS PGothic" pitchFamily="34" charset="-128"/>
                  <a:cs typeface="Arial" pitchFamily="34" charset="0"/>
                </a:rPr>
                <a:t>Crédit Agricole </a:t>
              </a:r>
              <a:r>
                <a:rPr lang="fr-FR" altLang="fr-FR" sz="900" b="1" dirty="0" err="1">
                  <a:solidFill>
                    <a:srgbClr val="FFFFFF"/>
                  </a:solidFill>
                  <a:latin typeface="Arial" pitchFamily="34" charset="0"/>
                  <a:ea typeface="MS PGothic" pitchFamily="34" charset="-128"/>
                  <a:cs typeface="Arial" pitchFamily="34" charset="0"/>
                </a:rPr>
                <a:t>Retail</a:t>
              </a:r>
              <a:r>
                <a:rPr lang="fr-FR" altLang="fr-FR" sz="900" b="1" dirty="0">
                  <a:solidFill>
                    <a:srgbClr val="FFFFFF"/>
                  </a:solidFill>
                  <a:latin typeface="Arial" pitchFamily="34" charset="0"/>
                  <a:ea typeface="MS PGothic" pitchFamily="34" charset="-128"/>
                  <a:cs typeface="Arial" pitchFamily="34" charset="0"/>
                </a:rPr>
                <a:t> Network*</a:t>
              </a:r>
            </a:p>
          </p:txBody>
        </p:sp>
      </p:grpSp>
      <p:cxnSp>
        <p:nvCxnSpPr>
          <p:cNvPr id="25" name="Straight Connector 4"/>
          <p:cNvCxnSpPr/>
          <p:nvPr/>
        </p:nvCxnSpPr>
        <p:spPr>
          <a:xfrm>
            <a:off x="4548767" y="809393"/>
            <a:ext cx="0" cy="3964345"/>
          </a:xfrm>
          <a:prstGeom prst="line">
            <a:avLst/>
          </a:prstGeom>
          <a:ln/>
        </p:spPr>
        <p:style>
          <a:lnRef idx="1">
            <a:schemeClr val="dk1"/>
          </a:lnRef>
          <a:fillRef idx="0">
            <a:schemeClr val="dk1"/>
          </a:fillRef>
          <a:effectRef idx="0">
            <a:schemeClr val="dk1"/>
          </a:effectRef>
          <a:fontRef idx="minor">
            <a:schemeClr val="tx1"/>
          </a:fontRef>
        </p:style>
      </p:cxnSp>
      <p:cxnSp>
        <p:nvCxnSpPr>
          <p:cNvPr id="26" name="Straight Connector 8"/>
          <p:cNvCxnSpPr/>
          <p:nvPr/>
        </p:nvCxnSpPr>
        <p:spPr>
          <a:xfrm>
            <a:off x="656908" y="2793617"/>
            <a:ext cx="7710110" cy="0"/>
          </a:xfrm>
          <a:prstGeom prst="line">
            <a:avLst/>
          </a:prstGeom>
          <a:ln/>
        </p:spPr>
        <p:style>
          <a:lnRef idx="1">
            <a:schemeClr val="dk1"/>
          </a:lnRef>
          <a:fillRef idx="0">
            <a:schemeClr val="dk1"/>
          </a:fillRef>
          <a:effectRef idx="0">
            <a:schemeClr val="dk1"/>
          </a:effectRef>
          <a:fontRef idx="minor">
            <a:schemeClr val="tx1"/>
          </a:fontRef>
        </p:style>
      </p:cxnSp>
      <p:sp>
        <p:nvSpPr>
          <p:cNvPr id="3" name="ZoneTexte 2">
            <a:extLst>
              <a:ext uri="{FF2B5EF4-FFF2-40B4-BE49-F238E27FC236}">
                <a16:creationId xmlns:a16="http://schemas.microsoft.com/office/drawing/2014/main" id="{70637BFB-2EBA-4D6D-8494-A9CE0D802773}"/>
              </a:ext>
            </a:extLst>
          </p:cNvPr>
          <p:cNvSpPr txBox="1"/>
          <p:nvPr/>
        </p:nvSpPr>
        <p:spPr>
          <a:xfrm>
            <a:off x="656908" y="4890241"/>
            <a:ext cx="2149888" cy="215444"/>
          </a:xfrm>
          <a:prstGeom prst="rect">
            <a:avLst/>
          </a:prstGeom>
          <a:noFill/>
        </p:spPr>
        <p:txBody>
          <a:bodyPr wrap="square" rtlCol="0">
            <a:spAutoFit/>
          </a:bodyPr>
          <a:lstStyle/>
          <a:p>
            <a:r>
              <a:rPr lang="fr-FR" sz="800" i="1" dirty="0"/>
              <a:t>* Out of scope</a:t>
            </a:r>
          </a:p>
        </p:txBody>
      </p:sp>
      <p:grpSp>
        <p:nvGrpSpPr>
          <p:cNvPr id="27" name="Group 2">
            <a:extLst>
              <a:ext uri="{FF2B5EF4-FFF2-40B4-BE49-F238E27FC236}">
                <a16:creationId xmlns:a16="http://schemas.microsoft.com/office/drawing/2014/main" id="{A91B6338-82EB-42D6-A6C0-908022A581AF}"/>
              </a:ext>
            </a:extLst>
          </p:cNvPr>
          <p:cNvGrpSpPr/>
          <p:nvPr/>
        </p:nvGrpSpPr>
        <p:grpSpPr>
          <a:xfrm>
            <a:off x="773130" y="2975113"/>
            <a:ext cx="3602133" cy="1732407"/>
            <a:chOff x="1169892" y="1480693"/>
            <a:chExt cx="3602133" cy="1732407"/>
          </a:xfrm>
        </p:grpSpPr>
        <p:sp>
          <p:nvSpPr>
            <p:cNvPr id="28" name="Rectangle 27">
              <a:extLst>
                <a:ext uri="{FF2B5EF4-FFF2-40B4-BE49-F238E27FC236}">
                  <a16:creationId xmlns:a16="http://schemas.microsoft.com/office/drawing/2014/main" id="{A7FF5C12-FAED-42A4-B644-8E50ACB9C0C4}"/>
                </a:ext>
              </a:extLst>
            </p:cNvPr>
            <p:cNvSpPr/>
            <p:nvPr/>
          </p:nvSpPr>
          <p:spPr>
            <a:xfrm>
              <a:off x="1173163" y="1736725"/>
              <a:ext cx="3598862" cy="147637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61950" indent="-271463">
                <a:lnSpc>
                  <a:spcPct val="150000"/>
                </a:lnSpc>
                <a:buSzPct val="110000"/>
                <a:buFont typeface="Wingdings" panose="05000000000000000000" pitchFamily="2" charset="2"/>
                <a:buChar char="Ø"/>
                <a:defRPr/>
              </a:pPr>
              <a:r>
                <a:rPr lang="en-GB" sz="1100" u="sng" dirty="0">
                  <a:solidFill>
                    <a:schemeClr val="tx1"/>
                  </a:solidFill>
                  <a:cs typeface="ＭＳ Ｐゴシック"/>
                </a:rPr>
                <a:t>Credit Intermediaries </a:t>
              </a:r>
              <a:r>
                <a:rPr lang="en-GB" sz="1100" b="1" u="sng" kern="0" dirty="0">
                  <a:solidFill>
                    <a:prstClr val="black"/>
                  </a:solidFill>
                  <a:cs typeface="ＭＳ Ｐゴシック"/>
                </a:rPr>
                <a:t>(</a:t>
              </a:r>
              <a:r>
                <a:rPr lang="en-GB" sz="1100" b="1" u="sng" kern="0" dirty="0" err="1">
                  <a:solidFill>
                    <a:prstClr val="black"/>
                  </a:solidFill>
                  <a:cs typeface="ＭＳ Ｐゴシック"/>
                </a:rPr>
                <a:t>CreditLift</a:t>
              </a:r>
              <a:r>
                <a:rPr lang="en-GB" sz="1100" b="1" u="sng" kern="0" dirty="0">
                  <a:solidFill>
                    <a:prstClr val="black"/>
                  </a:solidFill>
                  <a:cs typeface="ＭＳ Ｐゴシック"/>
                </a:rPr>
                <a:t> </a:t>
              </a:r>
              <a:r>
                <a:rPr lang="en-GB" sz="1100" b="1" u="sng" kern="0" dirty="0" err="1">
                  <a:solidFill>
                    <a:prstClr val="black"/>
                  </a:solidFill>
                  <a:cs typeface="ＭＳ Ｐゴシック"/>
                </a:rPr>
                <a:t>Courtage</a:t>
              </a:r>
              <a:r>
                <a:rPr lang="en-GB" sz="1100" b="1" u="sng" kern="0" dirty="0">
                  <a:solidFill>
                    <a:prstClr val="black"/>
                  </a:solidFill>
                  <a:cs typeface="ＭＳ Ｐゴシック"/>
                </a:rPr>
                <a:t> brand)</a:t>
              </a:r>
            </a:p>
            <a:p>
              <a:pPr marL="361950" indent="-271463">
                <a:lnSpc>
                  <a:spcPct val="150000"/>
                </a:lnSpc>
                <a:buSzPct val="110000"/>
                <a:buFont typeface="Wingdings" panose="05000000000000000000" pitchFamily="2" charset="2"/>
                <a:buChar char="Ø"/>
                <a:defRPr/>
              </a:pPr>
              <a:endParaRPr lang="en-GB" sz="1100" dirty="0">
                <a:solidFill>
                  <a:schemeClr val="tx1"/>
                </a:solidFill>
                <a:latin typeface="Arial" panose="020B0604020202020204" pitchFamily="34" charset="0"/>
                <a:cs typeface="Arial" panose="020B0604020202020204" pitchFamily="34" charset="0"/>
              </a:endParaRPr>
            </a:p>
          </p:txBody>
        </p:sp>
        <p:sp>
          <p:nvSpPr>
            <p:cNvPr id="29" name="Rectangle 10">
              <a:extLst>
                <a:ext uri="{FF2B5EF4-FFF2-40B4-BE49-F238E27FC236}">
                  <a16:creationId xmlns:a16="http://schemas.microsoft.com/office/drawing/2014/main" id="{2DF0AFC0-6D7B-4293-90ED-7E8F8E9753EE}"/>
                </a:ext>
              </a:extLst>
            </p:cNvPr>
            <p:cNvSpPr>
              <a:spLocks noChangeArrowheads="1"/>
            </p:cNvSpPr>
            <p:nvPr/>
          </p:nvSpPr>
          <p:spPr bwMode="gray">
            <a:xfrm>
              <a:off x="1169892" y="1480693"/>
              <a:ext cx="3598281" cy="256032"/>
            </a:xfrm>
            <a:prstGeom prst="rect">
              <a:avLst/>
            </a:prstGeom>
            <a:solidFill>
              <a:schemeClr val="accent5"/>
            </a:solidFill>
            <a:ln w="12700">
              <a:solidFill>
                <a:schemeClr val="tx1"/>
              </a:solidFill>
              <a:miter lim="800000"/>
              <a:headEnd/>
              <a:tailEnd/>
            </a:ln>
          </p:spPr>
          <p:txBody>
            <a:bodyPr anchor="ctr"/>
            <a:lstStyle/>
            <a:p>
              <a:pPr algn="ctr" eaLnBrk="0" hangingPunct="0"/>
              <a:r>
                <a:rPr lang="fr-FR" altLang="fr-FR" sz="1100" b="1" dirty="0" err="1">
                  <a:solidFill>
                    <a:schemeClr val="bg1"/>
                  </a:solidFill>
                  <a:latin typeface="Arial" pitchFamily="34" charset="0"/>
                  <a:ea typeface="MS PGothic" pitchFamily="34" charset="-128"/>
                  <a:cs typeface="Arial" pitchFamily="34" charset="0"/>
                </a:rPr>
                <a:t>Credit</a:t>
              </a:r>
              <a:r>
                <a:rPr lang="fr-FR" altLang="fr-FR" sz="1100" b="1" dirty="0">
                  <a:solidFill>
                    <a:schemeClr val="bg1"/>
                  </a:solidFill>
                  <a:latin typeface="Arial" pitchFamily="34" charset="0"/>
                  <a:ea typeface="MS PGothic" pitchFamily="34" charset="-128"/>
                  <a:cs typeface="Arial" pitchFamily="34" charset="0"/>
                </a:rPr>
                <a:t> </a:t>
              </a:r>
              <a:r>
                <a:rPr lang="fr-FR" altLang="fr-FR" sz="1100" b="1" dirty="0" err="1">
                  <a:solidFill>
                    <a:schemeClr val="bg1"/>
                  </a:solidFill>
                  <a:latin typeface="Arial" pitchFamily="34" charset="0"/>
                  <a:ea typeface="MS PGothic" pitchFamily="34" charset="-128"/>
                  <a:cs typeface="Arial" pitchFamily="34" charset="0"/>
                </a:rPr>
                <a:t>Intermediaries</a:t>
              </a:r>
              <a:endParaRPr lang="fr-FR" altLang="fr-FR" sz="1100" b="1" dirty="0">
                <a:solidFill>
                  <a:schemeClr val="bg1"/>
                </a:solidFill>
                <a:latin typeface="Arial" pitchFamily="34" charset="0"/>
                <a:ea typeface="MS PGothic" pitchFamily="34" charset="-128"/>
                <a:cs typeface="Arial" pitchFamily="34" charset="0"/>
              </a:endParaRPr>
            </a:p>
          </p:txBody>
        </p:sp>
      </p:grpSp>
    </p:spTree>
    <p:extLst>
      <p:ext uri="{BB962C8B-B14F-4D97-AF65-F5344CB8AC3E}">
        <p14:creationId xmlns:p14="http://schemas.microsoft.com/office/powerpoint/2010/main" val="21159945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608" y="173626"/>
            <a:ext cx="7997742" cy="524464"/>
          </a:xfrm>
        </p:spPr>
        <p:txBody>
          <a:bodyPr/>
          <a:lstStyle/>
          <a:p>
            <a:r>
              <a:rPr lang="fr-FR" sz="2000" dirty="0">
                <a:solidFill>
                  <a:schemeClr val="tx1"/>
                </a:solidFill>
              </a:rPr>
              <a:t>Direct Channels – Direct to Consumer </a:t>
            </a:r>
            <a:br>
              <a:rPr lang="fr-FR" sz="2000" dirty="0">
                <a:solidFill>
                  <a:schemeClr val="tx1"/>
                </a:solidFill>
              </a:rPr>
            </a:br>
            <a:r>
              <a:rPr lang="fr-FR" sz="1600" dirty="0">
                <a:solidFill>
                  <a:schemeClr val="bg1">
                    <a:lumMod val="65000"/>
                  </a:schemeClr>
                </a:solidFill>
              </a:rPr>
              <a:t>Focus on Sofinco Brand</a:t>
            </a:r>
            <a:endParaRPr lang="en-US" sz="1600" dirty="0">
              <a:solidFill>
                <a:schemeClr val="bg1">
                  <a:lumMod val="65000"/>
                </a:schemeClr>
              </a:solidFill>
            </a:endParaRPr>
          </a:p>
        </p:txBody>
      </p:sp>
      <p:sp>
        <p:nvSpPr>
          <p:cNvPr id="5" name="Slide Number Placeholder 3"/>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26</a:t>
            </a:fld>
            <a:endParaRPr lang="en-GB" sz="900" dirty="0">
              <a:solidFill>
                <a:prstClr val="white"/>
              </a:solidFill>
              <a:latin typeface="Avenir Next LT Pro"/>
            </a:endParaRPr>
          </a:p>
        </p:txBody>
      </p:sp>
      <p:sp>
        <p:nvSpPr>
          <p:cNvPr id="6" name="Rectangle 2"/>
          <p:cNvSpPr txBox="1">
            <a:spLocks noChangeArrowheads="1"/>
          </p:cNvSpPr>
          <p:nvPr/>
        </p:nvSpPr>
        <p:spPr bwMode="gray">
          <a:xfrm>
            <a:off x="517608" y="729017"/>
            <a:ext cx="8070894" cy="4117803"/>
          </a:xfrm>
          <a:prstGeom prst="rect">
            <a:avLst/>
          </a:prstGeom>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2" indent="0" algn="just">
              <a:lnSpc>
                <a:spcPts val="1700"/>
              </a:lnSpc>
              <a:spcBef>
                <a:spcPts val="600"/>
              </a:spcBef>
              <a:buClr>
                <a:srgbClr val="006600"/>
              </a:buClr>
              <a:buSzPct val="120000"/>
              <a:buNone/>
            </a:pPr>
            <a:endParaRPr lang="en-GB" sz="1100" dirty="0">
              <a:solidFill>
                <a:schemeClr val="tx1"/>
              </a:solidFill>
              <a:ea typeface="ＭＳ Ｐゴシック"/>
            </a:endParaRPr>
          </a:p>
          <a:p>
            <a:pPr marL="3175" lvl="2" indent="0" algn="just">
              <a:lnSpc>
                <a:spcPts val="1700"/>
              </a:lnSpc>
              <a:spcBef>
                <a:spcPts val="600"/>
              </a:spcBef>
              <a:buClr>
                <a:srgbClr val="006600"/>
              </a:buClr>
              <a:buSzPct val="120000"/>
              <a:buNone/>
            </a:pPr>
            <a:r>
              <a:rPr lang="en-GB" sz="900" dirty="0">
                <a:solidFill>
                  <a:schemeClr val="tx1"/>
                </a:solidFill>
                <a:ea typeface="ＭＳ Ｐゴシック"/>
              </a:rPr>
              <a:t>CA-CF directly offers under the </a:t>
            </a:r>
            <a:r>
              <a:rPr lang="en-GB" sz="900" dirty="0" err="1">
                <a:solidFill>
                  <a:schemeClr val="tx1"/>
                </a:solidFill>
                <a:ea typeface="ＭＳ Ｐゴシック"/>
              </a:rPr>
              <a:t>Sofinco</a:t>
            </a:r>
            <a:r>
              <a:rPr lang="en-GB" sz="900" dirty="0">
                <a:solidFill>
                  <a:schemeClr val="tx1"/>
                </a:solidFill>
                <a:ea typeface="ＭＳ Ｐゴシック"/>
              </a:rPr>
              <a:t> brand a wide range of consumer credit products (including revolving card loans and amortising loans) and related services such as insurance via efficient and complementary distribution channels. Moreover, CACF also offers via </a:t>
            </a:r>
            <a:r>
              <a:rPr lang="en-GB" sz="900" dirty="0" err="1">
                <a:solidFill>
                  <a:schemeClr val="tx1"/>
                </a:solidFill>
                <a:ea typeface="ＭＳ Ｐゴシック"/>
              </a:rPr>
              <a:t>Sofinco</a:t>
            </a:r>
            <a:r>
              <a:rPr lang="en-GB" sz="900" dirty="0">
                <a:solidFill>
                  <a:schemeClr val="tx1"/>
                </a:solidFill>
                <a:ea typeface="ＭＳ Ｐゴシック"/>
              </a:rPr>
              <a:t> brand, debt consolidations products through his distribution channels :</a:t>
            </a:r>
          </a:p>
          <a:p>
            <a:pPr algn="just">
              <a:lnSpc>
                <a:spcPct val="90000"/>
              </a:lnSpc>
              <a:spcBef>
                <a:spcPct val="50000"/>
              </a:spcBef>
              <a:buSzPct val="120000"/>
              <a:buFont typeface="Wingdings" pitchFamily="2" charset="2"/>
              <a:buBlip>
                <a:blip r:embed="rId2"/>
              </a:buBlip>
            </a:pPr>
            <a:r>
              <a:rPr lang="en-GB" sz="900" dirty="0">
                <a:solidFill>
                  <a:schemeClr val="tx1"/>
                </a:solidFill>
                <a:ea typeface="ＭＳ Ｐゴシック"/>
              </a:rPr>
              <a:t>Branch network </a:t>
            </a:r>
          </a:p>
          <a:p>
            <a:pPr marL="803275" lvl="1" indent="-350838" algn="just">
              <a:lnSpc>
                <a:spcPct val="90000"/>
              </a:lnSpc>
              <a:spcBef>
                <a:spcPct val="30000"/>
              </a:spcBef>
              <a:buSzPct val="80000"/>
              <a:buFontTx/>
              <a:buBlip>
                <a:blip r:embed="rId2"/>
              </a:buBlip>
            </a:pPr>
            <a:r>
              <a:rPr lang="en-GB" sz="900" dirty="0">
                <a:ea typeface="ＭＳ Ｐゴシック"/>
              </a:rPr>
              <a:t>15 branches in the main cities of France under the </a:t>
            </a:r>
            <a:r>
              <a:rPr lang="en-GB" sz="900" dirty="0" err="1">
                <a:ea typeface="ＭＳ Ｐゴシック"/>
              </a:rPr>
              <a:t>Sofinco</a:t>
            </a:r>
            <a:r>
              <a:rPr lang="en-GB" sz="900" dirty="0">
                <a:ea typeface="ＭＳ Ｐゴシック"/>
              </a:rPr>
              <a:t> brand reporting to commercial managers located at CACF’s headquarters in Massy (near Paris)</a:t>
            </a:r>
          </a:p>
          <a:p>
            <a:pPr marL="803275" lvl="1" indent="-350838" algn="just">
              <a:lnSpc>
                <a:spcPct val="90000"/>
              </a:lnSpc>
              <a:spcBef>
                <a:spcPct val="30000"/>
              </a:spcBef>
              <a:buSzPct val="80000"/>
              <a:buFontTx/>
              <a:buBlip>
                <a:blip r:embed="rId2"/>
              </a:buBlip>
            </a:pPr>
            <a:r>
              <a:rPr lang="en-GB" sz="900" dirty="0">
                <a:ea typeface="ＭＳ Ｐゴシック"/>
              </a:rPr>
              <a:t>Each branch is staffed by customers advisers under the responsibility of a branch manager</a:t>
            </a:r>
          </a:p>
          <a:p>
            <a:pPr marL="803275" lvl="1" indent="-350838" algn="just">
              <a:lnSpc>
                <a:spcPct val="90000"/>
              </a:lnSpc>
              <a:spcBef>
                <a:spcPct val="30000"/>
              </a:spcBef>
              <a:buSzPct val="80000"/>
              <a:buFontTx/>
              <a:buBlip>
                <a:blip r:embed="rId2"/>
              </a:buBlip>
            </a:pPr>
            <a:r>
              <a:rPr lang="en-GB" sz="900" dirty="0">
                <a:ea typeface="ＭＳ Ｐゴシック"/>
              </a:rPr>
              <a:t>Operations in France are managed by a central division (</a:t>
            </a:r>
            <a:r>
              <a:rPr lang="en-GB" sz="900" i="1" dirty="0">
                <a:ea typeface="ＭＳ Ｐゴシック"/>
              </a:rPr>
              <a:t>Direction de la Prospection et </a:t>
            </a:r>
            <a:r>
              <a:rPr lang="en-GB" sz="900" i="1" dirty="0" err="1">
                <a:ea typeface="ＭＳ Ｐゴシック"/>
              </a:rPr>
              <a:t>Ventes</a:t>
            </a:r>
            <a:r>
              <a:rPr lang="en-GB" sz="900" i="1" dirty="0">
                <a:ea typeface="ＭＳ Ｐゴシック"/>
              </a:rPr>
              <a:t> </a:t>
            </a:r>
            <a:r>
              <a:rPr lang="en-GB" sz="900" i="1" dirty="0" err="1">
                <a:ea typeface="ＭＳ Ｐゴシック"/>
              </a:rPr>
              <a:t>Directes</a:t>
            </a:r>
            <a:r>
              <a:rPr lang="en-GB" sz="900" dirty="0">
                <a:ea typeface="ＭＳ Ｐゴシック"/>
              </a:rPr>
              <a:t>) </a:t>
            </a:r>
          </a:p>
          <a:p>
            <a:pPr marL="803275" lvl="1" indent="-350838" algn="just">
              <a:lnSpc>
                <a:spcPct val="90000"/>
              </a:lnSpc>
              <a:spcBef>
                <a:spcPct val="30000"/>
              </a:spcBef>
              <a:buSzPct val="120000"/>
              <a:buFontTx/>
              <a:buBlip>
                <a:blip r:embed="rId2"/>
              </a:buBlip>
            </a:pPr>
            <a:endParaRPr lang="en-GB" sz="900" dirty="0">
              <a:ea typeface="ＭＳ Ｐゴシック"/>
            </a:endParaRPr>
          </a:p>
          <a:p>
            <a:pPr algn="just">
              <a:lnSpc>
                <a:spcPct val="90000"/>
              </a:lnSpc>
              <a:spcBef>
                <a:spcPct val="50000"/>
              </a:spcBef>
              <a:buSzPct val="120000"/>
              <a:buFont typeface="Wingdings" pitchFamily="2" charset="2"/>
              <a:buBlip>
                <a:blip r:embed="rId2"/>
              </a:buBlip>
            </a:pPr>
            <a:r>
              <a:rPr lang="en-GB" sz="900" dirty="0">
                <a:solidFill>
                  <a:schemeClr val="tx1"/>
                </a:solidFill>
                <a:ea typeface="ＭＳ Ｐゴシック"/>
              </a:rPr>
              <a:t>Direct marketing </a:t>
            </a:r>
          </a:p>
          <a:p>
            <a:pPr marL="803275" lvl="1" indent="-350838" algn="just">
              <a:lnSpc>
                <a:spcPct val="90000"/>
              </a:lnSpc>
              <a:spcBef>
                <a:spcPct val="30000"/>
              </a:spcBef>
              <a:buSzPct val="80000"/>
              <a:buFontTx/>
              <a:buBlip>
                <a:blip r:embed="rId2"/>
              </a:buBlip>
            </a:pPr>
            <a:r>
              <a:rPr lang="en-GB" sz="900" dirty="0">
                <a:ea typeface="ＭＳ Ｐゴシック"/>
              </a:rPr>
              <a:t>Direct marketing campaigns and sales drives such as mail shots, telephone marketing, reply coupons</a:t>
            </a:r>
          </a:p>
          <a:p>
            <a:pPr marL="803275" lvl="1" indent="-350838" algn="just">
              <a:lnSpc>
                <a:spcPct val="90000"/>
              </a:lnSpc>
              <a:spcBef>
                <a:spcPct val="30000"/>
              </a:spcBef>
              <a:buSzPct val="80000"/>
              <a:buFontTx/>
              <a:buBlip>
                <a:blip r:embed="rId2"/>
              </a:buBlip>
            </a:pPr>
            <a:r>
              <a:rPr lang="en-GB" sz="900" dirty="0">
                <a:ea typeface="ＭＳ Ｐゴシック"/>
              </a:rPr>
              <a:t>National advertising operations (TV, Radio) are backed by call centres that direct customers to the branches</a:t>
            </a:r>
          </a:p>
          <a:p>
            <a:pPr marL="803275" lvl="1" indent="-350838" algn="just">
              <a:lnSpc>
                <a:spcPct val="90000"/>
              </a:lnSpc>
              <a:spcBef>
                <a:spcPct val="30000"/>
              </a:spcBef>
              <a:buSzPct val="120000"/>
              <a:buFontTx/>
              <a:buBlip>
                <a:blip r:embed="rId2"/>
              </a:buBlip>
            </a:pPr>
            <a:endParaRPr lang="en-GB" sz="900" dirty="0">
              <a:ea typeface="ＭＳ Ｐゴシック"/>
            </a:endParaRPr>
          </a:p>
          <a:p>
            <a:pPr algn="just">
              <a:lnSpc>
                <a:spcPct val="90000"/>
              </a:lnSpc>
              <a:spcBef>
                <a:spcPct val="50000"/>
              </a:spcBef>
              <a:buSzPct val="120000"/>
              <a:buFont typeface="Wingdings" pitchFamily="2" charset="2"/>
              <a:buBlip>
                <a:blip r:embed="rId2"/>
              </a:buBlip>
            </a:pPr>
            <a:r>
              <a:rPr lang="en-GB" sz="900" dirty="0">
                <a:solidFill>
                  <a:schemeClr val="tx1"/>
                </a:solidFill>
                <a:ea typeface="ＭＳ Ｐゴシック"/>
              </a:rPr>
              <a:t>Call </a:t>
            </a:r>
            <a:r>
              <a:rPr lang="en-GB" sz="900" dirty="0" err="1">
                <a:solidFill>
                  <a:schemeClr val="tx1"/>
                </a:solidFill>
                <a:ea typeface="ＭＳ Ｐゴシック"/>
              </a:rPr>
              <a:t>centers</a:t>
            </a:r>
            <a:endParaRPr lang="en-GB" sz="900" dirty="0">
              <a:solidFill>
                <a:schemeClr val="tx1"/>
              </a:solidFill>
              <a:ea typeface="ＭＳ Ｐゴシック"/>
            </a:endParaRPr>
          </a:p>
          <a:p>
            <a:pPr marL="803275" lvl="1" indent="-350838" algn="just">
              <a:lnSpc>
                <a:spcPct val="90000"/>
              </a:lnSpc>
              <a:spcBef>
                <a:spcPct val="30000"/>
              </a:spcBef>
              <a:buSzPct val="80000"/>
              <a:buFontTx/>
              <a:buBlip>
                <a:blip r:embed="rId2"/>
              </a:buBlip>
            </a:pPr>
            <a:r>
              <a:rPr lang="en-GB" sz="900" dirty="0">
                <a:ea typeface="ＭＳ Ｐゴシック"/>
              </a:rPr>
              <a:t>Unique telephone number in France and a voice server which directs each call to the most appropriate </a:t>
            </a:r>
            <a:r>
              <a:rPr lang="en-GB" altLang="ja-JP" sz="900" dirty="0">
                <a:ea typeface="ＭＳ Ｐゴシック"/>
              </a:rPr>
              <a:t>CACF commercial staff</a:t>
            </a:r>
          </a:p>
          <a:p>
            <a:pPr marL="803275" lvl="1" indent="-350838" algn="just">
              <a:lnSpc>
                <a:spcPct val="90000"/>
              </a:lnSpc>
              <a:spcBef>
                <a:spcPct val="30000"/>
              </a:spcBef>
              <a:buSzPct val="120000"/>
              <a:buFontTx/>
              <a:buBlip>
                <a:blip r:embed="rId2"/>
              </a:buBlip>
            </a:pPr>
            <a:endParaRPr lang="en-GB" sz="900" dirty="0">
              <a:ea typeface="ＭＳ Ｐゴシック"/>
            </a:endParaRPr>
          </a:p>
          <a:p>
            <a:pPr algn="just">
              <a:lnSpc>
                <a:spcPct val="90000"/>
              </a:lnSpc>
              <a:spcBef>
                <a:spcPct val="50000"/>
              </a:spcBef>
              <a:buSzPct val="120000"/>
              <a:buFont typeface="Wingdings" pitchFamily="2" charset="2"/>
              <a:buBlip>
                <a:blip r:embed="rId2"/>
              </a:buBlip>
            </a:pPr>
            <a:r>
              <a:rPr lang="en-GB" sz="900" dirty="0">
                <a:solidFill>
                  <a:schemeClr val="tx1"/>
                </a:solidFill>
                <a:ea typeface="ＭＳ Ｐゴシック"/>
              </a:rPr>
              <a:t>Dedicated website</a:t>
            </a:r>
          </a:p>
          <a:p>
            <a:pPr marL="803275" lvl="1" indent="-350838" algn="just">
              <a:lnSpc>
                <a:spcPct val="90000"/>
              </a:lnSpc>
              <a:spcBef>
                <a:spcPct val="30000"/>
              </a:spcBef>
              <a:buSzPct val="80000"/>
              <a:buFontTx/>
              <a:buBlip>
                <a:blip r:embed="rId2"/>
              </a:buBlip>
            </a:pPr>
            <a:r>
              <a:rPr lang="en-GB" sz="900" dirty="0">
                <a:ea typeface="ＭＳ Ｐゴシック"/>
              </a:rPr>
              <a:t>Present on the internet since 1997 </a:t>
            </a:r>
          </a:p>
          <a:p>
            <a:pPr marL="803275" lvl="1" indent="-350838" algn="just">
              <a:lnSpc>
                <a:spcPct val="90000"/>
              </a:lnSpc>
              <a:spcBef>
                <a:spcPct val="30000"/>
              </a:spcBef>
              <a:buSzPct val="80000"/>
              <a:buFontTx/>
              <a:buBlip>
                <a:blip r:embed="rId2"/>
              </a:buBlip>
            </a:pPr>
            <a:r>
              <a:rPr lang="en-GB" sz="900" dirty="0">
                <a:ea typeface="ＭＳ Ｐゴシック"/>
              </a:rPr>
              <a:t>First company in France to offer on-line loan simulations and immediate pre-acceptance services in 2001</a:t>
            </a:r>
          </a:p>
          <a:p>
            <a:pPr marL="803275" lvl="1" indent="-350838" algn="just">
              <a:lnSpc>
                <a:spcPct val="90000"/>
              </a:lnSpc>
              <a:spcBef>
                <a:spcPct val="30000"/>
              </a:spcBef>
              <a:buSzPct val="80000"/>
              <a:buFontTx/>
              <a:buBlip>
                <a:blip r:embed="rId2"/>
              </a:buBlip>
            </a:pPr>
            <a:r>
              <a:rPr lang="fr-FR" sz="900" dirty="0">
                <a:ea typeface="ＭＳ Ｐゴシック"/>
              </a:rPr>
              <a:t>Over 80% of the </a:t>
            </a:r>
            <a:r>
              <a:rPr lang="fr-FR" sz="900" dirty="0" err="1">
                <a:ea typeface="ＭＳ Ｐゴシック"/>
              </a:rPr>
              <a:t>credit</a:t>
            </a:r>
            <a:r>
              <a:rPr lang="fr-FR" sz="900" dirty="0">
                <a:ea typeface="ＭＳ Ｐゴシック"/>
              </a:rPr>
              <a:t> </a:t>
            </a:r>
            <a:r>
              <a:rPr lang="fr-FR" sz="900" dirty="0" err="1">
                <a:ea typeface="ＭＳ Ｐゴシック"/>
              </a:rPr>
              <a:t>requests</a:t>
            </a:r>
            <a:r>
              <a:rPr lang="fr-FR" sz="900" dirty="0">
                <a:ea typeface="ＭＳ Ｐゴシック"/>
              </a:rPr>
              <a:t> </a:t>
            </a:r>
            <a:r>
              <a:rPr lang="fr-FR" sz="900" dirty="0" err="1">
                <a:ea typeface="ＭＳ Ｐゴシック"/>
              </a:rPr>
              <a:t>through</a:t>
            </a:r>
            <a:r>
              <a:rPr lang="fr-FR" sz="900" dirty="0">
                <a:ea typeface="ＭＳ Ｐゴシック"/>
              </a:rPr>
              <a:t> internet (</a:t>
            </a:r>
            <a:r>
              <a:rPr lang="fr-FR" sz="900" dirty="0" err="1">
                <a:ea typeface="ＭＳ Ｐゴシック"/>
              </a:rPr>
              <a:t>underwriting</a:t>
            </a:r>
            <a:r>
              <a:rPr lang="fr-FR" sz="900" dirty="0">
                <a:ea typeface="ＭＳ Ｐゴシック"/>
              </a:rPr>
              <a:t> </a:t>
            </a:r>
            <a:r>
              <a:rPr lang="fr-FR" sz="900" dirty="0" err="1">
                <a:ea typeface="ＭＳ Ｐゴシック"/>
              </a:rPr>
              <a:t>process</a:t>
            </a:r>
            <a:r>
              <a:rPr lang="fr-FR" sz="900" dirty="0">
                <a:ea typeface="ＭＳ Ｐゴシック"/>
              </a:rPr>
              <a:t> </a:t>
            </a:r>
            <a:r>
              <a:rPr lang="fr-FR" sz="900" dirty="0" err="1">
                <a:ea typeface="ＭＳ Ｐゴシック"/>
              </a:rPr>
              <a:t>after</a:t>
            </a:r>
            <a:r>
              <a:rPr lang="fr-FR" sz="900" dirty="0">
                <a:ea typeface="ＭＳ Ｐゴシック"/>
              </a:rPr>
              <a:t> the first </a:t>
            </a:r>
            <a:r>
              <a:rPr lang="fr-FR" sz="900" dirty="0" err="1">
                <a:ea typeface="ＭＳ Ｐゴシック"/>
              </a:rPr>
              <a:t>step</a:t>
            </a:r>
            <a:r>
              <a:rPr lang="fr-FR" sz="900" dirty="0">
                <a:ea typeface="ＭＳ Ｐゴシック"/>
              </a:rPr>
              <a:t> on internet </a:t>
            </a:r>
            <a:r>
              <a:rPr lang="fr-FR" sz="900" dirty="0" err="1">
                <a:ea typeface="ＭＳ Ｐゴシック"/>
              </a:rPr>
              <a:t>is</a:t>
            </a:r>
            <a:r>
              <a:rPr lang="fr-FR" sz="900" dirty="0">
                <a:ea typeface="ＭＳ Ｐゴシック"/>
              </a:rPr>
              <a:t> made at  branches </a:t>
            </a:r>
            <a:r>
              <a:rPr lang="fr-FR" sz="900" dirty="0" err="1">
                <a:ea typeface="ＭＳ Ｐゴシック"/>
              </a:rPr>
              <a:t>level</a:t>
            </a:r>
            <a:r>
              <a:rPr lang="fr-FR" sz="900" dirty="0">
                <a:ea typeface="ＭＳ Ｐゴシック"/>
              </a:rPr>
              <a:t>)</a:t>
            </a:r>
          </a:p>
        </p:txBody>
      </p:sp>
    </p:spTree>
    <p:extLst>
      <p:ext uri="{BB962C8B-B14F-4D97-AF65-F5344CB8AC3E}">
        <p14:creationId xmlns:p14="http://schemas.microsoft.com/office/powerpoint/2010/main" val="31508775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solidFill>
                  <a:prstClr val="black"/>
                </a:solidFill>
              </a:rPr>
              <a:t>CA CF </a:t>
            </a:r>
            <a:r>
              <a:rPr lang="fr-FR" dirty="0" err="1">
                <a:solidFill>
                  <a:prstClr val="black"/>
                </a:solidFill>
              </a:rPr>
              <a:t>Debt</a:t>
            </a:r>
            <a:r>
              <a:rPr lang="fr-FR" dirty="0">
                <a:solidFill>
                  <a:prstClr val="black"/>
                </a:solidFill>
              </a:rPr>
              <a:t> Conso – focus on </a:t>
            </a:r>
            <a:r>
              <a:rPr lang="fr-FR" dirty="0" err="1">
                <a:solidFill>
                  <a:prstClr val="black"/>
                </a:solidFill>
              </a:rPr>
              <a:t>optional</a:t>
            </a:r>
            <a:r>
              <a:rPr lang="fr-FR" dirty="0">
                <a:solidFill>
                  <a:prstClr val="black"/>
                </a:solidFill>
              </a:rPr>
              <a:t> </a:t>
            </a:r>
            <a:r>
              <a:rPr lang="fr-FR" dirty="0" err="1">
                <a:solidFill>
                  <a:prstClr val="black"/>
                </a:solidFill>
              </a:rPr>
              <a:t>insurances</a:t>
            </a:r>
            <a:endParaRPr lang="en-US" dirty="0">
              <a:solidFill>
                <a:prstClr val="black"/>
              </a:solidFill>
            </a:endParaRPr>
          </a:p>
        </p:txBody>
      </p:sp>
      <p:sp>
        <p:nvSpPr>
          <p:cNvPr id="3" name="Slide Number Placeholder 2"/>
          <p:cNvSpPr>
            <a:spLocks noGrp="1"/>
          </p:cNvSpPr>
          <p:nvPr>
            <p:ph type="sldNum" sz="quarter" idx="19"/>
          </p:nvPr>
        </p:nvSpPr>
        <p:spPr/>
        <p:txBody>
          <a:bodyPr/>
          <a:lstStyle/>
          <a:p>
            <a:fld id="{98BD2159-827C-4021-9B0E-DCD852BEB59E}" type="slidenum">
              <a:rPr lang="en-GB" smtClean="0"/>
              <a:pPr/>
              <a:t>27</a:t>
            </a:fld>
            <a:endParaRPr lang="en-GB" dirty="0"/>
          </a:p>
        </p:txBody>
      </p:sp>
      <p:graphicFrame>
        <p:nvGraphicFramePr>
          <p:cNvPr id="6" name="Group 18"/>
          <p:cNvGraphicFramePr>
            <a:graphicFrameLocks noGrp="1"/>
          </p:cNvGraphicFramePr>
          <p:nvPr>
            <p:extLst>
              <p:ext uri="{D42A27DB-BD31-4B8C-83A1-F6EECF244321}">
                <p14:modId xmlns:p14="http://schemas.microsoft.com/office/powerpoint/2010/main" val="2256993650"/>
              </p:ext>
            </p:extLst>
          </p:nvPr>
        </p:nvGraphicFramePr>
        <p:xfrm>
          <a:off x="293328" y="1399848"/>
          <a:ext cx="7997742" cy="2476603"/>
        </p:xfrm>
        <a:graphic>
          <a:graphicData uri="http://schemas.openxmlformats.org/drawingml/2006/table">
            <a:tbl>
              <a:tblPr/>
              <a:tblGrid>
                <a:gridCol w="1862139">
                  <a:extLst>
                    <a:ext uri="{9D8B030D-6E8A-4147-A177-3AD203B41FA5}">
                      <a16:colId xmlns:a16="http://schemas.microsoft.com/office/drawing/2014/main" val="20000"/>
                    </a:ext>
                  </a:extLst>
                </a:gridCol>
                <a:gridCol w="2955913">
                  <a:extLst>
                    <a:ext uri="{9D8B030D-6E8A-4147-A177-3AD203B41FA5}">
                      <a16:colId xmlns:a16="http://schemas.microsoft.com/office/drawing/2014/main" val="20001"/>
                    </a:ext>
                  </a:extLst>
                </a:gridCol>
                <a:gridCol w="3179690">
                  <a:extLst>
                    <a:ext uri="{9D8B030D-6E8A-4147-A177-3AD203B41FA5}">
                      <a16:colId xmlns:a16="http://schemas.microsoft.com/office/drawing/2014/main" val="20002"/>
                    </a:ext>
                  </a:extLst>
                </a:gridCol>
              </a:tblGrid>
              <a:tr h="1834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57150" algn="l" defTabSz="914400" rtl="0" eaLnBrk="0" fontAlgn="base" latinLnBrk="0" hangingPunct="0">
                        <a:lnSpc>
                          <a:spcPct val="100000"/>
                        </a:lnSpc>
                        <a:spcBef>
                          <a:spcPct val="20000"/>
                        </a:spcBef>
                        <a:spcAft>
                          <a:spcPct val="0"/>
                        </a:spcAft>
                        <a:buClr>
                          <a:schemeClr val="accent2"/>
                        </a:buClr>
                        <a:buSzTx/>
                        <a:buFont typeface="Wingdings" pitchFamily="2" charset="2"/>
                        <a:buChar char="n"/>
                        <a:tabLst/>
                      </a:pPr>
                      <a:endParaRPr kumimoji="0" lang="fr-FR" sz="1000" b="1" i="0" u="none" strike="noStrike" cap="none" normalizeH="0" baseline="0" dirty="0">
                        <a:ln>
                          <a:noFill/>
                        </a:ln>
                        <a:solidFill>
                          <a:schemeClr val="tx1"/>
                        </a:solidFill>
                        <a:effectLst/>
                        <a:latin typeface="Arial" charset="0"/>
                        <a:ea typeface="ＭＳ Ｐゴシック"/>
                        <a:cs typeface="ＭＳ Ｐゴシック"/>
                      </a:endParaRPr>
                    </a:p>
                  </a:txBody>
                  <a:tcPr marL="97500" marR="97500" marT="46800" marB="46800" anchor="ctr" horzOverflow="overflow">
                    <a:lnL>
                      <a:noFill/>
                    </a:lnL>
                    <a:lnR>
                      <a:noFill/>
                    </a:lnR>
                    <a:lnT>
                      <a:noFill/>
                    </a:lnT>
                    <a:lnB w="3175" cap="flat" cmpd="sng" algn="ctr">
                      <a:solidFill>
                        <a:srgbClr val="C0C0C0"/>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fr-FR" sz="1000" b="1" i="0" u="none" strike="noStrike" cap="none" normalizeH="0" baseline="0" dirty="0">
                          <a:ln>
                            <a:noFill/>
                          </a:ln>
                          <a:solidFill>
                            <a:schemeClr val="bg1"/>
                          </a:solidFill>
                          <a:effectLst/>
                          <a:latin typeface="Arial" charset="0"/>
                          <a:ea typeface="ＭＳ Ｐゴシック"/>
                          <a:cs typeface="ＭＳ Ｐゴシック"/>
                        </a:rPr>
                        <a:t>RISK COVERED</a:t>
                      </a:r>
                    </a:p>
                  </a:txBody>
                  <a:tcPr marL="97500" marR="97500" marT="46800" marB="46800" anchor="ctr" horzOverflow="overflow">
                    <a:lnL>
                      <a:noFill/>
                    </a:lnL>
                    <a:lnR>
                      <a:noFill/>
                    </a:lnR>
                    <a:lnT w="38100" cap="flat" cmpd="sng" algn="ctr">
                      <a:solidFill>
                        <a:srgbClr val="00975A"/>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rgbClr val="00805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fr-FR" sz="1000" b="1" i="0" u="none" strike="noStrike" cap="none" normalizeH="0" baseline="0" dirty="0">
                          <a:ln>
                            <a:noFill/>
                          </a:ln>
                          <a:solidFill>
                            <a:schemeClr val="bg1"/>
                          </a:solidFill>
                          <a:effectLst/>
                          <a:latin typeface="Arial" charset="0"/>
                          <a:ea typeface="ＭＳ Ｐゴシック"/>
                          <a:cs typeface="ＭＳ Ｐゴシック"/>
                        </a:rPr>
                        <a:t>COVER</a:t>
                      </a:r>
                    </a:p>
                  </a:txBody>
                  <a:tcPr marL="97500" marR="97500" marT="46800" marB="46800" anchor="ctr" horzOverflow="overflow">
                    <a:lnL>
                      <a:noFill/>
                    </a:lnL>
                    <a:lnR w="3175" cap="flat" cmpd="sng" algn="ctr">
                      <a:solidFill>
                        <a:srgbClr val="C0C0C0"/>
                      </a:solidFill>
                      <a:prstDash val="solid"/>
                      <a:round/>
                      <a:headEnd type="none" w="med" len="med"/>
                      <a:tailEnd type="none" w="med" len="med"/>
                    </a:lnR>
                    <a:lnT w="38100" cap="flat" cmpd="sng" algn="ctr">
                      <a:solidFill>
                        <a:srgbClr val="00975A"/>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rgbClr val="00805F"/>
                    </a:solidFill>
                  </a:tcPr>
                </a:tc>
                <a:extLst>
                  <a:ext uri="{0D108BD9-81ED-4DB2-BD59-A6C34878D82A}">
                    <a16:rowId xmlns:a16="http://schemas.microsoft.com/office/drawing/2014/main" val="10000"/>
                  </a:ext>
                </a:extLst>
              </a:tr>
              <a:tr h="10895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fr-FR" sz="1000" b="1" i="0" u="none" strike="noStrike" kern="1200" cap="none" normalizeH="0" baseline="0" dirty="0" err="1">
                          <a:ln>
                            <a:noFill/>
                          </a:ln>
                          <a:solidFill>
                            <a:schemeClr val="bg1"/>
                          </a:solidFill>
                          <a:effectLst/>
                          <a:latin typeface="Arial" charset="0"/>
                          <a:ea typeface="ＭＳ Ｐゴシック"/>
                          <a:cs typeface="Times New Roman" pitchFamily="18" charset="0"/>
                        </a:rPr>
                        <a:t>Level</a:t>
                      </a:r>
                      <a:r>
                        <a:rPr kumimoji="0" lang="fr-FR" sz="1000" b="1" i="0" u="none" strike="noStrike" kern="1200" cap="none" normalizeH="0" baseline="0" dirty="0">
                          <a:ln>
                            <a:noFill/>
                          </a:ln>
                          <a:solidFill>
                            <a:schemeClr val="bg1"/>
                          </a:solidFill>
                          <a:effectLst/>
                          <a:latin typeface="Arial" charset="0"/>
                          <a:ea typeface="ＭＳ Ｐゴシック"/>
                          <a:cs typeface="Times New Roman" pitchFamily="18" charset="0"/>
                        </a:rPr>
                        <a:t> 1</a:t>
                      </a:r>
                    </a:p>
                  </a:txBody>
                  <a:tcPr marL="97500" marR="97500" marT="46800" marB="46800" anchor="ctr" horzOverflow="overflow">
                    <a:lnL>
                      <a:noFill/>
                    </a:lnL>
                    <a:lnR>
                      <a:noFill/>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rgbClr val="00805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IE" sz="800" b="0" i="0" u="none" strike="noStrike" cap="none" normalizeH="0" baseline="0" dirty="0">
                          <a:ln>
                            <a:noFill/>
                          </a:ln>
                          <a:solidFill>
                            <a:schemeClr val="tx1"/>
                          </a:solidFill>
                          <a:effectLst/>
                          <a:latin typeface="Arial" charset="0"/>
                          <a:ea typeface="ＭＳ Ｐゴシック"/>
                          <a:cs typeface="Times New Roman" pitchFamily="18" charset="0"/>
                        </a:rPr>
                        <a:t> Death</a:t>
                      </a:r>
                    </a:p>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IE" sz="800" b="0" i="0" u="none" strike="noStrike" cap="none" normalizeH="0" baseline="0" dirty="0">
                          <a:ln>
                            <a:noFill/>
                          </a:ln>
                          <a:solidFill>
                            <a:schemeClr val="tx1"/>
                          </a:solidFill>
                          <a:effectLst/>
                          <a:latin typeface="Arial" charset="0"/>
                          <a:ea typeface="ＭＳ Ｐゴシック"/>
                          <a:cs typeface="Times New Roman" pitchFamily="18" charset="0"/>
                        </a:rPr>
                        <a:t>Total loss of autonomy </a:t>
                      </a:r>
                    </a:p>
                  </a:txBody>
                  <a:tcPr marL="468000" marR="97500" marT="46800" marB="46800" anchor="ctr" horzOverflow="overflow">
                    <a:lnL>
                      <a:noFill/>
                    </a:lnL>
                    <a:lnR>
                      <a:noFill/>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IE" sz="800" b="0" i="0" u="none" strike="noStrike" cap="none" normalizeH="0" baseline="0" dirty="0">
                          <a:ln>
                            <a:noFill/>
                          </a:ln>
                          <a:solidFill>
                            <a:schemeClr val="tx1"/>
                          </a:solidFill>
                          <a:effectLst/>
                          <a:latin typeface="Arial" charset="0"/>
                          <a:ea typeface="ＭＳ Ｐゴシック"/>
                          <a:cs typeface="Times New Roman" pitchFamily="18" charset="0"/>
                        </a:rPr>
                        <a:t> Repayment of the whole outstanding balance + interests due</a:t>
                      </a:r>
                    </a:p>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IE" sz="800" b="0" i="0" u="none" strike="noStrike" cap="none" normalizeH="0" baseline="0" dirty="0">
                          <a:ln>
                            <a:noFill/>
                          </a:ln>
                          <a:solidFill>
                            <a:schemeClr val="tx1"/>
                          </a:solidFill>
                          <a:effectLst/>
                          <a:latin typeface="Arial" charset="0"/>
                          <a:ea typeface="ＭＳ Ｐゴシック"/>
                          <a:cs typeface="Times New Roman" pitchFamily="18" charset="0"/>
                        </a:rPr>
                        <a:t>€500,000 max</a:t>
                      </a:r>
                    </a:p>
                  </a:txBody>
                  <a:tcPr marL="97500" marR="97500" marT="46800" marB="46800" anchor="ctr" horzOverflow="overflow">
                    <a:lnL>
                      <a:noFill/>
                    </a:lnL>
                    <a:lnR w="3175" cap="flat" cmpd="sng" algn="ctr">
                      <a:solidFill>
                        <a:srgbClr val="C0C0C0"/>
                      </a:solidFill>
                      <a:prstDash val="solid"/>
                      <a:round/>
                      <a:headEnd type="none" w="med" len="med"/>
                      <a:tailEnd type="none" w="med" len="med"/>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14102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20000"/>
                        </a:spcBef>
                        <a:spcAft>
                          <a:spcPct val="0"/>
                        </a:spcAft>
                        <a:buClr>
                          <a:schemeClr val="accent2"/>
                        </a:buClr>
                        <a:buSzTx/>
                        <a:buFont typeface="Wingdings" pitchFamily="2" charset="2"/>
                        <a:buNone/>
                        <a:tabLst/>
                      </a:pPr>
                      <a:r>
                        <a:rPr kumimoji="0" lang="fr-FR" sz="1000" b="1" i="0" u="none" strike="noStrike" cap="none" normalizeH="0" baseline="0" dirty="0" err="1">
                          <a:ln>
                            <a:noFill/>
                          </a:ln>
                          <a:solidFill>
                            <a:schemeClr val="bg1"/>
                          </a:solidFill>
                          <a:effectLst/>
                          <a:latin typeface="Arial" charset="0"/>
                          <a:ea typeface="ＭＳ Ｐゴシック"/>
                          <a:cs typeface="ＭＳ Ｐゴシック"/>
                        </a:rPr>
                        <a:t>Level</a:t>
                      </a:r>
                      <a:r>
                        <a:rPr kumimoji="0" lang="fr-FR" sz="1000" b="1" i="0" u="none" strike="noStrike" cap="none" normalizeH="0" baseline="0" dirty="0">
                          <a:ln>
                            <a:noFill/>
                          </a:ln>
                          <a:solidFill>
                            <a:schemeClr val="bg1"/>
                          </a:solidFill>
                          <a:effectLst/>
                          <a:latin typeface="Arial" charset="0"/>
                          <a:ea typeface="ＭＳ Ｐゴシック"/>
                          <a:cs typeface="ＭＳ Ｐゴシック"/>
                        </a:rPr>
                        <a:t> 2</a:t>
                      </a:r>
                    </a:p>
                  </a:txBody>
                  <a:tcPr marL="97500" marR="97500" marT="46800" marB="46800" anchor="ctr" horzOverflow="overflow">
                    <a:lnL>
                      <a:noFill/>
                    </a:lnL>
                    <a:lnR>
                      <a:noFill/>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rgbClr val="00805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US" sz="800" b="0" i="0" u="none" strike="noStrike" cap="none" normalizeH="0" baseline="0" dirty="0">
                          <a:ln>
                            <a:noFill/>
                          </a:ln>
                          <a:solidFill>
                            <a:schemeClr val="tx1"/>
                          </a:solidFill>
                          <a:effectLst/>
                          <a:latin typeface="Arial" charset="0"/>
                          <a:ea typeface="ＭＳ Ｐゴシック"/>
                          <a:cs typeface="Times New Roman" pitchFamily="18" charset="0"/>
                        </a:rPr>
                        <a:t>Level 1 </a:t>
                      </a:r>
                    </a:p>
                    <a:p>
                      <a:pPr marL="268288" marR="0" lvl="1" indent="0" algn="l" defTabSz="914400" rtl="0" eaLnBrk="0" fontAlgn="base" latinLnBrk="0" hangingPunct="0">
                        <a:lnSpc>
                          <a:spcPct val="100000"/>
                        </a:lnSpc>
                        <a:spcBef>
                          <a:spcPct val="50000"/>
                        </a:spcBef>
                        <a:spcAft>
                          <a:spcPct val="0"/>
                        </a:spcAft>
                        <a:buClr>
                          <a:schemeClr val="tx1"/>
                        </a:buClr>
                        <a:buSzPct val="120000"/>
                        <a:buFontTx/>
                        <a:buNone/>
                        <a:tabLst/>
                      </a:pPr>
                      <a:r>
                        <a:rPr kumimoji="0" lang="en-US" sz="800" b="0" i="0" u="none" strike="noStrike" cap="none" normalizeH="0" baseline="0" dirty="0">
                          <a:ln>
                            <a:noFill/>
                          </a:ln>
                          <a:solidFill>
                            <a:schemeClr val="tx1"/>
                          </a:solidFill>
                          <a:effectLst/>
                          <a:latin typeface="Arial" charset="0"/>
                          <a:ea typeface="ＭＳ Ｐゴシック"/>
                          <a:cs typeface="Times New Roman" pitchFamily="18" charset="0"/>
                        </a:rPr>
                        <a:t>             +</a:t>
                      </a:r>
                    </a:p>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US" sz="800" b="0" i="0" u="none" strike="noStrike" cap="none" normalizeH="0" baseline="0" dirty="0">
                          <a:ln>
                            <a:noFill/>
                          </a:ln>
                          <a:solidFill>
                            <a:schemeClr val="tx1"/>
                          </a:solidFill>
                          <a:effectLst/>
                          <a:latin typeface="Arial" charset="0"/>
                          <a:ea typeface="ＭＳ Ｐゴシック"/>
                          <a:cs typeface="Times New Roman" pitchFamily="18" charset="0"/>
                        </a:rPr>
                        <a:t>Temporary disability</a:t>
                      </a:r>
                    </a:p>
                  </a:txBody>
                  <a:tcPr marL="468000" marR="97500" marT="46800" marB="46800" anchor="ctr" horzOverflow="overflow">
                    <a:lnL>
                      <a:noFill/>
                    </a:lnL>
                    <a:lnR>
                      <a:noFill/>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US" sz="800" b="0" i="0" u="none" strike="noStrike" cap="none" normalizeH="0" baseline="0" dirty="0">
                          <a:ln>
                            <a:noFill/>
                          </a:ln>
                          <a:solidFill>
                            <a:schemeClr val="tx1"/>
                          </a:solidFill>
                          <a:effectLst/>
                          <a:latin typeface="Arial" charset="0"/>
                          <a:ea typeface="ＭＳ Ｐゴシック"/>
                          <a:cs typeface="Times New Roman" pitchFamily="18" charset="0"/>
                        </a:rPr>
                        <a:t>Same cover as level 1 </a:t>
                      </a:r>
                    </a:p>
                    <a:p>
                      <a:pPr marL="268288" marR="0" lvl="1" indent="0" algn="l" defTabSz="914400" rtl="0" eaLnBrk="0" fontAlgn="base" latinLnBrk="0" hangingPunct="0">
                        <a:lnSpc>
                          <a:spcPct val="100000"/>
                        </a:lnSpc>
                        <a:spcBef>
                          <a:spcPct val="50000"/>
                        </a:spcBef>
                        <a:spcAft>
                          <a:spcPct val="0"/>
                        </a:spcAft>
                        <a:buClr>
                          <a:schemeClr val="tx1"/>
                        </a:buClr>
                        <a:buSzPct val="120000"/>
                        <a:buFontTx/>
                        <a:buNone/>
                        <a:tabLst/>
                      </a:pPr>
                      <a:r>
                        <a:rPr kumimoji="0" lang="en-US" sz="800" b="0" i="0" u="none" strike="noStrike" cap="none" normalizeH="0" baseline="0" dirty="0">
                          <a:ln>
                            <a:noFill/>
                          </a:ln>
                          <a:solidFill>
                            <a:schemeClr val="tx1"/>
                          </a:solidFill>
                          <a:effectLst/>
                          <a:latin typeface="Arial" charset="0"/>
                          <a:ea typeface="ＭＳ Ｐゴシック"/>
                          <a:cs typeface="Times New Roman" pitchFamily="18" charset="0"/>
                        </a:rPr>
                        <a:t>             +</a:t>
                      </a:r>
                    </a:p>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US" sz="800" b="0" i="0" u="none" strike="noStrike" cap="none" normalizeH="0" baseline="0" dirty="0">
                          <a:ln>
                            <a:noFill/>
                          </a:ln>
                          <a:solidFill>
                            <a:schemeClr val="tx1"/>
                          </a:solidFill>
                          <a:effectLst/>
                          <a:latin typeface="Arial" charset="0"/>
                          <a:ea typeface="ＭＳ Ｐゴシック"/>
                          <a:cs typeface="Times New Roman" pitchFamily="18" charset="0"/>
                        </a:rPr>
                        <a:t>Payment of due instalments during the period of disability</a:t>
                      </a:r>
                    </a:p>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US" sz="800" b="0" i="0" u="none" strike="noStrike" cap="none" normalizeH="0" baseline="0" dirty="0">
                          <a:ln>
                            <a:noFill/>
                          </a:ln>
                          <a:solidFill>
                            <a:schemeClr val="tx1"/>
                          </a:solidFill>
                          <a:effectLst/>
                          <a:latin typeface="Arial" charset="0"/>
                          <a:ea typeface="ＭＳ Ｐゴシック"/>
                          <a:cs typeface="Times New Roman" pitchFamily="18" charset="0"/>
                        </a:rPr>
                        <a:t>Max 36 months per claim</a:t>
                      </a:r>
                    </a:p>
                    <a:p>
                      <a:pPr marL="439738" marR="0" lvl="1" indent="-171450" algn="l" defTabSz="914400" rtl="0" eaLnBrk="0" fontAlgn="base" latinLnBrk="0" hangingPunct="0">
                        <a:lnSpc>
                          <a:spcPct val="100000"/>
                        </a:lnSpc>
                        <a:spcBef>
                          <a:spcPct val="50000"/>
                        </a:spcBef>
                        <a:spcAft>
                          <a:spcPct val="0"/>
                        </a:spcAft>
                        <a:buClr>
                          <a:schemeClr val="tx1"/>
                        </a:buClr>
                        <a:buSzPct val="120000"/>
                        <a:buFontTx/>
                        <a:buBlip>
                          <a:blip r:embed="rId2"/>
                        </a:buBlip>
                        <a:tabLst/>
                      </a:pPr>
                      <a:r>
                        <a:rPr kumimoji="0" lang="en-US" sz="800" b="0" i="0" u="none" strike="noStrike" cap="none" normalizeH="0" baseline="0" dirty="0">
                          <a:ln>
                            <a:noFill/>
                          </a:ln>
                          <a:solidFill>
                            <a:schemeClr val="tx1"/>
                          </a:solidFill>
                          <a:effectLst/>
                          <a:latin typeface="Arial" charset="0"/>
                          <a:ea typeface="ＭＳ Ｐゴシック"/>
                          <a:cs typeface="Times New Roman" pitchFamily="18" charset="0"/>
                        </a:rPr>
                        <a:t>Deductible period 90 days</a:t>
                      </a:r>
                    </a:p>
                  </a:txBody>
                  <a:tcPr marL="97500" marR="97500" marT="46800" marB="46800" anchor="ctr" horzOverflow="overflow">
                    <a:lnL>
                      <a:noFill/>
                    </a:lnL>
                    <a:lnR w="3175" cap="flat" cmpd="sng" algn="ctr">
                      <a:solidFill>
                        <a:srgbClr val="C0C0C0"/>
                      </a:solidFill>
                      <a:prstDash val="solid"/>
                      <a:round/>
                      <a:headEnd type="none" w="med" len="med"/>
                      <a:tailEnd type="none" w="med" len="med"/>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19996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3. Underwriting process</a:t>
            </a:r>
            <a:endParaRPr lang="en-US" dirty="0"/>
          </a:p>
        </p:txBody>
      </p:sp>
      <p:sp>
        <p:nvSpPr>
          <p:cNvPr id="3" name="Slide Number Placeholder 2"/>
          <p:cNvSpPr>
            <a:spLocks noGrp="1"/>
          </p:cNvSpPr>
          <p:nvPr>
            <p:ph type="sldNum" sz="quarter" idx="19"/>
          </p:nvPr>
        </p:nvSpPr>
        <p:spPr/>
        <p:txBody>
          <a:bodyPr/>
          <a:lstStyle/>
          <a:p>
            <a:fld id="{98BD2159-827C-4021-9B0E-DCD852BEB59E}" type="slidenum">
              <a:rPr lang="en-GB" smtClean="0"/>
              <a:pPr/>
              <a:t>28</a:t>
            </a:fld>
            <a:endParaRPr lang="en-GB" dirty="0"/>
          </a:p>
        </p:txBody>
      </p:sp>
    </p:spTree>
    <p:extLst>
      <p:ext uri="{BB962C8B-B14F-4D97-AF65-F5344CB8AC3E}">
        <p14:creationId xmlns:p14="http://schemas.microsoft.com/office/powerpoint/2010/main" val="30015606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654677" y="220786"/>
            <a:ext cx="6038204" cy="387553"/>
          </a:xfrm>
        </p:spPr>
        <p:txBody>
          <a:bodyPr/>
          <a:lstStyle/>
          <a:p>
            <a:r>
              <a:rPr lang="en-GB" sz="1500" dirty="0">
                <a:solidFill>
                  <a:schemeClr val="tx1"/>
                </a:solidFill>
              </a:rPr>
              <a:t>Credit application</a:t>
            </a:r>
            <a:br>
              <a:rPr lang="en-GB" sz="1500" dirty="0">
                <a:solidFill>
                  <a:schemeClr val="tx1"/>
                </a:solidFill>
              </a:rPr>
            </a:br>
            <a:r>
              <a:rPr lang="en-GB" sz="1500" dirty="0">
                <a:solidFill>
                  <a:schemeClr val="bg1">
                    <a:lumMod val="65000"/>
                  </a:schemeClr>
                </a:solidFill>
              </a:rPr>
              <a:t>Focus on credit intermediary</a:t>
            </a:r>
            <a:endParaRPr lang="fr-FR" sz="1500" dirty="0">
              <a:solidFill>
                <a:schemeClr val="bg1">
                  <a:lumMod val="65000"/>
                </a:schemeClr>
              </a:solidFill>
            </a:endParaRPr>
          </a:p>
        </p:txBody>
      </p:sp>
      <p:sp>
        <p:nvSpPr>
          <p:cNvPr id="4" name="Espace réservé de la date 3"/>
          <p:cNvSpPr>
            <a:spLocks noGrp="1"/>
          </p:cNvSpPr>
          <p:nvPr>
            <p:ph type="dt" sz="half" idx="10"/>
          </p:nvPr>
        </p:nvSpPr>
        <p:spPr bwMode="gray">
          <a:xfrm>
            <a:off x="923810" y="6480335"/>
            <a:ext cx="648072"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18/07/2018</a:t>
            </a:r>
            <a:endParaRPr lang="fr-FR" dirty="0"/>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p:cNvSpPr>
            <a:spLocks noGrp="1"/>
          </p:cNvSpPr>
          <p:nvPr>
            <p:ph type="sldNum" sz="quarter" idx="12"/>
          </p:nvPr>
        </p:nvSpPr>
        <p:spPr bwMode="gray">
          <a:xfrm>
            <a:off x="1989237" y="6480335"/>
            <a:ext cx="293491"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571E2A-2AE4-4AE9-A5FF-468BE27EC277}" type="slidenum">
              <a:rPr lang="fr-FR" smtClean="0"/>
              <a:pPr/>
              <a:t>29</a:t>
            </a:fld>
            <a:endParaRPr lang="fr-FR" dirty="0"/>
          </a:p>
        </p:txBody>
      </p:sp>
      <p:sp>
        <p:nvSpPr>
          <p:cNvPr id="7" name="Text Box 2"/>
          <p:cNvSpPr txBox="1">
            <a:spLocks noChangeArrowheads="1"/>
          </p:cNvSpPr>
          <p:nvPr/>
        </p:nvSpPr>
        <p:spPr bwMode="auto">
          <a:xfrm>
            <a:off x="564356" y="720402"/>
            <a:ext cx="3550095" cy="3823226"/>
          </a:xfrm>
          <a:prstGeom prst="rect">
            <a:avLst/>
          </a:prstGeom>
          <a:noFill/>
          <a:ln w="9525">
            <a:noFill/>
            <a:miter lim="800000"/>
            <a:headEnd/>
            <a:tailEnd/>
          </a:ln>
          <a:effectLst/>
        </p:spPr>
        <p:txBody>
          <a:bodyPr wrap="square">
            <a:spAutoFit/>
          </a:bodyPr>
          <a:lstStyle/>
          <a:p>
            <a:pPr marL="504825" lvl="1" algn="just">
              <a:lnSpc>
                <a:spcPct val="120000"/>
              </a:lnSpc>
              <a:spcBef>
                <a:spcPct val="30000"/>
              </a:spcBef>
              <a:buSzPct val="120000"/>
              <a:tabLst>
                <a:tab pos="2557463" algn="l"/>
              </a:tabLst>
              <a:defRPr/>
            </a:pPr>
            <a:endParaRPr lang="en-GB" sz="825" dirty="0"/>
          </a:p>
          <a:p>
            <a:pPr marL="200025" indent="-200025" algn="just">
              <a:spcBef>
                <a:spcPct val="50000"/>
              </a:spcBef>
              <a:buClr>
                <a:schemeClr val="tx1"/>
              </a:buClr>
              <a:buSzPct val="120000"/>
              <a:buBlip>
                <a:blip r:embed="rId2"/>
              </a:buBlip>
              <a:tabLst>
                <a:tab pos="2557463" algn="l"/>
              </a:tabLst>
              <a:defRPr/>
            </a:pPr>
            <a:endParaRPr lang="en-GB" sz="1000" dirty="0"/>
          </a:p>
          <a:p>
            <a:pPr marL="200025" indent="-200025" algn="just">
              <a:spcBef>
                <a:spcPct val="50000"/>
              </a:spcBef>
              <a:spcAft>
                <a:spcPts val="150"/>
              </a:spcAft>
              <a:buClr>
                <a:schemeClr val="tx1"/>
              </a:buClr>
              <a:buSzPct val="120000"/>
              <a:buBlip>
                <a:blip r:embed="rId2"/>
              </a:buBlip>
              <a:tabLst>
                <a:tab pos="2557463" algn="l"/>
              </a:tabLst>
              <a:defRPr/>
            </a:pPr>
            <a:r>
              <a:rPr lang="en-GB" sz="900" dirty="0"/>
              <a:t>The credit intermediary collect, as the case may be, documentary evidence of the debtor’s identity, address, marital status, situation, income, expenses, and savings: bank statements of the last three months, two last pay slips, tax property (if owner or reaching property), income tax returns, amortisation schedule and credit statements; </a:t>
            </a:r>
          </a:p>
          <a:p>
            <a:pPr marL="200025" indent="-200025" algn="just">
              <a:spcBef>
                <a:spcPct val="50000"/>
              </a:spcBef>
              <a:spcAft>
                <a:spcPts val="150"/>
              </a:spcAft>
              <a:buClr>
                <a:schemeClr val="tx1"/>
              </a:buClr>
              <a:buSzPct val="120000"/>
              <a:buBlip>
                <a:blip r:embed="rId2"/>
              </a:buBlip>
              <a:tabLst>
                <a:tab pos="2557463" algn="l"/>
              </a:tabLst>
              <a:defRPr/>
            </a:pPr>
            <a:r>
              <a:rPr lang="en-US" sz="900" dirty="0"/>
              <a:t>The credit intermediary checks the consistency of the supporting documents to prevent any fraud; </a:t>
            </a:r>
          </a:p>
          <a:p>
            <a:pPr marL="200025" indent="-200025" algn="just">
              <a:spcBef>
                <a:spcPct val="50000"/>
              </a:spcBef>
              <a:spcAft>
                <a:spcPts val="150"/>
              </a:spcAft>
              <a:buClr>
                <a:schemeClr val="tx1"/>
              </a:buClr>
              <a:buSzPct val="120000"/>
              <a:buBlip>
                <a:blip r:embed="rId2"/>
              </a:buBlip>
              <a:tabLst>
                <a:tab pos="2557463" algn="l"/>
              </a:tabLst>
              <a:defRPr/>
            </a:pPr>
            <a:r>
              <a:rPr lang="en-US" sz="900" dirty="0"/>
              <a:t>Record of the client’s information into the system first by the credit intermediaries using </a:t>
            </a:r>
            <a:r>
              <a:rPr lang="en-US" sz="900" dirty="0" err="1"/>
              <a:t>EcreditLift</a:t>
            </a:r>
            <a:r>
              <a:rPr lang="en-US" sz="900" dirty="0"/>
              <a:t> (digital platform between </a:t>
            </a:r>
            <a:r>
              <a:rPr lang="en-US" sz="900" dirty="0" err="1"/>
              <a:t>Creditlift</a:t>
            </a:r>
            <a:r>
              <a:rPr lang="en-US" sz="900" dirty="0"/>
              <a:t> and credit intermediaries)</a:t>
            </a:r>
          </a:p>
          <a:p>
            <a:pPr marL="200025" indent="-200025" algn="just">
              <a:spcBef>
                <a:spcPct val="50000"/>
              </a:spcBef>
              <a:spcAft>
                <a:spcPts val="150"/>
              </a:spcAft>
              <a:buClr>
                <a:schemeClr val="tx1"/>
              </a:buClr>
              <a:buSzPct val="120000"/>
              <a:buBlip>
                <a:blip r:embed="rId2"/>
              </a:buBlip>
              <a:tabLst>
                <a:tab pos="2557463" algn="l"/>
              </a:tabLst>
              <a:defRPr/>
            </a:pPr>
            <a:r>
              <a:rPr lang="en-US" sz="900" dirty="0" err="1"/>
              <a:t>Creditlift</a:t>
            </a:r>
            <a:r>
              <a:rPr lang="en-US" sz="900" dirty="0"/>
              <a:t> corrects or completes it if needed;</a:t>
            </a:r>
          </a:p>
          <a:p>
            <a:pPr marL="200025" indent="-200025" algn="just">
              <a:spcBef>
                <a:spcPct val="50000"/>
              </a:spcBef>
              <a:spcAft>
                <a:spcPts val="150"/>
              </a:spcAft>
              <a:buClr>
                <a:schemeClr val="tx1"/>
              </a:buClr>
              <a:buSzPct val="120000"/>
              <a:buBlip>
                <a:blip r:embed="rId2"/>
              </a:buBlip>
              <a:tabLst>
                <a:tab pos="2557463" algn="l"/>
              </a:tabLst>
              <a:defRPr/>
            </a:pPr>
            <a:r>
              <a:rPr lang="en-US" sz="900" dirty="0"/>
              <a:t>Study of the credit files brought by the credit intermediaries by </a:t>
            </a:r>
            <a:r>
              <a:rPr lang="en-US" sz="900" dirty="0" err="1"/>
              <a:t>Creditlift</a:t>
            </a:r>
            <a:r>
              <a:rPr lang="en-US" sz="900" dirty="0"/>
              <a:t> dedicated and specialized team (40 analysts in Roubaix)</a:t>
            </a:r>
          </a:p>
          <a:p>
            <a:pPr marL="200025" indent="-200025" algn="just">
              <a:spcBef>
                <a:spcPct val="50000"/>
              </a:spcBef>
              <a:spcAft>
                <a:spcPts val="150"/>
              </a:spcAft>
              <a:buClr>
                <a:schemeClr val="tx1"/>
              </a:buClr>
              <a:buSzPct val="120000"/>
              <a:buBlip>
                <a:blip r:embed="rId2"/>
              </a:buBlip>
              <a:tabLst>
                <a:tab pos="2557463" algn="l"/>
              </a:tabLst>
              <a:defRPr/>
            </a:pPr>
            <a:r>
              <a:rPr lang="en-US" sz="900" dirty="0" err="1"/>
              <a:t>Accepatation</a:t>
            </a:r>
            <a:r>
              <a:rPr lang="en-US" sz="900" dirty="0"/>
              <a:t> or refusal directly on </a:t>
            </a:r>
            <a:r>
              <a:rPr lang="en-US" sz="900" dirty="0" err="1"/>
              <a:t>Ecreditlift</a:t>
            </a:r>
            <a:r>
              <a:rPr lang="en-US" sz="900" dirty="0"/>
              <a:t>.</a:t>
            </a:r>
            <a:endParaRPr lang="en-GB" sz="900" dirty="0"/>
          </a:p>
          <a:p>
            <a:pPr marL="200025" indent="-200025" algn="just">
              <a:spcBef>
                <a:spcPct val="50000"/>
              </a:spcBef>
              <a:spcAft>
                <a:spcPts val="150"/>
              </a:spcAft>
              <a:buSzPct val="120000"/>
              <a:buBlip>
                <a:blip r:embed="rId2"/>
              </a:buBlip>
              <a:tabLst>
                <a:tab pos="2557463" algn="l"/>
              </a:tabLst>
              <a:defRPr/>
            </a:pPr>
            <a:r>
              <a:rPr lang="en-GB" sz="900" dirty="0"/>
              <a:t>Data inputs by CA-CF staff (direct) are subject to tight verification process.</a:t>
            </a:r>
          </a:p>
          <a:p>
            <a:pPr algn="just">
              <a:spcBef>
                <a:spcPct val="50000"/>
              </a:spcBef>
              <a:buClr>
                <a:schemeClr val="tx1"/>
              </a:buClr>
              <a:buSzPct val="120000"/>
              <a:tabLst>
                <a:tab pos="2557463" algn="l"/>
              </a:tabLst>
              <a:defRPr/>
            </a:pPr>
            <a:endParaRPr lang="fr-FR" sz="825" dirty="0"/>
          </a:p>
        </p:txBody>
      </p:sp>
      <p:sp>
        <p:nvSpPr>
          <p:cNvPr id="9" name="Line 5"/>
          <p:cNvSpPr>
            <a:spLocks noChangeShapeType="1"/>
          </p:cNvSpPr>
          <p:nvPr/>
        </p:nvSpPr>
        <p:spPr bwMode="auto">
          <a:xfrm flipH="1">
            <a:off x="4121449" y="720402"/>
            <a:ext cx="18239" cy="43220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fr-FR" sz="1350" dirty="0">
              <a:highlight>
                <a:srgbClr val="000000"/>
              </a:highlight>
            </a:endParaRPr>
          </a:p>
        </p:txBody>
      </p:sp>
      <p:sp>
        <p:nvSpPr>
          <p:cNvPr id="11" name="Rectangle 10">
            <a:extLst>
              <a:ext uri="{FF2B5EF4-FFF2-40B4-BE49-F238E27FC236}">
                <a16:creationId xmlns:a16="http://schemas.microsoft.com/office/drawing/2014/main" id="{B2212EF1-2E3B-4408-A65C-777B0A93333D}"/>
              </a:ext>
            </a:extLst>
          </p:cNvPr>
          <p:cNvSpPr/>
          <p:nvPr/>
        </p:nvSpPr>
        <p:spPr>
          <a:xfrm>
            <a:off x="4786236" y="966909"/>
            <a:ext cx="3088484" cy="23377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lgn="ctr">
              <a:defRPr/>
            </a:pPr>
            <a:r>
              <a:rPr lang="en-US" sz="900" b="1" dirty="0"/>
              <a:t>Customer</a:t>
            </a:r>
          </a:p>
        </p:txBody>
      </p:sp>
      <p:sp>
        <p:nvSpPr>
          <p:cNvPr id="12" name="Rectangle 11">
            <a:extLst>
              <a:ext uri="{FF2B5EF4-FFF2-40B4-BE49-F238E27FC236}">
                <a16:creationId xmlns:a16="http://schemas.microsoft.com/office/drawing/2014/main" id="{E0F0A121-5B76-4220-8C49-26BB68FB3F3C}"/>
              </a:ext>
            </a:extLst>
          </p:cNvPr>
          <p:cNvSpPr/>
          <p:nvPr/>
        </p:nvSpPr>
        <p:spPr>
          <a:xfrm>
            <a:off x="4786236" y="1559250"/>
            <a:ext cx="3088484" cy="23377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lgn="ctr">
              <a:defRPr/>
            </a:pPr>
            <a:r>
              <a:rPr lang="en-US" sz="900" b="1" dirty="0"/>
              <a:t>Credit intermediary</a:t>
            </a:r>
          </a:p>
        </p:txBody>
      </p:sp>
      <p:cxnSp>
        <p:nvCxnSpPr>
          <p:cNvPr id="16" name="Connecteur droit avec flèche 15">
            <a:extLst>
              <a:ext uri="{FF2B5EF4-FFF2-40B4-BE49-F238E27FC236}">
                <a16:creationId xmlns:a16="http://schemas.microsoft.com/office/drawing/2014/main" id="{21FF6FBC-2638-428A-8C44-AEBE160CDD3E}"/>
              </a:ext>
            </a:extLst>
          </p:cNvPr>
          <p:cNvCxnSpPr>
            <a:cxnSpLocks/>
          </p:cNvCxnSpPr>
          <p:nvPr/>
        </p:nvCxnSpPr>
        <p:spPr>
          <a:xfrm>
            <a:off x="6396739" y="1200681"/>
            <a:ext cx="0" cy="35856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75D94E3-06B2-48AD-AF7F-E800D17F9086}"/>
              </a:ext>
            </a:extLst>
          </p:cNvPr>
          <p:cNvSpPr/>
          <p:nvPr/>
        </p:nvSpPr>
        <p:spPr>
          <a:xfrm>
            <a:off x="4786236" y="2168053"/>
            <a:ext cx="3088484" cy="49961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lgn="ctr">
              <a:defRPr/>
            </a:pPr>
            <a:r>
              <a:rPr lang="en-US" sz="900" b="1" dirty="0"/>
              <a:t>CACF</a:t>
            </a:r>
          </a:p>
          <a:p>
            <a:pPr marL="339329" indent="-203597" algn="ctr">
              <a:defRPr/>
            </a:pPr>
            <a:r>
              <a:rPr lang="en-US" sz="900" b="1" dirty="0"/>
              <a:t>  </a:t>
            </a:r>
            <a:r>
              <a:rPr lang="en-US" sz="900" b="1" dirty="0" err="1"/>
              <a:t>CréditLift</a:t>
            </a:r>
            <a:r>
              <a:rPr lang="en-US" sz="900" b="1" dirty="0"/>
              <a:t> </a:t>
            </a:r>
            <a:r>
              <a:rPr lang="en-US" sz="900" b="1" dirty="0" err="1"/>
              <a:t>Courtage</a:t>
            </a:r>
            <a:endParaRPr lang="en-US" sz="900" dirty="0"/>
          </a:p>
        </p:txBody>
      </p:sp>
      <p:cxnSp>
        <p:nvCxnSpPr>
          <p:cNvPr id="18" name="Connecteur droit avec flèche 17">
            <a:extLst>
              <a:ext uri="{FF2B5EF4-FFF2-40B4-BE49-F238E27FC236}">
                <a16:creationId xmlns:a16="http://schemas.microsoft.com/office/drawing/2014/main" id="{AC5B715E-1A53-4B43-A355-B1CADCCECA91}"/>
              </a:ext>
            </a:extLst>
          </p:cNvPr>
          <p:cNvCxnSpPr>
            <a:cxnSpLocks/>
          </p:cNvCxnSpPr>
          <p:nvPr/>
        </p:nvCxnSpPr>
        <p:spPr>
          <a:xfrm flipH="1">
            <a:off x="6396738" y="1809484"/>
            <a:ext cx="1" cy="35856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necteur droit avec flèche 21">
            <a:extLst>
              <a:ext uri="{FF2B5EF4-FFF2-40B4-BE49-F238E27FC236}">
                <a16:creationId xmlns:a16="http://schemas.microsoft.com/office/drawing/2014/main" id="{177A2C34-52EA-45DD-853F-1FF8F3FC5457}"/>
              </a:ext>
            </a:extLst>
          </p:cNvPr>
          <p:cNvCxnSpPr>
            <a:cxnSpLocks/>
          </p:cNvCxnSpPr>
          <p:nvPr/>
        </p:nvCxnSpPr>
        <p:spPr>
          <a:xfrm flipH="1">
            <a:off x="6396738" y="2667668"/>
            <a:ext cx="1" cy="35856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197A3B0E-CD61-4D02-BA27-BF5C7305EE85}"/>
              </a:ext>
            </a:extLst>
          </p:cNvPr>
          <p:cNvSpPr/>
          <p:nvPr/>
        </p:nvSpPr>
        <p:spPr>
          <a:xfrm>
            <a:off x="4786236" y="3042699"/>
            <a:ext cx="3088484" cy="23377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39329" indent="-203597" algn="ctr">
              <a:defRPr/>
            </a:pPr>
            <a:r>
              <a:rPr lang="en-US" sz="900" b="1" dirty="0"/>
              <a:t>Client Data in CACF systems</a:t>
            </a:r>
          </a:p>
        </p:txBody>
      </p:sp>
      <p:cxnSp>
        <p:nvCxnSpPr>
          <p:cNvPr id="24" name="Connecteur droit avec flèche 23">
            <a:extLst>
              <a:ext uri="{FF2B5EF4-FFF2-40B4-BE49-F238E27FC236}">
                <a16:creationId xmlns:a16="http://schemas.microsoft.com/office/drawing/2014/main" id="{D76CC165-A969-440F-B641-4F615CD24638}"/>
              </a:ext>
            </a:extLst>
          </p:cNvPr>
          <p:cNvCxnSpPr>
            <a:cxnSpLocks/>
          </p:cNvCxnSpPr>
          <p:nvPr/>
        </p:nvCxnSpPr>
        <p:spPr>
          <a:xfrm flipV="1">
            <a:off x="6412555" y="3276471"/>
            <a:ext cx="0" cy="5865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Connecteur droit 27">
            <a:extLst>
              <a:ext uri="{FF2B5EF4-FFF2-40B4-BE49-F238E27FC236}">
                <a16:creationId xmlns:a16="http://schemas.microsoft.com/office/drawing/2014/main" id="{81D4E586-2459-44FE-A3D3-EA6B842D45F1}"/>
              </a:ext>
            </a:extLst>
          </p:cNvPr>
          <p:cNvCxnSpPr/>
          <p:nvPr/>
        </p:nvCxnSpPr>
        <p:spPr>
          <a:xfrm>
            <a:off x="6412555" y="3863009"/>
            <a:ext cx="560653" cy="0"/>
          </a:xfrm>
          <a:prstGeom prst="line">
            <a:avLst/>
          </a:prstGeom>
        </p:spPr>
        <p:style>
          <a:lnRef idx="1">
            <a:schemeClr val="dk1"/>
          </a:lnRef>
          <a:fillRef idx="0">
            <a:schemeClr val="dk1"/>
          </a:fillRef>
          <a:effectRef idx="0">
            <a:schemeClr val="dk1"/>
          </a:effectRef>
          <a:fontRef idx="minor">
            <a:schemeClr val="tx1"/>
          </a:fontRef>
        </p:style>
      </p:cxnSp>
      <p:sp>
        <p:nvSpPr>
          <p:cNvPr id="29" name="Organigramme : Décision 28">
            <a:extLst>
              <a:ext uri="{FF2B5EF4-FFF2-40B4-BE49-F238E27FC236}">
                <a16:creationId xmlns:a16="http://schemas.microsoft.com/office/drawing/2014/main" id="{E49E24D7-D6B0-4895-B953-657D01F8B6B7}"/>
              </a:ext>
            </a:extLst>
          </p:cNvPr>
          <p:cNvSpPr/>
          <p:nvPr/>
        </p:nvSpPr>
        <p:spPr>
          <a:xfrm>
            <a:off x="6980205" y="3534576"/>
            <a:ext cx="1633705" cy="656866"/>
          </a:xfrm>
          <a:prstGeom prst="flowChartDecision">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t>Information Checks</a:t>
            </a:r>
          </a:p>
        </p:txBody>
      </p:sp>
      <p:sp>
        <p:nvSpPr>
          <p:cNvPr id="19" name="Slide Number Placeholder 3">
            <a:extLst>
              <a:ext uri="{FF2B5EF4-FFF2-40B4-BE49-F238E27FC236}">
                <a16:creationId xmlns:a16="http://schemas.microsoft.com/office/drawing/2014/main" id="{E9CEF9A4-BECF-4586-AD3C-A8D2225541BF}"/>
              </a:ext>
            </a:extLst>
          </p:cNvPr>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29</a:t>
            </a:fld>
            <a:endParaRPr lang="en-GB" sz="900" dirty="0">
              <a:solidFill>
                <a:prstClr val="white"/>
              </a:solidFill>
              <a:latin typeface="Avenir Next LT Pro"/>
            </a:endParaRPr>
          </a:p>
        </p:txBody>
      </p:sp>
    </p:spTree>
    <p:extLst>
      <p:ext uri="{BB962C8B-B14F-4D97-AF65-F5344CB8AC3E}">
        <p14:creationId xmlns:p14="http://schemas.microsoft.com/office/powerpoint/2010/main" val="3494981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1. Overview of CA Consumer Finance</a:t>
            </a:r>
            <a:endParaRPr lang="en-US" dirty="0"/>
          </a:p>
        </p:txBody>
      </p:sp>
      <p:sp>
        <p:nvSpPr>
          <p:cNvPr id="3" name="Slide Number Placeholder 2"/>
          <p:cNvSpPr>
            <a:spLocks noGrp="1"/>
          </p:cNvSpPr>
          <p:nvPr>
            <p:ph type="sldNum" sz="quarter" idx="19"/>
          </p:nvPr>
        </p:nvSpPr>
        <p:spPr/>
        <p:txBody>
          <a:bodyPr/>
          <a:lstStyle/>
          <a:p>
            <a:fld id="{98BD2159-827C-4021-9B0E-DCD852BEB59E}" type="slidenum">
              <a:rPr lang="en-GB" smtClean="0"/>
              <a:pPr/>
              <a:t>3</a:t>
            </a:fld>
            <a:endParaRPr lang="en-GB" dirty="0"/>
          </a:p>
        </p:txBody>
      </p:sp>
    </p:spTree>
    <p:extLst>
      <p:ext uri="{BB962C8B-B14F-4D97-AF65-F5344CB8AC3E}">
        <p14:creationId xmlns:p14="http://schemas.microsoft.com/office/powerpoint/2010/main" val="25888733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AB6863-3CA7-4EA8-90F9-9584E9C12581}"/>
              </a:ext>
            </a:extLst>
          </p:cNvPr>
          <p:cNvSpPr>
            <a:spLocks noGrp="1"/>
          </p:cNvSpPr>
          <p:nvPr>
            <p:ph type="title"/>
          </p:nvPr>
        </p:nvSpPr>
        <p:spPr/>
        <p:txBody>
          <a:bodyPr/>
          <a:lstStyle/>
          <a:p>
            <a:r>
              <a:rPr lang="en-US" sz="1800" dirty="0">
                <a:solidFill>
                  <a:schemeClr val="tx1"/>
                </a:solidFill>
              </a:rPr>
              <a:t>Credit application</a:t>
            </a:r>
            <a:br>
              <a:rPr lang="en-US" sz="1800" dirty="0">
                <a:solidFill>
                  <a:schemeClr val="tx1"/>
                </a:solidFill>
              </a:rPr>
            </a:br>
            <a:r>
              <a:rPr lang="en-US" sz="1800" dirty="0">
                <a:solidFill>
                  <a:schemeClr val="bg1">
                    <a:lumMod val="75000"/>
                  </a:schemeClr>
                </a:solidFill>
              </a:rPr>
              <a:t>Focus on secured products</a:t>
            </a:r>
            <a:endParaRPr lang="fr-FR" sz="1800" dirty="0">
              <a:solidFill>
                <a:schemeClr val="bg1">
                  <a:lumMod val="75000"/>
                </a:schemeClr>
              </a:solidFill>
            </a:endParaRPr>
          </a:p>
        </p:txBody>
      </p:sp>
      <p:sp>
        <p:nvSpPr>
          <p:cNvPr id="3" name="Espace réservé du numéro de diapositive 2">
            <a:extLst>
              <a:ext uri="{FF2B5EF4-FFF2-40B4-BE49-F238E27FC236}">
                <a16:creationId xmlns:a16="http://schemas.microsoft.com/office/drawing/2014/main" id="{345B4272-E4CD-4B1E-AB2A-B067846E701B}"/>
              </a:ext>
            </a:extLst>
          </p:cNvPr>
          <p:cNvSpPr>
            <a:spLocks noGrp="1"/>
          </p:cNvSpPr>
          <p:nvPr>
            <p:ph type="sldNum" sz="quarter" idx="19"/>
          </p:nvPr>
        </p:nvSpPr>
        <p:spPr/>
        <p:txBody>
          <a:bodyPr/>
          <a:lstStyle/>
          <a:p>
            <a:fld id="{98BD2159-827C-4021-9B0E-DCD852BEB59E}" type="slidenum">
              <a:rPr lang="en-GB" smtClean="0"/>
              <a:pPr/>
              <a:t>30</a:t>
            </a:fld>
            <a:endParaRPr lang="en-GB" dirty="0"/>
          </a:p>
        </p:txBody>
      </p:sp>
      <p:sp>
        <p:nvSpPr>
          <p:cNvPr id="4" name="ZoneTexte 3">
            <a:extLst>
              <a:ext uri="{FF2B5EF4-FFF2-40B4-BE49-F238E27FC236}">
                <a16:creationId xmlns:a16="http://schemas.microsoft.com/office/drawing/2014/main" id="{7B5A2B33-60EC-4730-A2C0-E50C7A026141}"/>
              </a:ext>
            </a:extLst>
          </p:cNvPr>
          <p:cNvSpPr txBox="1"/>
          <p:nvPr/>
        </p:nvSpPr>
        <p:spPr>
          <a:xfrm>
            <a:off x="517608" y="1225826"/>
            <a:ext cx="7665609" cy="3277820"/>
          </a:xfrm>
          <a:prstGeom prst="rect">
            <a:avLst/>
          </a:prstGeom>
          <a:noFill/>
        </p:spPr>
        <p:txBody>
          <a:bodyPr wrap="square" rtlCol="0">
            <a:spAutoFit/>
          </a:bodyPr>
          <a:lstStyle/>
          <a:p>
            <a:endParaRPr lang="fr-FR" sz="900" dirty="0"/>
          </a:p>
          <a:p>
            <a:r>
              <a:rPr lang="fr-FR" sz="900" dirty="0" err="1"/>
              <a:t>Creditlift</a:t>
            </a:r>
            <a:r>
              <a:rPr lang="fr-FR" sz="900" dirty="0"/>
              <a:t> propose 4 </a:t>
            </a:r>
            <a:r>
              <a:rPr lang="fr-FR" sz="900" dirty="0" err="1"/>
              <a:t>debt</a:t>
            </a:r>
            <a:r>
              <a:rPr lang="fr-FR" sz="900" dirty="0"/>
              <a:t> consolidations </a:t>
            </a:r>
            <a:r>
              <a:rPr lang="fr-FR" sz="900" dirty="0" err="1"/>
              <a:t>secured</a:t>
            </a:r>
            <a:r>
              <a:rPr lang="fr-FR" sz="900" dirty="0"/>
              <a:t> </a:t>
            </a:r>
            <a:r>
              <a:rPr lang="fr-FR" sz="900" dirty="0" err="1"/>
              <a:t>products</a:t>
            </a:r>
            <a:r>
              <a:rPr lang="fr-FR" sz="900" dirty="0"/>
              <a:t> : </a:t>
            </a:r>
            <a:r>
              <a:rPr lang="fr-FR" sz="900" dirty="0" err="1"/>
              <a:t>Hypolift</a:t>
            </a:r>
            <a:r>
              <a:rPr lang="fr-FR" sz="900" dirty="0"/>
              <a:t> </a:t>
            </a:r>
            <a:r>
              <a:rPr lang="fr-FR" sz="900" dirty="0" err="1"/>
              <a:t>conso,Hypolift</a:t>
            </a:r>
            <a:r>
              <a:rPr lang="fr-FR" sz="900" dirty="0"/>
              <a:t> </a:t>
            </a:r>
            <a:r>
              <a:rPr lang="fr-FR" sz="900" dirty="0" err="1"/>
              <a:t>Immo,Cautiolift</a:t>
            </a:r>
            <a:r>
              <a:rPr lang="fr-FR" sz="900" dirty="0"/>
              <a:t> conso and </a:t>
            </a:r>
            <a:r>
              <a:rPr lang="fr-FR" sz="900" dirty="0" err="1"/>
              <a:t>Cautiolift</a:t>
            </a:r>
            <a:r>
              <a:rPr lang="fr-FR" sz="900" dirty="0"/>
              <a:t> </a:t>
            </a:r>
            <a:r>
              <a:rPr lang="fr-FR" sz="900" dirty="0" err="1"/>
              <a:t>immo</a:t>
            </a:r>
            <a:r>
              <a:rPr lang="fr-FR" sz="900" dirty="0"/>
              <a:t>.</a:t>
            </a:r>
          </a:p>
          <a:p>
            <a:endParaRPr lang="fr-FR" sz="900" dirty="0"/>
          </a:p>
          <a:p>
            <a:r>
              <a:rPr lang="fr-FR" sz="900" dirty="0" err="1"/>
              <a:t>Specificity</a:t>
            </a:r>
            <a:r>
              <a:rPr lang="fr-FR" sz="900" dirty="0"/>
              <a:t> for </a:t>
            </a:r>
            <a:r>
              <a:rPr lang="fr-FR" sz="900" dirty="0" err="1"/>
              <a:t>Hypolift</a:t>
            </a:r>
            <a:r>
              <a:rPr lang="fr-FR" sz="900" dirty="0"/>
              <a:t> conso and </a:t>
            </a:r>
            <a:r>
              <a:rPr lang="fr-FR" sz="900" dirty="0" err="1"/>
              <a:t>Hypolift</a:t>
            </a:r>
            <a:r>
              <a:rPr lang="fr-FR" sz="900" dirty="0"/>
              <a:t> </a:t>
            </a:r>
            <a:r>
              <a:rPr lang="fr-FR" sz="900" dirty="0" err="1"/>
              <a:t>immo</a:t>
            </a:r>
            <a:r>
              <a:rPr lang="fr-FR" sz="900" dirty="0"/>
              <a:t> :</a:t>
            </a:r>
          </a:p>
          <a:p>
            <a:pPr marL="628650" lvl="1" indent="-171450">
              <a:buFont typeface="Arial" panose="020B0604020202020204" pitchFamily="34" charset="0"/>
              <a:buChar char="•"/>
            </a:pPr>
            <a:r>
              <a:rPr lang="fr-FR" sz="900" dirty="0" err="1"/>
              <a:t>Collateral</a:t>
            </a:r>
            <a:r>
              <a:rPr lang="fr-FR" sz="900" dirty="0"/>
              <a:t> : </a:t>
            </a:r>
            <a:r>
              <a:rPr lang="fr-FR" sz="900" dirty="0" err="1"/>
              <a:t>conventional</a:t>
            </a:r>
            <a:r>
              <a:rPr lang="fr-FR" sz="900" dirty="0"/>
              <a:t> </a:t>
            </a:r>
            <a:r>
              <a:rPr lang="fr-FR" sz="900" dirty="0" err="1"/>
              <a:t>mortgage</a:t>
            </a:r>
            <a:endParaRPr lang="fr-FR" sz="900" dirty="0"/>
          </a:p>
          <a:p>
            <a:pPr marL="628650" lvl="1" indent="-171450">
              <a:buFont typeface="Arial" panose="020B0604020202020204" pitchFamily="34" charset="0"/>
              <a:buChar char="•"/>
            </a:pPr>
            <a:r>
              <a:rPr lang="en-US" sz="900" dirty="0"/>
              <a:t>The mortgage guarantee is an essential and determining condition for the granting of the loan.</a:t>
            </a:r>
            <a:endParaRPr lang="fr-FR" sz="900" dirty="0"/>
          </a:p>
          <a:p>
            <a:pPr marL="628650" lvl="1" indent="-171450">
              <a:buFont typeface="Arial" panose="020B0604020202020204" pitchFamily="34" charset="0"/>
              <a:buChar char="•"/>
            </a:pPr>
            <a:r>
              <a:rPr lang="en-US" sz="900" dirty="0"/>
              <a:t>The property in collateral is as follows: primary residence, secondary residence, rental residence</a:t>
            </a:r>
            <a:r>
              <a:rPr lang="fr-FR" sz="900" dirty="0"/>
              <a:t>.</a:t>
            </a:r>
          </a:p>
          <a:p>
            <a:pPr marL="628650" lvl="1" indent="-171450">
              <a:buFont typeface="Arial" panose="020B0604020202020204" pitchFamily="34" charset="0"/>
              <a:buChar char="•"/>
            </a:pPr>
            <a:r>
              <a:rPr lang="en-US" sz="900" dirty="0"/>
              <a:t>Estimate of the property Mortgaged by </a:t>
            </a:r>
            <a:r>
              <a:rPr lang="en-US" sz="900" dirty="0" err="1"/>
              <a:t>Creditlift</a:t>
            </a:r>
            <a:r>
              <a:rPr lang="en-US" sz="900" dirty="0"/>
              <a:t> analyst using </a:t>
            </a:r>
            <a:r>
              <a:rPr lang="en-US" sz="900" u="sng" dirty="0"/>
              <a:t>immobilier-statistiques-notaires.com</a:t>
            </a:r>
          </a:p>
          <a:p>
            <a:pPr marL="628650" lvl="1" indent="-171450">
              <a:buFont typeface="Arial" panose="020B0604020202020204" pitchFamily="34" charset="0"/>
              <a:buChar char="•"/>
            </a:pPr>
            <a:r>
              <a:rPr lang="en-US" sz="900" dirty="0"/>
              <a:t>Mortgage ratio : &gt;75% of the total originated amount</a:t>
            </a:r>
          </a:p>
          <a:p>
            <a:pPr marL="628650" lvl="1" indent="-171450">
              <a:buFont typeface="Arial" panose="020B0604020202020204" pitchFamily="34" charset="0"/>
              <a:buChar char="•"/>
            </a:pPr>
            <a:r>
              <a:rPr lang="en-US" sz="900" dirty="0"/>
              <a:t>Analysis of the mortgage statement by the notary. (for </a:t>
            </a:r>
            <a:r>
              <a:rPr lang="en-US" sz="900" dirty="0" err="1"/>
              <a:t>Hypolift</a:t>
            </a:r>
            <a:r>
              <a:rPr lang="en-US" sz="900" dirty="0"/>
              <a:t> </a:t>
            </a:r>
            <a:r>
              <a:rPr lang="en-US" sz="900" dirty="0" err="1"/>
              <a:t>conso</a:t>
            </a:r>
            <a:r>
              <a:rPr lang="en-US" sz="900" dirty="0"/>
              <a:t> product only, 2</a:t>
            </a:r>
            <a:r>
              <a:rPr lang="en-US" sz="900" baseline="30000" dirty="0"/>
              <a:t>nd</a:t>
            </a:r>
            <a:r>
              <a:rPr lang="en-US" sz="900" dirty="0"/>
              <a:t> mortgage is acceptable)</a:t>
            </a:r>
          </a:p>
          <a:p>
            <a:pPr marL="628650" lvl="1" indent="-171450">
              <a:buFont typeface="Arial" panose="020B0604020202020204" pitchFamily="34" charset="0"/>
              <a:buChar char="•"/>
            </a:pPr>
            <a:r>
              <a:rPr lang="en-US" sz="900" dirty="0"/>
              <a:t>Signing of the mortgage deed at notary office.</a:t>
            </a:r>
          </a:p>
          <a:p>
            <a:pPr marL="628650" lvl="1" indent="-171450">
              <a:buFont typeface="Arial" panose="020B0604020202020204" pitchFamily="34" charset="0"/>
              <a:buChar char="•"/>
            </a:pPr>
            <a:endParaRPr lang="en-US" sz="900" dirty="0"/>
          </a:p>
          <a:p>
            <a:r>
              <a:rPr lang="fr-FR" sz="900" dirty="0" err="1"/>
              <a:t>Specificity</a:t>
            </a:r>
            <a:r>
              <a:rPr lang="fr-FR" sz="900" dirty="0"/>
              <a:t> for </a:t>
            </a:r>
            <a:r>
              <a:rPr lang="fr-FR" sz="900" dirty="0" err="1"/>
              <a:t>Cautiolift</a:t>
            </a:r>
            <a:r>
              <a:rPr lang="fr-FR" sz="900" dirty="0"/>
              <a:t> conso and </a:t>
            </a:r>
            <a:r>
              <a:rPr lang="fr-FR" sz="900" dirty="0" err="1"/>
              <a:t>Cautiolift</a:t>
            </a:r>
            <a:r>
              <a:rPr lang="fr-FR" sz="900" dirty="0"/>
              <a:t> </a:t>
            </a:r>
            <a:r>
              <a:rPr lang="fr-FR" sz="900" dirty="0" err="1"/>
              <a:t>immo</a:t>
            </a:r>
            <a:r>
              <a:rPr lang="fr-FR" sz="900" dirty="0"/>
              <a:t> :</a:t>
            </a:r>
          </a:p>
          <a:p>
            <a:pPr marL="628650" lvl="1" indent="-171450">
              <a:buFont typeface="Arial" panose="020B0604020202020204" pitchFamily="34" charset="0"/>
              <a:buChar char="•"/>
            </a:pPr>
            <a:r>
              <a:rPr lang="en-US" sz="900" dirty="0"/>
              <a:t>The guarantee issued by </a:t>
            </a:r>
            <a:r>
              <a:rPr lang="en-US" sz="900" dirty="0" err="1"/>
              <a:t>Camca</a:t>
            </a:r>
            <a:r>
              <a:rPr lang="en-US" sz="900" dirty="0"/>
              <a:t> Assurance S.A. is a simple guarantee (i.e. the guarantee only applies from the moment when all the remedies against the Borrower have been exercised by the Lender).</a:t>
            </a:r>
          </a:p>
          <a:p>
            <a:pPr marL="628650" lvl="1" indent="-171450">
              <a:buFont typeface="Arial" panose="020B0604020202020204" pitchFamily="34" charset="0"/>
              <a:buChar char="•"/>
            </a:pPr>
            <a:r>
              <a:rPr lang="en-US" sz="900" dirty="0"/>
              <a:t>The Lender is the beneficiary of this guarantee in the event of default by the Borrower.</a:t>
            </a:r>
          </a:p>
          <a:p>
            <a:pPr marL="628650" lvl="1" indent="-171450">
              <a:buFont typeface="Arial" panose="020B0604020202020204" pitchFamily="34" charset="0"/>
              <a:buChar char="•"/>
            </a:pPr>
            <a:r>
              <a:rPr lang="en-US" sz="900" dirty="0"/>
              <a:t>The residential property, without being backed by the loan guaranteed, must be in full and sole ownership of the Borrower.</a:t>
            </a:r>
          </a:p>
          <a:p>
            <a:pPr marL="628650" lvl="1" indent="-171450">
              <a:buFont typeface="Arial" panose="020B0604020202020204" pitchFamily="34" charset="0"/>
              <a:buChar char="•"/>
            </a:pPr>
            <a:r>
              <a:rPr lang="en-US" sz="900" dirty="0"/>
              <a:t>The residential property is as follows: primary residence, secondary residence, rental residence.</a:t>
            </a:r>
          </a:p>
          <a:p>
            <a:pPr marL="628650" lvl="1" indent="-171450">
              <a:buFont typeface="Arial" panose="020B0604020202020204" pitchFamily="34" charset="0"/>
              <a:buChar char="•"/>
            </a:pPr>
            <a:r>
              <a:rPr lang="en-US" sz="900" dirty="0"/>
              <a:t>Estimate of the property Mortgaged by </a:t>
            </a:r>
            <a:r>
              <a:rPr lang="en-US" sz="900" dirty="0" err="1"/>
              <a:t>Creditlift</a:t>
            </a:r>
            <a:r>
              <a:rPr lang="en-US" sz="900" dirty="0"/>
              <a:t> analyst using </a:t>
            </a:r>
            <a:r>
              <a:rPr lang="en-US" sz="900" u="sng" dirty="0"/>
              <a:t>immobilier-statistiques-notaires.com</a:t>
            </a:r>
          </a:p>
          <a:p>
            <a:pPr marL="628650" lvl="1" indent="-171450">
              <a:buFont typeface="Arial" panose="020B0604020202020204" pitchFamily="34" charset="0"/>
              <a:buChar char="•"/>
            </a:pPr>
            <a:r>
              <a:rPr lang="en-US" sz="900" dirty="0"/>
              <a:t>Surety ratio : &gt;75% of the total originated amount</a:t>
            </a:r>
          </a:p>
          <a:p>
            <a:pPr marL="628650" lvl="1" indent="-171450">
              <a:buFont typeface="Arial" panose="020B0604020202020204" pitchFamily="34" charset="0"/>
              <a:buChar char="•"/>
            </a:pPr>
            <a:r>
              <a:rPr lang="en-US" sz="900" dirty="0" err="1"/>
              <a:t>Creditlift</a:t>
            </a:r>
            <a:r>
              <a:rPr lang="en-US" sz="900" dirty="0"/>
              <a:t> send the surety deed to the credit intermediary via </a:t>
            </a:r>
            <a:r>
              <a:rPr lang="en-US" sz="900" dirty="0" err="1"/>
              <a:t>Ecreditlift</a:t>
            </a:r>
            <a:r>
              <a:rPr lang="en-US" sz="900" dirty="0"/>
              <a:t>.</a:t>
            </a:r>
          </a:p>
          <a:p>
            <a:pPr marL="628650" lvl="1" indent="-171450">
              <a:buFont typeface="Arial" panose="020B0604020202020204" pitchFamily="34" charset="0"/>
              <a:buChar char="•"/>
            </a:pPr>
            <a:r>
              <a:rPr lang="en-US" sz="900" dirty="0"/>
              <a:t>Signing of the deed by the client.</a:t>
            </a:r>
          </a:p>
          <a:p>
            <a:pPr lvl="1"/>
            <a:endParaRPr lang="en-US" sz="900" dirty="0"/>
          </a:p>
        </p:txBody>
      </p:sp>
    </p:spTree>
    <p:extLst>
      <p:ext uri="{BB962C8B-B14F-4D97-AF65-F5344CB8AC3E}">
        <p14:creationId xmlns:p14="http://schemas.microsoft.com/office/powerpoint/2010/main" val="30413256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1800" dirty="0">
                <a:solidFill>
                  <a:prstClr val="black"/>
                </a:solidFill>
              </a:rPr>
              <a:t>Checks &amp; </a:t>
            </a:r>
            <a:r>
              <a:rPr lang="fr-FR" sz="1800" dirty="0" err="1">
                <a:solidFill>
                  <a:prstClr val="black"/>
                </a:solidFill>
              </a:rPr>
              <a:t>Credit</a:t>
            </a:r>
            <a:r>
              <a:rPr lang="fr-FR" sz="1800" dirty="0">
                <a:solidFill>
                  <a:prstClr val="black"/>
                </a:solidFill>
              </a:rPr>
              <a:t> </a:t>
            </a:r>
            <a:r>
              <a:rPr lang="fr-FR" sz="1800" dirty="0" err="1">
                <a:solidFill>
                  <a:prstClr val="black"/>
                </a:solidFill>
              </a:rPr>
              <a:t>Decision</a:t>
            </a:r>
            <a:r>
              <a:rPr lang="fr-FR" sz="1800" dirty="0">
                <a:solidFill>
                  <a:prstClr val="black"/>
                </a:solidFill>
              </a:rPr>
              <a:t> (</a:t>
            </a:r>
            <a:r>
              <a:rPr lang="fr-FR" sz="1800" dirty="0" err="1">
                <a:solidFill>
                  <a:prstClr val="black"/>
                </a:solidFill>
              </a:rPr>
              <a:t>creditlift</a:t>
            </a:r>
            <a:r>
              <a:rPr lang="fr-FR" sz="1800" dirty="0">
                <a:solidFill>
                  <a:prstClr val="black"/>
                </a:solidFill>
              </a:rPr>
              <a:t> and Sofinco)</a:t>
            </a:r>
            <a:endParaRPr lang="en-US" sz="1800" dirty="0">
              <a:solidFill>
                <a:prstClr val="black"/>
              </a:solidFill>
            </a:endParaRPr>
          </a:p>
        </p:txBody>
      </p:sp>
      <p:sp>
        <p:nvSpPr>
          <p:cNvPr id="11" name="Text Box 54"/>
          <p:cNvSpPr txBox="1">
            <a:spLocks noChangeArrowheads="1"/>
          </p:cNvSpPr>
          <p:nvPr/>
        </p:nvSpPr>
        <p:spPr bwMode="auto">
          <a:xfrm>
            <a:off x="486732" y="755375"/>
            <a:ext cx="4582249" cy="5150902"/>
          </a:xfrm>
          <a:prstGeom prst="rect">
            <a:avLst/>
          </a:prstGeom>
          <a:noFill/>
          <a:ln w="12700" algn="ctr">
            <a:noFill/>
            <a:miter lim="800000"/>
            <a:headEnd/>
            <a:tailEnd/>
          </a:ln>
          <a:effectLst/>
        </p:spPr>
        <p:txBody>
          <a:bodyPr wrap="square" lIns="0" tIns="0" rIns="0" bIns="0">
            <a:spAutoFit/>
          </a:bodyPr>
          <a:lstStyle/>
          <a:p>
            <a:pPr marL="180000" lvl="3" indent="-171446" algn="just" defTabSz="457189" eaLnBrk="0" fontAlgn="base" hangingPunct="0">
              <a:lnSpc>
                <a:spcPts val="1100"/>
              </a:lnSpc>
              <a:spcBef>
                <a:spcPct val="20000"/>
              </a:spcBef>
              <a:spcAft>
                <a:spcPts val="600"/>
              </a:spcAft>
              <a:buClr>
                <a:srgbClr val="009B5F"/>
              </a:buClr>
              <a:buSzPct val="133000"/>
              <a:buFont typeface="Wingdings" panose="05000000000000000000" pitchFamily="2" charset="2"/>
              <a:buChar char="§"/>
              <a:tabLst>
                <a:tab pos="803255" algn="l"/>
              </a:tabLst>
              <a:defRPr/>
            </a:pPr>
            <a:r>
              <a:rPr lang="en-GB" altLang="fr-FR" sz="900" kern="0" dirty="0">
                <a:solidFill>
                  <a:prstClr val="black"/>
                </a:solidFill>
              </a:rPr>
              <a:t>Supported by automated decision tools</a:t>
            </a:r>
          </a:p>
          <a:p>
            <a:pPr marL="542909" lvl="3" indent="-180967" defTabSz="457178" fontAlgn="base">
              <a:lnSpc>
                <a:spcPct val="90000"/>
              </a:lnSpc>
              <a:spcBef>
                <a:spcPts val="300"/>
              </a:spcBef>
              <a:spcAft>
                <a:spcPts val="300"/>
              </a:spcAft>
              <a:buClr>
                <a:srgbClr val="009B5F"/>
              </a:buClr>
              <a:buSzPct val="133000"/>
              <a:buFont typeface="Wingdings" panose="05000000000000000000" pitchFamily="2" charset="2"/>
              <a:buChar char="§"/>
              <a:tabLst>
                <a:tab pos="803235" algn="l"/>
              </a:tabLst>
              <a:defRPr/>
            </a:pPr>
            <a:r>
              <a:rPr lang="en-GB" altLang="fr-FR" sz="900" dirty="0">
                <a:solidFill>
                  <a:prstClr val="black"/>
                </a:solidFill>
                <a:ea typeface="MS PGothic" pitchFamily="34" charset="-128"/>
                <a:cs typeface="Arial" panose="020B0604020202020204" pitchFamily="34" charset="0"/>
              </a:rPr>
              <a:t>Automated checks of external (FICP &amp; FCC) and internal</a:t>
            </a:r>
          </a:p>
          <a:p>
            <a:pPr marL="542909" lvl="3" indent="-180967" defTabSz="457178" fontAlgn="base">
              <a:lnSpc>
                <a:spcPct val="90000"/>
              </a:lnSpc>
              <a:spcBef>
                <a:spcPts val="300"/>
              </a:spcBef>
              <a:spcAft>
                <a:spcPts val="300"/>
              </a:spcAft>
              <a:buClr>
                <a:srgbClr val="009B5F"/>
              </a:buClr>
              <a:buSzPct val="133000"/>
              <a:buFont typeface="Wingdings" panose="05000000000000000000" pitchFamily="2" charset="2"/>
              <a:buChar char="§"/>
              <a:tabLst>
                <a:tab pos="803235" algn="l"/>
              </a:tabLst>
              <a:defRPr/>
            </a:pPr>
            <a:r>
              <a:rPr lang="en-GB" altLang="fr-FR" sz="900" dirty="0">
                <a:solidFill>
                  <a:prstClr val="black"/>
                </a:solidFill>
                <a:ea typeface="MS PGothic" pitchFamily="34" charset="-128"/>
                <a:cs typeface="Arial" panose="020B0604020202020204" pitchFamily="34" charset="0"/>
              </a:rPr>
              <a:t> Scoring system</a:t>
            </a:r>
          </a:p>
          <a:p>
            <a:pPr marL="180000" lvl="3" indent="-171446" algn="just" defTabSz="457189" eaLnBrk="0" fontAlgn="base" hangingPunct="0">
              <a:lnSpc>
                <a:spcPts val="1100"/>
              </a:lnSpc>
              <a:spcBef>
                <a:spcPct val="20000"/>
              </a:spcBef>
              <a:spcAft>
                <a:spcPts val="600"/>
              </a:spcAft>
              <a:buClr>
                <a:srgbClr val="009B5F"/>
              </a:buClr>
              <a:buSzPct val="133000"/>
              <a:buFont typeface="Wingdings" panose="05000000000000000000" pitchFamily="2" charset="2"/>
              <a:buChar char="§"/>
              <a:tabLst>
                <a:tab pos="803255" algn="l"/>
              </a:tabLst>
              <a:defRPr/>
            </a:pPr>
            <a:r>
              <a:rPr lang="en-GB" altLang="fr-FR" sz="900" kern="0" dirty="0">
                <a:solidFill>
                  <a:prstClr val="black"/>
                </a:solidFill>
              </a:rPr>
              <a:t>Client documents (proofs of identity, residence, income, indebtedness, etc.) thoroughly checked</a:t>
            </a:r>
          </a:p>
          <a:p>
            <a:pPr marL="180000" lvl="3" indent="-171446" algn="just" defTabSz="457189" eaLnBrk="0" fontAlgn="base" hangingPunct="0">
              <a:lnSpc>
                <a:spcPts val="1100"/>
              </a:lnSpc>
              <a:spcBef>
                <a:spcPct val="20000"/>
              </a:spcBef>
              <a:spcAft>
                <a:spcPts val="600"/>
              </a:spcAft>
              <a:buClr>
                <a:srgbClr val="009B5F"/>
              </a:buClr>
              <a:buSzPct val="133000"/>
              <a:buFont typeface="Wingdings" panose="05000000000000000000" pitchFamily="2" charset="2"/>
              <a:buChar char="§"/>
              <a:tabLst>
                <a:tab pos="803255" algn="l"/>
              </a:tabLst>
              <a:defRPr/>
            </a:pPr>
            <a:r>
              <a:rPr lang="en-GB" altLang="fr-FR" sz="900" kern="0" dirty="0">
                <a:solidFill>
                  <a:prstClr val="black"/>
                </a:solidFill>
              </a:rPr>
              <a:t>Score is based on wide range of parameters including</a:t>
            </a:r>
          </a:p>
          <a:p>
            <a:pPr marL="542909" lvl="3" indent="-180967" defTabSz="457178" fontAlgn="base">
              <a:lnSpc>
                <a:spcPct val="90000"/>
              </a:lnSpc>
              <a:spcBef>
                <a:spcPts val="300"/>
              </a:spcBef>
              <a:spcAft>
                <a:spcPts val="300"/>
              </a:spcAft>
              <a:buClr>
                <a:srgbClr val="009B5F"/>
              </a:buClr>
              <a:buSzPct val="133000"/>
              <a:buFont typeface="Wingdings" panose="05000000000000000000" pitchFamily="2" charset="2"/>
              <a:buChar char="§"/>
              <a:tabLst>
                <a:tab pos="803235" algn="l"/>
              </a:tabLst>
              <a:defRPr/>
            </a:pPr>
            <a:r>
              <a:rPr lang="en-GB" altLang="fr-FR" sz="900" dirty="0">
                <a:solidFill>
                  <a:prstClr val="black"/>
                </a:solidFill>
                <a:ea typeface="MS PGothic" pitchFamily="34" charset="-128"/>
                <a:cs typeface="Arial" panose="020B0604020202020204" pitchFamily="34" charset="0"/>
              </a:rPr>
              <a:t>applicant’s details (age, income, other loans and leases, profession, employment history, bank history, etc.)</a:t>
            </a:r>
          </a:p>
          <a:p>
            <a:pPr marL="542909" lvl="3" indent="-180967" defTabSz="457178" fontAlgn="base">
              <a:lnSpc>
                <a:spcPct val="90000"/>
              </a:lnSpc>
              <a:spcBef>
                <a:spcPts val="300"/>
              </a:spcBef>
              <a:spcAft>
                <a:spcPts val="300"/>
              </a:spcAft>
              <a:buClr>
                <a:srgbClr val="009B5F"/>
              </a:buClr>
              <a:buSzPct val="133000"/>
              <a:buFont typeface="Wingdings" panose="05000000000000000000" pitchFamily="2" charset="2"/>
              <a:buChar char="§"/>
              <a:tabLst>
                <a:tab pos="803235" algn="l"/>
              </a:tabLst>
              <a:defRPr/>
            </a:pPr>
            <a:r>
              <a:rPr lang="en-GB" altLang="fr-FR" sz="900" dirty="0">
                <a:solidFill>
                  <a:prstClr val="black"/>
                </a:solidFill>
                <a:ea typeface="MS PGothic" pitchFamily="34" charset="-128"/>
                <a:cs typeface="Arial" panose="020B0604020202020204" pitchFamily="34" charset="0"/>
              </a:rPr>
              <a:t>type of loan</a:t>
            </a:r>
          </a:p>
          <a:p>
            <a:pPr marL="542909" lvl="3" indent="-180967" defTabSz="457178" fontAlgn="base">
              <a:lnSpc>
                <a:spcPct val="90000"/>
              </a:lnSpc>
              <a:spcBef>
                <a:spcPts val="300"/>
              </a:spcBef>
              <a:spcAft>
                <a:spcPts val="300"/>
              </a:spcAft>
              <a:buClr>
                <a:srgbClr val="009B5F"/>
              </a:buClr>
              <a:buSzPct val="133000"/>
              <a:buFont typeface="Wingdings" panose="05000000000000000000" pitchFamily="2" charset="2"/>
              <a:buChar char="§"/>
              <a:tabLst>
                <a:tab pos="803235" algn="l"/>
              </a:tabLst>
              <a:defRPr/>
            </a:pPr>
            <a:r>
              <a:rPr lang="en-GB" altLang="fr-FR" sz="900" dirty="0">
                <a:solidFill>
                  <a:prstClr val="black"/>
                </a:solidFill>
                <a:ea typeface="MS PGothic" pitchFamily="34" charset="-128"/>
                <a:cs typeface="Arial" panose="020B0604020202020204" pitchFamily="34" charset="0"/>
              </a:rPr>
              <a:t>T&amp;Cs of the loan</a:t>
            </a:r>
          </a:p>
          <a:p>
            <a:pPr marL="542909" lvl="3" indent="-180967" defTabSz="457178" fontAlgn="base">
              <a:lnSpc>
                <a:spcPct val="90000"/>
              </a:lnSpc>
              <a:spcBef>
                <a:spcPts val="300"/>
              </a:spcBef>
              <a:spcAft>
                <a:spcPts val="300"/>
              </a:spcAft>
              <a:buClr>
                <a:srgbClr val="009B5F"/>
              </a:buClr>
              <a:buSzPct val="133000"/>
              <a:buFont typeface="Wingdings" panose="05000000000000000000" pitchFamily="2" charset="2"/>
              <a:buChar char="§"/>
              <a:tabLst>
                <a:tab pos="803235" algn="l"/>
              </a:tabLst>
              <a:defRPr/>
            </a:pPr>
            <a:r>
              <a:rPr lang="en-GB" altLang="fr-FR" sz="900" dirty="0">
                <a:solidFill>
                  <a:prstClr val="black"/>
                </a:solidFill>
                <a:ea typeface="MS PGothic" pitchFamily="34" charset="-128"/>
                <a:cs typeface="Arial" panose="020B0604020202020204" pitchFamily="34" charset="0"/>
              </a:rPr>
              <a:t>credit history of applicant (internal &amp; external credit database)</a:t>
            </a:r>
          </a:p>
          <a:p>
            <a:pPr marL="180000" lvl="3" indent="-171446" algn="just" defTabSz="457189" eaLnBrk="0" fontAlgn="base" hangingPunct="0">
              <a:lnSpc>
                <a:spcPts val="1100"/>
              </a:lnSpc>
              <a:spcBef>
                <a:spcPct val="20000"/>
              </a:spcBef>
              <a:spcAft>
                <a:spcPts val="600"/>
              </a:spcAft>
              <a:buClr>
                <a:srgbClr val="009B5F"/>
              </a:buClr>
              <a:buSzPct val="133000"/>
              <a:buFont typeface="Wingdings" panose="05000000000000000000" pitchFamily="2" charset="2"/>
              <a:buChar char="§"/>
              <a:tabLst>
                <a:tab pos="803255" algn="l"/>
              </a:tabLst>
              <a:defRPr/>
            </a:pPr>
            <a:r>
              <a:rPr lang="en-GB" altLang="fr-FR" sz="900" kern="0" dirty="0">
                <a:solidFill>
                  <a:prstClr val="black"/>
                </a:solidFill>
              </a:rPr>
              <a:t>Score cards</a:t>
            </a:r>
          </a:p>
          <a:p>
            <a:pPr marL="542909" lvl="3" indent="-180967" defTabSz="457178" fontAlgn="base">
              <a:lnSpc>
                <a:spcPct val="90000"/>
              </a:lnSpc>
              <a:spcBef>
                <a:spcPts val="300"/>
              </a:spcBef>
              <a:spcAft>
                <a:spcPts val="300"/>
              </a:spcAft>
              <a:buClr>
                <a:srgbClr val="009B5F"/>
              </a:buClr>
              <a:buSzPct val="133000"/>
              <a:buFont typeface="Wingdings" panose="05000000000000000000" pitchFamily="2" charset="2"/>
              <a:buChar char="§"/>
              <a:tabLst>
                <a:tab pos="803235" algn="l"/>
              </a:tabLst>
              <a:defRPr/>
            </a:pPr>
            <a:r>
              <a:rPr lang="en-GB" altLang="fr-FR" sz="900" dirty="0">
                <a:solidFill>
                  <a:prstClr val="black"/>
                </a:solidFill>
                <a:ea typeface="MS PGothic" pitchFamily="34" charset="-128"/>
                <a:cs typeface="Arial" panose="020B0604020202020204" pitchFamily="34" charset="0"/>
              </a:rPr>
              <a:t>developed internally and by external agencies (Fair Isaac)</a:t>
            </a:r>
          </a:p>
          <a:p>
            <a:pPr marL="542909" lvl="3" indent="-180967" defTabSz="457178" fontAlgn="base">
              <a:lnSpc>
                <a:spcPct val="90000"/>
              </a:lnSpc>
              <a:spcBef>
                <a:spcPts val="300"/>
              </a:spcBef>
              <a:spcAft>
                <a:spcPts val="300"/>
              </a:spcAft>
              <a:buClr>
                <a:srgbClr val="009B5F"/>
              </a:buClr>
              <a:buSzPct val="133000"/>
              <a:buFont typeface="Wingdings" panose="05000000000000000000" pitchFamily="2" charset="2"/>
              <a:buChar char="§"/>
              <a:tabLst>
                <a:tab pos="803235" algn="l"/>
              </a:tabLst>
              <a:defRPr/>
            </a:pPr>
            <a:r>
              <a:rPr lang="en-GB" altLang="fr-FR" sz="900" dirty="0">
                <a:solidFill>
                  <a:prstClr val="black"/>
                </a:solidFill>
                <a:ea typeface="MS PGothic" pitchFamily="34" charset="-128"/>
                <a:cs typeface="Arial" panose="020B0604020202020204" pitchFamily="34" charset="0"/>
              </a:rPr>
              <a:t>depend on segment / product / client profile </a:t>
            </a:r>
          </a:p>
          <a:p>
            <a:pPr marL="180000" lvl="3" indent="-171446" algn="just" defTabSz="457189" eaLnBrk="0" fontAlgn="base" hangingPunct="0">
              <a:lnSpc>
                <a:spcPts val="1100"/>
              </a:lnSpc>
              <a:spcBef>
                <a:spcPct val="20000"/>
              </a:spcBef>
              <a:spcAft>
                <a:spcPts val="600"/>
              </a:spcAft>
              <a:buClr>
                <a:srgbClr val="009B5F"/>
              </a:buClr>
              <a:buSzPct val="133000"/>
              <a:buFont typeface="Wingdings" panose="05000000000000000000" pitchFamily="2" charset="2"/>
              <a:buChar char="§"/>
              <a:tabLst>
                <a:tab pos="803255" algn="l"/>
              </a:tabLst>
              <a:defRPr/>
            </a:pPr>
            <a:r>
              <a:rPr lang="en-GB" altLang="fr-FR" sz="900" kern="0" dirty="0">
                <a:solidFill>
                  <a:prstClr val="black"/>
                </a:solidFill>
              </a:rPr>
              <a:t>Underwriting decision by duly authorised personnel, according to delegations: at Branch level, credit risk committee, regional level or head office</a:t>
            </a:r>
          </a:p>
          <a:p>
            <a:pPr marL="180000" lvl="3" indent="-171446" algn="just" defTabSz="457189" eaLnBrk="0" fontAlgn="base" hangingPunct="0">
              <a:lnSpc>
                <a:spcPts val="1100"/>
              </a:lnSpc>
              <a:spcBef>
                <a:spcPct val="20000"/>
              </a:spcBef>
              <a:spcAft>
                <a:spcPts val="600"/>
              </a:spcAft>
              <a:buClr>
                <a:srgbClr val="009B5F"/>
              </a:buClr>
              <a:buSzPct val="133000"/>
              <a:buFont typeface="Wingdings" panose="05000000000000000000" pitchFamily="2" charset="2"/>
              <a:buChar char="§"/>
              <a:tabLst>
                <a:tab pos="803255" algn="l"/>
              </a:tabLst>
              <a:defRPr/>
            </a:pPr>
            <a:r>
              <a:rPr lang="en-US" altLang="fr-FR" sz="900" kern="0" dirty="0">
                <a:solidFill>
                  <a:prstClr val="black"/>
                </a:solidFill>
              </a:rPr>
              <a:t>Rate of Acceptance despite Negative recommendation : 5,72%</a:t>
            </a:r>
          </a:p>
          <a:p>
            <a:pPr marL="180000" lvl="3" indent="-171446" algn="just" defTabSz="457189" eaLnBrk="0" fontAlgn="base" hangingPunct="0">
              <a:lnSpc>
                <a:spcPts val="1100"/>
              </a:lnSpc>
              <a:spcBef>
                <a:spcPct val="20000"/>
              </a:spcBef>
              <a:spcAft>
                <a:spcPts val="600"/>
              </a:spcAft>
              <a:buClr>
                <a:srgbClr val="009B5F"/>
              </a:buClr>
              <a:buSzPct val="133000"/>
              <a:buFont typeface="Wingdings" panose="05000000000000000000" pitchFamily="2" charset="2"/>
              <a:buChar char="§"/>
              <a:tabLst>
                <a:tab pos="803255" algn="l"/>
              </a:tabLst>
              <a:defRPr/>
            </a:pPr>
            <a:r>
              <a:rPr lang="en-US" altLang="fr-FR" sz="900" kern="0" dirty="0">
                <a:solidFill>
                  <a:prstClr val="black"/>
                </a:solidFill>
              </a:rPr>
              <a:t>Rate of acceptance depends on markets circa (2023) :</a:t>
            </a:r>
          </a:p>
          <a:p>
            <a:pPr marL="8554" lvl="3" algn="just" defTabSz="457189" eaLnBrk="0" fontAlgn="base" hangingPunct="0">
              <a:lnSpc>
                <a:spcPts val="1100"/>
              </a:lnSpc>
              <a:spcBef>
                <a:spcPct val="20000"/>
              </a:spcBef>
              <a:spcAft>
                <a:spcPts val="600"/>
              </a:spcAft>
              <a:buClr>
                <a:srgbClr val="009B5F"/>
              </a:buClr>
              <a:buSzPct val="133000"/>
              <a:tabLst>
                <a:tab pos="803255" algn="l"/>
              </a:tabLst>
              <a:defRPr/>
            </a:pPr>
            <a:r>
              <a:rPr lang="en-US" altLang="fr-FR" sz="900" kern="0" dirty="0">
                <a:solidFill>
                  <a:prstClr val="black"/>
                </a:solidFill>
              </a:rPr>
              <a:t>        61% for debt consolidation loans brokerage</a:t>
            </a:r>
          </a:p>
          <a:p>
            <a:pPr marL="180000" lvl="3" indent="-171446" algn="just" defTabSz="457189" eaLnBrk="0" fontAlgn="base" hangingPunct="0">
              <a:lnSpc>
                <a:spcPts val="1100"/>
              </a:lnSpc>
              <a:spcBef>
                <a:spcPct val="20000"/>
              </a:spcBef>
              <a:spcAft>
                <a:spcPts val="600"/>
              </a:spcAft>
              <a:buClr>
                <a:srgbClr val="009B5F"/>
              </a:buClr>
              <a:buSzPct val="133000"/>
              <a:buFont typeface="Wingdings" panose="05000000000000000000" pitchFamily="2" charset="2"/>
              <a:buChar char="§"/>
              <a:tabLst>
                <a:tab pos="803255" algn="l"/>
              </a:tabLst>
              <a:defRPr/>
            </a:pPr>
            <a:endParaRPr lang="en-US" altLang="fr-FR" sz="1100" b="1" kern="0" dirty="0">
              <a:solidFill>
                <a:prstClr val="black"/>
              </a:solidFill>
              <a:latin typeface="Arial" pitchFamily="34" charset="0"/>
              <a:ea typeface="MS PGothic" pitchFamily="34" charset="-128"/>
            </a:endParaRPr>
          </a:p>
          <a:p>
            <a:pPr marL="180000" lvl="3" indent="-171446" algn="just" defTabSz="457189" eaLnBrk="0" fontAlgn="base" hangingPunct="0">
              <a:lnSpc>
                <a:spcPts val="1100"/>
              </a:lnSpc>
              <a:spcBef>
                <a:spcPct val="20000"/>
              </a:spcBef>
              <a:spcAft>
                <a:spcPts val="600"/>
              </a:spcAft>
              <a:buClr>
                <a:srgbClr val="009B5F"/>
              </a:buClr>
              <a:buSzPct val="133000"/>
              <a:buFont typeface="Wingdings" panose="05000000000000000000" pitchFamily="2" charset="2"/>
              <a:buChar char="§"/>
              <a:tabLst>
                <a:tab pos="803255" algn="l"/>
              </a:tabLst>
              <a:defRPr/>
            </a:pPr>
            <a:endParaRPr lang="en-GB" altLang="fr-FR" sz="1100" kern="0" dirty="0">
              <a:solidFill>
                <a:prstClr val="black"/>
              </a:solidFill>
            </a:endParaRPr>
          </a:p>
          <a:p>
            <a:pPr marL="8554" lvl="3" algn="just" defTabSz="457189" eaLnBrk="0" fontAlgn="base" hangingPunct="0">
              <a:lnSpc>
                <a:spcPts val="1100"/>
              </a:lnSpc>
              <a:spcBef>
                <a:spcPct val="20000"/>
              </a:spcBef>
              <a:spcAft>
                <a:spcPts val="600"/>
              </a:spcAft>
              <a:buClr>
                <a:srgbClr val="009B5F"/>
              </a:buClr>
              <a:buSzPct val="133000"/>
              <a:tabLst>
                <a:tab pos="803255" algn="l"/>
              </a:tabLst>
              <a:defRPr/>
            </a:pPr>
            <a:endParaRPr lang="en-GB" altLang="fr-FR" sz="863" b="1" kern="0" dirty="0">
              <a:solidFill>
                <a:prstClr val="black"/>
              </a:solidFill>
              <a:latin typeface="Arial" pitchFamily="34" charset="0"/>
              <a:ea typeface="MS PGothic" pitchFamily="34" charset="-128"/>
            </a:endParaRPr>
          </a:p>
          <a:p>
            <a:pPr algn="just" defTabSz="914378" eaLnBrk="0" hangingPunct="0">
              <a:spcBef>
                <a:spcPct val="30000"/>
              </a:spcBef>
              <a:spcAft>
                <a:spcPct val="30000"/>
              </a:spcAft>
              <a:buSzPct val="120000"/>
              <a:tabLst>
                <a:tab pos="3409865" algn="l"/>
              </a:tabLst>
              <a:defRPr/>
            </a:pPr>
            <a:endParaRPr lang="en-GB" altLang="fr-FR" sz="863" b="1" kern="0" dirty="0">
              <a:solidFill>
                <a:prstClr val="black"/>
              </a:solidFill>
              <a:latin typeface="Arial" pitchFamily="34" charset="0"/>
              <a:ea typeface="MS PGothic" pitchFamily="34" charset="-128"/>
            </a:endParaRPr>
          </a:p>
          <a:p>
            <a:pPr algn="just" defTabSz="914378" eaLnBrk="0" hangingPunct="0">
              <a:spcBef>
                <a:spcPct val="30000"/>
              </a:spcBef>
              <a:spcAft>
                <a:spcPct val="30000"/>
              </a:spcAft>
              <a:buSzPct val="120000"/>
              <a:tabLst>
                <a:tab pos="3409865" algn="l"/>
              </a:tabLst>
              <a:defRPr/>
            </a:pPr>
            <a:endParaRPr lang="en-GB" altLang="fr-FR" sz="863" b="1" kern="0" dirty="0">
              <a:solidFill>
                <a:prstClr val="black"/>
              </a:solidFill>
              <a:latin typeface="Arial" pitchFamily="34" charset="0"/>
              <a:ea typeface="MS PGothic" pitchFamily="34" charset="-128"/>
            </a:endParaRPr>
          </a:p>
        </p:txBody>
      </p:sp>
      <p:sp>
        <p:nvSpPr>
          <p:cNvPr id="7" name="Rectangle 6"/>
          <p:cNvSpPr/>
          <p:nvPr/>
        </p:nvSpPr>
        <p:spPr>
          <a:xfrm>
            <a:off x="6373048" y="815459"/>
            <a:ext cx="1140922" cy="182250"/>
          </a:xfrm>
          <a:prstGeom prst="rect">
            <a:avLst/>
          </a:prstGeom>
          <a:ln>
            <a:solidFill>
              <a:schemeClr val="tx1"/>
            </a:solidFill>
          </a:ln>
        </p:spPr>
        <p:style>
          <a:lnRef idx="3">
            <a:schemeClr val="lt1"/>
          </a:lnRef>
          <a:fillRef idx="1">
            <a:schemeClr val="accent3"/>
          </a:fillRef>
          <a:effectRef idx="1">
            <a:schemeClr val="accent3"/>
          </a:effectRef>
          <a:fontRef idx="minor">
            <a:schemeClr val="lt1"/>
          </a:fontRef>
        </p:style>
        <p:txBody>
          <a:bodyPr rtlCol="0" anchor="ctr"/>
          <a:lstStyle/>
          <a:p>
            <a:pPr algn="ctr" defTabSz="685800"/>
            <a:r>
              <a:rPr lang="fr-FR" sz="750" b="1" dirty="0">
                <a:solidFill>
                  <a:prstClr val="white"/>
                </a:solidFill>
                <a:latin typeface="Arial"/>
              </a:rPr>
              <a:t>Input client data</a:t>
            </a:r>
          </a:p>
        </p:txBody>
      </p:sp>
      <p:sp>
        <p:nvSpPr>
          <p:cNvPr id="8" name="Organigramme : Décision 37"/>
          <p:cNvSpPr/>
          <p:nvPr/>
        </p:nvSpPr>
        <p:spPr>
          <a:xfrm>
            <a:off x="6392298" y="1321859"/>
            <a:ext cx="1102420" cy="500444"/>
          </a:xfrm>
          <a:prstGeom prst="flowChartDecision">
            <a:avLst/>
          </a:prstGeom>
          <a:ln>
            <a:solidFill>
              <a:schemeClr val="tx1"/>
            </a:solidFill>
          </a:ln>
        </p:spPr>
        <p:style>
          <a:lnRef idx="3">
            <a:schemeClr val="lt1"/>
          </a:lnRef>
          <a:fillRef idx="1">
            <a:schemeClr val="accent3"/>
          </a:fillRef>
          <a:effectRef idx="1">
            <a:schemeClr val="accent3"/>
          </a:effectRef>
          <a:fontRef idx="minor">
            <a:schemeClr val="lt1"/>
          </a:fontRef>
        </p:style>
        <p:txBody>
          <a:bodyPr rtlCol="0" anchor="ctr"/>
          <a:lstStyle/>
          <a:p>
            <a:pPr algn="ctr" defTabSz="685800"/>
            <a:r>
              <a:rPr lang="fr-FR" sz="525" b="1" dirty="0" err="1">
                <a:solidFill>
                  <a:prstClr val="white"/>
                </a:solidFill>
                <a:latin typeface="Arial"/>
              </a:rPr>
              <a:t>Database</a:t>
            </a:r>
            <a:r>
              <a:rPr lang="fr-FR" sz="525" b="1" dirty="0">
                <a:solidFill>
                  <a:prstClr val="white"/>
                </a:solidFill>
                <a:latin typeface="Arial"/>
              </a:rPr>
              <a:t> </a:t>
            </a:r>
            <a:r>
              <a:rPr lang="fr-FR" sz="525" b="1" dirty="0" err="1">
                <a:solidFill>
                  <a:prstClr val="white"/>
                </a:solidFill>
                <a:latin typeface="Arial"/>
              </a:rPr>
              <a:t>Checks</a:t>
            </a:r>
            <a:r>
              <a:rPr lang="fr-FR" sz="525" b="1" dirty="0">
                <a:solidFill>
                  <a:prstClr val="white"/>
                </a:solidFill>
                <a:latin typeface="Arial"/>
              </a:rPr>
              <a:t> (FCC, FICP)</a:t>
            </a:r>
          </a:p>
        </p:txBody>
      </p:sp>
      <p:cxnSp>
        <p:nvCxnSpPr>
          <p:cNvPr id="9" name="Connecteur droit avec flèche 38"/>
          <p:cNvCxnSpPr/>
          <p:nvPr/>
        </p:nvCxnSpPr>
        <p:spPr>
          <a:xfrm>
            <a:off x="6939475" y="1016698"/>
            <a:ext cx="123" cy="24933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 name="Connecteur droit avec flèche 39"/>
          <p:cNvCxnSpPr/>
          <p:nvPr/>
        </p:nvCxnSpPr>
        <p:spPr>
          <a:xfrm flipH="1">
            <a:off x="6943507" y="1822303"/>
            <a:ext cx="2" cy="26808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2" name="ZoneTexte 40"/>
          <p:cNvSpPr txBox="1"/>
          <p:nvPr/>
        </p:nvSpPr>
        <p:spPr>
          <a:xfrm>
            <a:off x="7009585" y="1842162"/>
            <a:ext cx="566170" cy="215893"/>
          </a:xfrm>
          <a:prstGeom prst="rect">
            <a:avLst/>
          </a:prstGeom>
          <a:noFill/>
        </p:spPr>
        <p:txBody>
          <a:bodyPr wrap="square" rtlCol="0">
            <a:spAutoFit/>
          </a:bodyPr>
          <a:lstStyle/>
          <a:p>
            <a:pPr defTabSz="685800"/>
            <a:r>
              <a:rPr lang="fr-FR" sz="803" b="1" dirty="0" err="1">
                <a:solidFill>
                  <a:prstClr val="black"/>
                </a:solidFill>
                <a:latin typeface="Arial"/>
              </a:rPr>
              <a:t>Pass</a:t>
            </a:r>
            <a:endParaRPr lang="fr-FR" sz="803" b="1" dirty="0">
              <a:solidFill>
                <a:prstClr val="black"/>
              </a:solidFill>
              <a:latin typeface="Arial"/>
            </a:endParaRPr>
          </a:p>
        </p:txBody>
      </p:sp>
      <p:sp>
        <p:nvSpPr>
          <p:cNvPr id="13" name="Rectangle 12"/>
          <p:cNvSpPr/>
          <p:nvPr/>
        </p:nvSpPr>
        <p:spPr>
          <a:xfrm>
            <a:off x="6373048" y="2110247"/>
            <a:ext cx="1140922" cy="16373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803" b="1" dirty="0">
                <a:solidFill>
                  <a:prstClr val="black"/>
                </a:solidFill>
                <a:latin typeface="Arial"/>
              </a:rPr>
              <a:t>Expert </a:t>
            </a:r>
            <a:r>
              <a:rPr lang="fr-FR" sz="803" b="1" dirty="0" err="1">
                <a:solidFill>
                  <a:prstClr val="black"/>
                </a:solidFill>
                <a:latin typeface="Arial"/>
              </a:rPr>
              <a:t>Rules</a:t>
            </a:r>
            <a:endParaRPr lang="fr-FR" sz="803" b="1" dirty="0">
              <a:solidFill>
                <a:prstClr val="black"/>
              </a:solidFill>
              <a:latin typeface="Arial"/>
            </a:endParaRPr>
          </a:p>
        </p:txBody>
      </p:sp>
      <p:sp>
        <p:nvSpPr>
          <p:cNvPr id="14" name="Rectangle 13"/>
          <p:cNvSpPr/>
          <p:nvPr/>
        </p:nvSpPr>
        <p:spPr>
          <a:xfrm>
            <a:off x="6373047" y="2532474"/>
            <a:ext cx="1140922" cy="16373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803" b="1" dirty="0">
                <a:solidFill>
                  <a:prstClr val="black"/>
                </a:solidFill>
                <a:latin typeface="Arial"/>
              </a:rPr>
              <a:t>Scoring</a:t>
            </a:r>
          </a:p>
        </p:txBody>
      </p:sp>
      <p:sp>
        <p:nvSpPr>
          <p:cNvPr id="15" name="Organigramme : Décision 43"/>
          <p:cNvSpPr/>
          <p:nvPr/>
        </p:nvSpPr>
        <p:spPr>
          <a:xfrm>
            <a:off x="6373047" y="3186948"/>
            <a:ext cx="1102420" cy="500444"/>
          </a:xfrm>
          <a:prstGeom prst="flowChartDecision">
            <a:avLst/>
          </a:prstGeom>
          <a:ln>
            <a:solidFill>
              <a:schemeClr val="tx1"/>
            </a:solidFill>
          </a:ln>
        </p:spPr>
        <p:style>
          <a:lnRef idx="3">
            <a:schemeClr val="lt1"/>
          </a:lnRef>
          <a:fillRef idx="1">
            <a:schemeClr val="accent3"/>
          </a:fillRef>
          <a:effectRef idx="1">
            <a:schemeClr val="accent3"/>
          </a:effectRef>
          <a:fontRef idx="minor">
            <a:schemeClr val="lt1"/>
          </a:fontRef>
        </p:style>
        <p:txBody>
          <a:bodyPr rtlCol="0" anchor="ctr"/>
          <a:lstStyle/>
          <a:p>
            <a:pPr algn="ctr" defTabSz="685800"/>
            <a:r>
              <a:rPr lang="fr-FR" sz="525" b="1" dirty="0">
                <a:solidFill>
                  <a:prstClr val="white"/>
                </a:solidFill>
                <a:latin typeface="Arial"/>
              </a:rPr>
              <a:t>Client Documents </a:t>
            </a:r>
            <a:r>
              <a:rPr lang="fr-FR" sz="525" b="1" dirty="0" err="1">
                <a:solidFill>
                  <a:prstClr val="white"/>
                </a:solidFill>
                <a:latin typeface="Arial"/>
              </a:rPr>
              <a:t>Checks</a:t>
            </a:r>
            <a:endParaRPr lang="fr-FR" sz="525" b="1" dirty="0">
              <a:solidFill>
                <a:prstClr val="white"/>
              </a:solidFill>
              <a:latin typeface="Arial"/>
            </a:endParaRPr>
          </a:p>
        </p:txBody>
      </p:sp>
      <p:sp>
        <p:nvSpPr>
          <p:cNvPr id="16" name="Rectangle 15"/>
          <p:cNvSpPr/>
          <p:nvPr/>
        </p:nvSpPr>
        <p:spPr>
          <a:xfrm>
            <a:off x="6369015" y="3843712"/>
            <a:ext cx="1140922" cy="16373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803" b="1" dirty="0" err="1">
                <a:solidFill>
                  <a:prstClr val="black"/>
                </a:solidFill>
                <a:latin typeface="Arial"/>
              </a:rPr>
              <a:t>Manual</a:t>
            </a:r>
            <a:r>
              <a:rPr lang="fr-FR" sz="803" b="1" dirty="0">
                <a:solidFill>
                  <a:prstClr val="black"/>
                </a:solidFill>
                <a:latin typeface="Arial"/>
              </a:rPr>
              <a:t> </a:t>
            </a:r>
            <a:r>
              <a:rPr lang="fr-FR" sz="803" b="1" dirty="0" err="1">
                <a:solidFill>
                  <a:prstClr val="black"/>
                </a:solidFill>
                <a:latin typeface="Arial"/>
              </a:rPr>
              <a:t>Decision</a:t>
            </a:r>
            <a:endParaRPr lang="fr-FR" sz="803" b="1" dirty="0">
              <a:solidFill>
                <a:prstClr val="black"/>
              </a:solidFill>
              <a:latin typeface="Arial"/>
            </a:endParaRPr>
          </a:p>
        </p:txBody>
      </p:sp>
      <p:sp>
        <p:nvSpPr>
          <p:cNvPr id="18" name="Rectangle 17"/>
          <p:cNvSpPr/>
          <p:nvPr/>
        </p:nvSpPr>
        <p:spPr>
          <a:xfrm>
            <a:off x="5295483" y="4455287"/>
            <a:ext cx="789899" cy="163733"/>
          </a:xfrm>
          <a:prstGeom prst="rect">
            <a:avLst/>
          </a:prstGeom>
          <a:ln>
            <a:solidFill>
              <a:schemeClr val="tx1"/>
            </a:solidFill>
          </a:ln>
        </p:spPr>
        <p:style>
          <a:lnRef idx="3">
            <a:schemeClr val="lt1"/>
          </a:lnRef>
          <a:fillRef idx="1">
            <a:schemeClr val="accent3"/>
          </a:fillRef>
          <a:effectRef idx="1">
            <a:schemeClr val="accent3"/>
          </a:effectRef>
          <a:fontRef idx="minor">
            <a:schemeClr val="lt1"/>
          </a:fontRef>
        </p:style>
        <p:txBody>
          <a:bodyPr rtlCol="0" anchor="ctr"/>
          <a:lstStyle/>
          <a:p>
            <a:pPr algn="ctr" defTabSz="685800"/>
            <a:r>
              <a:rPr lang="fr-FR" sz="803" b="1" dirty="0" err="1">
                <a:solidFill>
                  <a:prstClr val="white"/>
                </a:solidFill>
                <a:latin typeface="Arial"/>
              </a:rPr>
              <a:t>Accept</a:t>
            </a:r>
            <a:endParaRPr lang="fr-FR" sz="803" b="1" dirty="0">
              <a:solidFill>
                <a:prstClr val="white"/>
              </a:solidFill>
              <a:latin typeface="Arial"/>
            </a:endParaRPr>
          </a:p>
        </p:txBody>
      </p:sp>
      <p:sp>
        <p:nvSpPr>
          <p:cNvPr id="19" name="Rectangle 18"/>
          <p:cNvSpPr/>
          <p:nvPr/>
        </p:nvSpPr>
        <p:spPr>
          <a:xfrm>
            <a:off x="6529306" y="4429071"/>
            <a:ext cx="789899" cy="163733"/>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803" b="1" dirty="0">
                <a:solidFill>
                  <a:prstClr val="black"/>
                </a:solidFill>
                <a:latin typeface="Arial"/>
              </a:rPr>
              <a:t>Exception</a:t>
            </a:r>
          </a:p>
        </p:txBody>
      </p:sp>
      <p:sp>
        <p:nvSpPr>
          <p:cNvPr id="20" name="Rectangle 19"/>
          <p:cNvSpPr/>
          <p:nvPr/>
        </p:nvSpPr>
        <p:spPr>
          <a:xfrm>
            <a:off x="7807236" y="4455288"/>
            <a:ext cx="789899" cy="163733"/>
          </a:xfrm>
          <a:prstGeom prst="rect">
            <a:avLst/>
          </a:prstGeom>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85800"/>
            <a:r>
              <a:rPr lang="fr-FR" sz="803" b="1" dirty="0" err="1">
                <a:solidFill>
                  <a:prstClr val="white"/>
                </a:solidFill>
                <a:latin typeface="Arial"/>
              </a:rPr>
              <a:t>Reject</a:t>
            </a:r>
            <a:endParaRPr lang="fr-FR" sz="803" b="1" dirty="0">
              <a:solidFill>
                <a:prstClr val="white"/>
              </a:solidFill>
              <a:latin typeface="Arial"/>
            </a:endParaRPr>
          </a:p>
        </p:txBody>
      </p:sp>
      <p:sp>
        <p:nvSpPr>
          <p:cNvPr id="21" name="Rectangle 20"/>
          <p:cNvSpPr/>
          <p:nvPr/>
        </p:nvSpPr>
        <p:spPr>
          <a:xfrm>
            <a:off x="7834325" y="3241498"/>
            <a:ext cx="885884" cy="39277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600" b="1" dirty="0" err="1">
                <a:solidFill>
                  <a:prstClr val="black"/>
                </a:solidFill>
                <a:latin typeface="Arial"/>
              </a:rPr>
              <a:t>Refusal</a:t>
            </a:r>
            <a:r>
              <a:rPr lang="fr-FR" sz="600" b="1" dirty="0">
                <a:solidFill>
                  <a:prstClr val="black"/>
                </a:solidFill>
                <a:latin typeface="Arial"/>
              </a:rPr>
              <a:t> or </a:t>
            </a:r>
            <a:r>
              <a:rPr lang="fr-FR" sz="600" b="1" dirty="0" err="1">
                <a:solidFill>
                  <a:prstClr val="black"/>
                </a:solidFill>
                <a:latin typeface="Arial"/>
              </a:rPr>
              <a:t>Request</a:t>
            </a:r>
            <a:r>
              <a:rPr lang="fr-FR" sz="600" b="1" dirty="0">
                <a:solidFill>
                  <a:prstClr val="black"/>
                </a:solidFill>
                <a:latin typeface="Arial"/>
              </a:rPr>
              <a:t> </a:t>
            </a:r>
            <a:r>
              <a:rPr lang="fr-FR" sz="600" b="1" dirty="0" err="1">
                <a:solidFill>
                  <a:prstClr val="black"/>
                </a:solidFill>
                <a:latin typeface="Arial"/>
              </a:rPr>
              <a:t>additional</a:t>
            </a:r>
            <a:r>
              <a:rPr lang="fr-FR" sz="600" b="1" dirty="0">
                <a:solidFill>
                  <a:prstClr val="black"/>
                </a:solidFill>
                <a:latin typeface="Arial"/>
              </a:rPr>
              <a:t> information</a:t>
            </a:r>
          </a:p>
        </p:txBody>
      </p:sp>
      <p:cxnSp>
        <p:nvCxnSpPr>
          <p:cNvPr id="22" name="Connecteur droit avec flèche 49"/>
          <p:cNvCxnSpPr/>
          <p:nvPr/>
        </p:nvCxnSpPr>
        <p:spPr>
          <a:xfrm>
            <a:off x="6924256" y="2741933"/>
            <a:ext cx="0" cy="39398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3" name="Connecteur droit avec flèche 50"/>
          <p:cNvCxnSpPr/>
          <p:nvPr/>
        </p:nvCxnSpPr>
        <p:spPr>
          <a:xfrm flipH="1">
            <a:off x="6943385" y="2291968"/>
            <a:ext cx="2" cy="20130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4" name="ZoneTexte 51"/>
          <p:cNvSpPr txBox="1"/>
          <p:nvPr/>
        </p:nvSpPr>
        <p:spPr>
          <a:xfrm>
            <a:off x="7494718" y="2308002"/>
            <a:ext cx="1492045" cy="461665"/>
          </a:xfrm>
          <a:prstGeom prst="rect">
            <a:avLst/>
          </a:prstGeom>
          <a:noFill/>
        </p:spPr>
        <p:txBody>
          <a:bodyPr wrap="square" rtlCol="0">
            <a:spAutoFit/>
          </a:bodyPr>
          <a:lstStyle/>
          <a:p>
            <a:pPr defTabSz="685800"/>
            <a:r>
              <a:rPr lang="fr-FR" sz="600" b="1" dirty="0">
                <a:solidFill>
                  <a:prstClr val="black"/>
                </a:solidFill>
                <a:latin typeface="Arial"/>
              </a:rPr>
              <a:t>0: Positive </a:t>
            </a:r>
            <a:r>
              <a:rPr lang="fr-FR" sz="600" b="1" dirty="0" err="1">
                <a:solidFill>
                  <a:prstClr val="black"/>
                </a:solidFill>
                <a:latin typeface="Arial"/>
              </a:rPr>
              <a:t>recommendation</a:t>
            </a:r>
            <a:endParaRPr lang="fr-FR" sz="600" b="1" dirty="0">
              <a:solidFill>
                <a:prstClr val="black"/>
              </a:solidFill>
              <a:latin typeface="Arial"/>
            </a:endParaRPr>
          </a:p>
          <a:p>
            <a:pPr defTabSz="685800"/>
            <a:r>
              <a:rPr lang="fr-FR" sz="600" b="1" dirty="0">
                <a:solidFill>
                  <a:prstClr val="black"/>
                </a:solidFill>
                <a:latin typeface="Arial"/>
              </a:rPr>
              <a:t>1: </a:t>
            </a:r>
            <a:r>
              <a:rPr lang="fr-FR" sz="600" b="1" dirty="0" err="1">
                <a:solidFill>
                  <a:prstClr val="black"/>
                </a:solidFill>
                <a:latin typeface="Arial"/>
              </a:rPr>
              <a:t>Negative</a:t>
            </a:r>
            <a:r>
              <a:rPr lang="fr-FR" sz="600" b="1" dirty="0">
                <a:solidFill>
                  <a:prstClr val="black"/>
                </a:solidFill>
                <a:latin typeface="Arial"/>
              </a:rPr>
              <a:t> </a:t>
            </a:r>
            <a:r>
              <a:rPr lang="fr-FR" sz="600" b="1" dirty="0" err="1">
                <a:solidFill>
                  <a:prstClr val="black"/>
                </a:solidFill>
                <a:latin typeface="Arial"/>
              </a:rPr>
              <a:t>recommendation</a:t>
            </a:r>
            <a:endParaRPr lang="fr-FR" sz="600" b="1" dirty="0">
              <a:solidFill>
                <a:prstClr val="black"/>
              </a:solidFill>
              <a:latin typeface="Arial"/>
            </a:endParaRPr>
          </a:p>
          <a:p>
            <a:pPr defTabSz="685800"/>
            <a:r>
              <a:rPr lang="fr-FR" sz="600" b="1" dirty="0">
                <a:solidFill>
                  <a:prstClr val="black"/>
                </a:solidFill>
                <a:latin typeface="Arial"/>
              </a:rPr>
              <a:t>2: </a:t>
            </a:r>
            <a:r>
              <a:rPr lang="fr-FR" sz="600" b="1" dirty="0" err="1">
                <a:solidFill>
                  <a:prstClr val="black"/>
                </a:solidFill>
                <a:latin typeface="Arial"/>
              </a:rPr>
              <a:t>Additional</a:t>
            </a:r>
            <a:r>
              <a:rPr lang="fr-FR" sz="600" b="1" dirty="0">
                <a:solidFill>
                  <a:prstClr val="black"/>
                </a:solidFill>
                <a:latin typeface="Arial"/>
              </a:rPr>
              <a:t> </a:t>
            </a:r>
            <a:r>
              <a:rPr lang="fr-FR" sz="600" b="1" dirty="0" err="1">
                <a:solidFill>
                  <a:prstClr val="black"/>
                </a:solidFill>
                <a:latin typeface="Arial"/>
              </a:rPr>
              <a:t>analysis</a:t>
            </a:r>
            <a:r>
              <a:rPr lang="fr-FR" sz="600" b="1" dirty="0">
                <a:solidFill>
                  <a:prstClr val="black"/>
                </a:solidFill>
                <a:latin typeface="Arial"/>
              </a:rPr>
              <a:t> </a:t>
            </a:r>
            <a:r>
              <a:rPr lang="fr-FR" sz="600" b="1" dirty="0" err="1">
                <a:solidFill>
                  <a:prstClr val="black"/>
                </a:solidFill>
                <a:latin typeface="Arial"/>
              </a:rPr>
              <a:t>required</a:t>
            </a:r>
            <a:endParaRPr lang="fr-FR" sz="600" b="1" dirty="0">
              <a:solidFill>
                <a:prstClr val="black"/>
              </a:solidFill>
              <a:latin typeface="Arial"/>
            </a:endParaRPr>
          </a:p>
          <a:p>
            <a:pPr defTabSz="685800"/>
            <a:r>
              <a:rPr lang="fr-FR" sz="600" b="1" dirty="0">
                <a:solidFill>
                  <a:prstClr val="black"/>
                </a:solidFill>
                <a:latin typeface="Arial"/>
              </a:rPr>
              <a:t>3: </a:t>
            </a:r>
            <a:r>
              <a:rPr lang="fr-FR" sz="600" b="1" dirty="0" err="1">
                <a:solidFill>
                  <a:prstClr val="black"/>
                </a:solidFill>
                <a:latin typeface="Arial"/>
              </a:rPr>
              <a:t>Unsual</a:t>
            </a:r>
            <a:r>
              <a:rPr lang="fr-FR" sz="600" b="1" dirty="0">
                <a:solidFill>
                  <a:prstClr val="black"/>
                </a:solidFill>
                <a:latin typeface="Arial"/>
              </a:rPr>
              <a:t> situation</a:t>
            </a:r>
          </a:p>
        </p:txBody>
      </p:sp>
      <p:cxnSp>
        <p:nvCxnSpPr>
          <p:cNvPr id="25" name="Connecteur droit avec flèche 52"/>
          <p:cNvCxnSpPr/>
          <p:nvPr/>
        </p:nvCxnSpPr>
        <p:spPr>
          <a:xfrm>
            <a:off x="6924256" y="4007444"/>
            <a:ext cx="0" cy="39398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6" name="ZoneTexte 53"/>
          <p:cNvSpPr txBox="1"/>
          <p:nvPr/>
        </p:nvSpPr>
        <p:spPr>
          <a:xfrm>
            <a:off x="6997279" y="3613997"/>
            <a:ext cx="535015" cy="215893"/>
          </a:xfrm>
          <a:prstGeom prst="rect">
            <a:avLst/>
          </a:prstGeom>
          <a:noFill/>
        </p:spPr>
        <p:txBody>
          <a:bodyPr wrap="square" rtlCol="0">
            <a:spAutoFit/>
          </a:bodyPr>
          <a:lstStyle/>
          <a:p>
            <a:pPr defTabSz="685800"/>
            <a:r>
              <a:rPr lang="fr-FR" sz="803" b="1" dirty="0" err="1">
                <a:solidFill>
                  <a:prstClr val="black"/>
                </a:solidFill>
                <a:latin typeface="Arial"/>
              </a:rPr>
              <a:t>Pass</a:t>
            </a:r>
            <a:endParaRPr lang="fr-FR" sz="803" b="1" dirty="0">
              <a:solidFill>
                <a:prstClr val="black"/>
              </a:solidFill>
              <a:latin typeface="Arial"/>
            </a:endParaRPr>
          </a:p>
        </p:txBody>
      </p:sp>
      <p:sp>
        <p:nvSpPr>
          <p:cNvPr id="27" name="ZoneTexte 54"/>
          <p:cNvSpPr txBox="1"/>
          <p:nvPr/>
        </p:nvSpPr>
        <p:spPr>
          <a:xfrm>
            <a:off x="7428641" y="3449728"/>
            <a:ext cx="326569" cy="215893"/>
          </a:xfrm>
          <a:prstGeom prst="rect">
            <a:avLst/>
          </a:prstGeom>
          <a:noFill/>
        </p:spPr>
        <p:txBody>
          <a:bodyPr wrap="square" rtlCol="0">
            <a:spAutoFit/>
          </a:bodyPr>
          <a:lstStyle/>
          <a:p>
            <a:pPr defTabSz="685800"/>
            <a:r>
              <a:rPr lang="fr-FR" sz="803" b="1" dirty="0">
                <a:solidFill>
                  <a:prstClr val="black"/>
                </a:solidFill>
                <a:latin typeface="Arial"/>
              </a:rPr>
              <a:t>No</a:t>
            </a:r>
          </a:p>
        </p:txBody>
      </p:sp>
      <p:cxnSp>
        <p:nvCxnSpPr>
          <p:cNvPr id="28" name="Connecteur droit avec flèche 55"/>
          <p:cNvCxnSpPr>
            <a:endCxn id="21" idx="1"/>
          </p:cNvCxnSpPr>
          <p:nvPr/>
        </p:nvCxnSpPr>
        <p:spPr>
          <a:xfrm flipV="1">
            <a:off x="7475467" y="3437886"/>
            <a:ext cx="358859" cy="504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9" name="Connecteur droit avec flèche 56"/>
          <p:cNvCxnSpPr/>
          <p:nvPr/>
        </p:nvCxnSpPr>
        <p:spPr>
          <a:xfrm flipH="1">
            <a:off x="6997279" y="2894292"/>
            <a:ext cx="1277928" cy="776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0" name="Connecteur droit 57"/>
          <p:cNvCxnSpPr>
            <a:endCxn id="21" idx="0"/>
          </p:cNvCxnSpPr>
          <p:nvPr/>
        </p:nvCxnSpPr>
        <p:spPr>
          <a:xfrm>
            <a:off x="8275207" y="2893216"/>
            <a:ext cx="2060" cy="348282"/>
          </a:xfrm>
          <a:prstGeom prst="line">
            <a:avLst/>
          </a:prstGeom>
        </p:spPr>
        <p:style>
          <a:lnRef idx="3">
            <a:schemeClr val="dk1"/>
          </a:lnRef>
          <a:fillRef idx="0">
            <a:schemeClr val="dk1"/>
          </a:fillRef>
          <a:effectRef idx="2">
            <a:schemeClr val="dk1"/>
          </a:effectRef>
          <a:fontRef idx="minor">
            <a:schemeClr val="tx1"/>
          </a:fontRef>
        </p:style>
      </p:cxnSp>
      <p:cxnSp>
        <p:nvCxnSpPr>
          <p:cNvPr id="31" name="Connecteur droit 58"/>
          <p:cNvCxnSpPr/>
          <p:nvPr/>
        </p:nvCxnSpPr>
        <p:spPr>
          <a:xfrm>
            <a:off x="6388713" y="4003991"/>
            <a:ext cx="3585" cy="533163"/>
          </a:xfrm>
          <a:prstGeom prst="line">
            <a:avLst/>
          </a:prstGeom>
        </p:spPr>
        <p:style>
          <a:lnRef idx="3">
            <a:schemeClr val="dk1"/>
          </a:lnRef>
          <a:fillRef idx="0">
            <a:schemeClr val="dk1"/>
          </a:fillRef>
          <a:effectRef idx="2">
            <a:schemeClr val="dk1"/>
          </a:effectRef>
          <a:fontRef idx="minor">
            <a:schemeClr val="tx1"/>
          </a:fontRef>
        </p:style>
      </p:cxnSp>
      <p:cxnSp>
        <p:nvCxnSpPr>
          <p:cNvPr id="32" name="Connecteur droit 59"/>
          <p:cNvCxnSpPr/>
          <p:nvPr/>
        </p:nvCxnSpPr>
        <p:spPr>
          <a:xfrm>
            <a:off x="7482495" y="4011016"/>
            <a:ext cx="12223" cy="526139"/>
          </a:xfrm>
          <a:prstGeom prst="line">
            <a:avLst/>
          </a:prstGeom>
        </p:spPr>
        <p:style>
          <a:lnRef idx="3">
            <a:schemeClr val="dk1"/>
          </a:lnRef>
          <a:fillRef idx="0">
            <a:schemeClr val="dk1"/>
          </a:fillRef>
          <a:effectRef idx="2">
            <a:schemeClr val="dk1"/>
          </a:effectRef>
          <a:fontRef idx="minor">
            <a:schemeClr val="tx1"/>
          </a:fontRef>
        </p:style>
      </p:cxnSp>
      <p:cxnSp>
        <p:nvCxnSpPr>
          <p:cNvPr id="33" name="Connecteur droit avec flèche 60"/>
          <p:cNvCxnSpPr/>
          <p:nvPr/>
        </p:nvCxnSpPr>
        <p:spPr>
          <a:xfrm flipH="1">
            <a:off x="6128221" y="4537155"/>
            <a:ext cx="264059" cy="37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4" name="Connecteur droit avec flèche 61"/>
          <p:cNvCxnSpPr/>
          <p:nvPr/>
        </p:nvCxnSpPr>
        <p:spPr>
          <a:xfrm>
            <a:off x="7494718" y="4537154"/>
            <a:ext cx="260492"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5" name="Connecteur droit avec flèche 62"/>
          <p:cNvCxnSpPr/>
          <p:nvPr/>
        </p:nvCxnSpPr>
        <p:spPr>
          <a:xfrm>
            <a:off x="6924681" y="3680769"/>
            <a:ext cx="1" cy="15433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36" name="Slide Number Placeholder 3"/>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31</a:t>
            </a:fld>
            <a:endParaRPr lang="en-GB" sz="900" dirty="0">
              <a:solidFill>
                <a:prstClr val="white"/>
              </a:solidFill>
              <a:latin typeface="Avenir Next LT Pro"/>
            </a:endParaRPr>
          </a:p>
        </p:txBody>
      </p:sp>
    </p:spTree>
    <p:extLst>
      <p:ext uri="{BB962C8B-B14F-4D97-AF65-F5344CB8AC3E}">
        <p14:creationId xmlns:p14="http://schemas.microsoft.com/office/powerpoint/2010/main" val="20100519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solidFill>
                  <a:prstClr val="black"/>
                </a:solidFill>
              </a:rPr>
              <a:t>Information </a:t>
            </a:r>
            <a:r>
              <a:rPr lang="fr-FR" dirty="0" err="1">
                <a:solidFill>
                  <a:prstClr val="black"/>
                </a:solidFill>
              </a:rPr>
              <a:t>checks</a:t>
            </a:r>
            <a:endParaRPr lang="en-US" dirty="0">
              <a:solidFill>
                <a:prstClr val="black"/>
              </a:solidFill>
            </a:endParaRPr>
          </a:p>
        </p:txBody>
      </p:sp>
      <p:sp>
        <p:nvSpPr>
          <p:cNvPr id="5" name="Slide Number Placeholder 2"/>
          <p:cNvSpPr>
            <a:spLocks noGrp="1"/>
          </p:cNvSpPr>
          <p:nvPr>
            <p:ph type="sldNum" sz="quarter" idx="19"/>
          </p:nvPr>
        </p:nvSpPr>
        <p:spPr>
          <a:xfrm>
            <a:off x="8607765" y="4846820"/>
            <a:ext cx="525046" cy="304373"/>
          </a:xfrm>
        </p:spPr>
        <p:txBody>
          <a:bodyPr/>
          <a:lstStyle/>
          <a:p>
            <a:fld id="{98BD2159-827C-4021-9B0E-DCD852BEB59E}" type="slidenum">
              <a:rPr lang="en-GB" smtClean="0"/>
              <a:pPr/>
              <a:t>32</a:t>
            </a:fld>
            <a:endParaRPr lang="en-GB" dirty="0"/>
          </a:p>
        </p:txBody>
      </p:sp>
      <p:sp>
        <p:nvSpPr>
          <p:cNvPr id="6" name="TextBox 10"/>
          <p:cNvSpPr txBox="1"/>
          <p:nvPr/>
        </p:nvSpPr>
        <p:spPr>
          <a:xfrm>
            <a:off x="361029" y="998220"/>
            <a:ext cx="8014826" cy="3947491"/>
          </a:xfrm>
          <a:prstGeom prst="rect">
            <a:avLst/>
          </a:prstGeom>
          <a:noFill/>
          <a:ln w="25400">
            <a:noFill/>
          </a:ln>
        </p:spPr>
        <p:txBody>
          <a:bodyPr wrap="square" rtlCol="0" anchor="t">
            <a:spAutoFit/>
          </a:bodyPr>
          <a:lstStyle/>
          <a:p>
            <a:pPr marR="0" lvl="0" algn="just" defTabSz="914400" rtl="0" eaLnBrk="1" fontAlgn="auto" latinLnBrk="0" hangingPunct="1">
              <a:lnSpc>
                <a:spcPct val="150000"/>
              </a:lnSpc>
              <a:spcBef>
                <a:spcPct val="50000"/>
              </a:spcBef>
              <a:spcAft>
                <a:spcPts val="0"/>
              </a:spcAft>
              <a:buClr>
                <a:prstClr val="black"/>
              </a:buClr>
              <a:buSzPct val="120000"/>
              <a:tabLst>
                <a:tab pos="3409950" algn="l"/>
              </a:tabLst>
              <a:defRPr/>
            </a:pPr>
            <a:r>
              <a:rPr kumimoji="0" lang="en-IE" sz="800" b="1" i="0" u="none" strike="noStrike" kern="1200" cap="none" spc="0" normalizeH="0" baseline="0" noProof="0" dirty="0">
                <a:ln>
                  <a:noFill/>
                </a:ln>
                <a:solidFill>
                  <a:prstClr val="black"/>
                </a:solidFill>
                <a:effectLst/>
                <a:uLnTx/>
                <a:uFillTx/>
                <a:latin typeface="Arial"/>
                <a:ea typeface="+mn-ea"/>
                <a:cs typeface="+mn-cs"/>
              </a:rPr>
              <a:t>The following verifications are performed:</a:t>
            </a:r>
          </a:p>
          <a:p>
            <a:pPr marL="619125" marR="0" lvl="0" indent="-403225" algn="just" defTabSz="914400" rtl="0" eaLnBrk="1" fontAlgn="auto" latinLnBrk="0" hangingPunct="1">
              <a:lnSpc>
                <a:spcPct val="150000"/>
              </a:lnSpc>
              <a:spcBef>
                <a:spcPct val="50000"/>
              </a:spcBef>
              <a:spcAft>
                <a:spcPts val="0"/>
              </a:spcAft>
              <a:buClr>
                <a:prstClr val="black"/>
              </a:buClr>
              <a:buSzPct val="120000"/>
              <a:buFontTx/>
              <a:buBlip>
                <a:blip r:embed="rId2"/>
              </a:buBlip>
              <a:tabLst>
                <a:tab pos="3409950" algn="l"/>
              </a:tabLst>
              <a:defRPr/>
            </a:pPr>
            <a:r>
              <a:rPr kumimoji="0" lang="en-IE" sz="800" b="0" i="0" u="none" strike="noStrike" kern="1200" cap="none" spc="0" normalizeH="0" baseline="0" noProof="0" dirty="0">
                <a:ln>
                  <a:noFill/>
                </a:ln>
                <a:solidFill>
                  <a:prstClr val="black"/>
                </a:solidFill>
                <a:effectLst/>
                <a:uLnTx/>
                <a:uFillTx/>
                <a:latin typeface="Arial"/>
                <a:ea typeface="+mn-ea"/>
                <a:cs typeface="+mn-cs"/>
              </a:rPr>
              <a:t>Loan applicant identity</a:t>
            </a:r>
          </a:p>
          <a:p>
            <a:pPr marL="619125" marR="0" lvl="0" indent="-403225" algn="just" defTabSz="914400" rtl="0" eaLnBrk="1" fontAlgn="auto" latinLnBrk="0" hangingPunct="1">
              <a:lnSpc>
                <a:spcPct val="150000"/>
              </a:lnSpc>
              <a:spcBef>
                <a:spcPct val="50000"/>
              </a:spcBef>
              <a:spcAft>
                <a:spcPts val="0"/>
              </a:spcAft>
              <a:buClr>
                <a:prstClr val="black"/>
              </a:buClr>
              <a:buSzPct val="120000"/>
              <a:buFontTx/>
              <a:buBlip>
                <a:blip r:embed="rId2"/>
              </a:buBlip>
              <a:tabLst>
                <a:tab pos="3409950" algn="l"/>
              </a:tabLst>
              <a:defRPr/>
            </a:pPr>
            <a:r>
              <a:rPr kumimoji="0" lang="en-IE" sz="800" b="0" i="0" u="none" strike="noStrike" kern="1200" cap="none" spc="0" normalizeH="0" baseline="0" noProof="0" dirty="0">
                <a:ln>
                  <a:noFill/>
                </a:ln>
                <a:solidFill>
                  <a:prstClr val="black"/>
                </a:solidFill>
                <a:effectLst/>
                <a:uLnTx/>
                <a:uFillTx/>
                <a:latin typeface="Arial"/>
                <a:ea typeface="+mn-ea"/>
                <a:cs typeface="+mn-cs"/>
              </a:rPr>
              <a:t>Internal customer database</a:t>
            </a:r>
          </a:p>
          <a:p>
            <a:pPr marL="619125" marR="0" lvl="0" indent="-403225" algn="just" defTabSz="914400" rtl="0" eaLnBrk="1" fontAlgn="auto" latinLnBrk="0" hangingPunct="1">
              <a:lnSpc>
                <a:spcPct val="150000"/>
              </a:lnSpc>
              <a:spcBef>
                <a:spcPct val="50000"/>
              </a:spcBef>
              <a:spcAft>
                <a:spcPts val="0"/>
              </a:spcAft>
              <a:buClr>
                <a:prstClr val="black"/>
              </a:buClr>
              <a:buSzPct val="120000"/>
              <a:buFontTx/>
              <a:buBlip>
                <a:blip r:embed="rId2"/>
              </a:buBlip>
              <a:tabLst>
                <a:tab pos="3409950" algn="l"/>
              </a:tabLst>
              <a:defRPr/>
            </a:pPr>
            <a:r>
              <a:rPr kumimoji="0" lang="en-IE" sz="800" b="0" i="0" u="none" strike="noStrike" kern="1200" cap="none" spc="0" normalizeH="0" baseline="0" noProof="0" dirty="0">
                <a:ln>
                  <a:noFill/>
                </a:ln>
                <a:solidFill>
                  <a:prstClr val="black"/>
                </a:solidFill>
                <a:effectLst/>
                <a:uLnTx/>
                <a:uFillTx/>
                <a:latin typeface="Arial"/>
                <a:ea typeface="+mn-ea"/>
                <a:cs typeface="+mn-cs"/>
              </a:rPr>
              <a:t>External « negative » databases recording payment incidents</a:t>
            </a:r>
          </a:p>
          <a:p>
            <a:pPr marL="1082675" marR="0" lvl="1" indent="-285750" algn="just" defTabSz="914400" rtl="0" eaLnBrk="1" fontAlgn="auto" latinLnBrk="0" hangingPunct="1">
              <a:lnSpc>
                <a:spcPct val="150000"/>
              </a:lnSpc>
              <a:spcBef>
                <a:spcPct val="50000"/>
              </a:spcBef>
              <a:spcAft>
                <a:spcPts val="0"/>
              </a:spcAft>
              <a:buClr>
                <a:prstClr val="black"/>
              </a:buClr>
              <a:buSzPct val="120000"/>
              <a:buFontTx/>
              <a:buBlip>
                <a:blip r:embed="rId2"/>
              </a:buBlip>
              <a:tabLst>
                <a:tab pos="3409950" algn="l"/>
              </a:tabLst>
              <a:defRPr/>
            </a:pPr>
            <a:r>
              <a:rPr kumimoji="0" lang="en-IE" sz="800" b="0" i="0" u="none" strike="noStrike" kern="1200" cap="none" spc="0" normalizeH="0" baseline="0" noProof="0" dirty="0">
                <a:ln>
                  <a:noFill/>
                </a:ln>
                <a:solidFill>
                  <a:prstClr val="black"/>
                </a:solidFill>
                <a:effectLst/>
                <a:uLnTx/>
                <a:uFillTx/>
                <a:latin typeface="Arial"/>
                <a:ea typeface="+mn-ea"/>
                <a:cs typeface="+mn-cs"/>
              </a:rPr>
              <a:t>FICP file (</a:t>
            </a:r>
            <a:r>
              <a:rPr kumimoji="0" lang="en-IE" sz="800" b="0" i="0" u="none" strike="noStrike" kern="1200" cap="none" spc="0" normalizeH="0" baseline="0" noProof="0" dirty="0" err="1">
                <a:ln>
                  <a:noFill/>
                </a:ln>
                <a:solidFill>
                  <a:prstClr val="black"/>
                </a:solidFill>
                <a:effectLst/>
                <a:uLnTx/>
                <a:uFillTx/>
                <a:latin typeface="Arial"/>
                <a:ea typeface="+mn-ea"/>
                <a:cs typeface="+mn-cs"/>
              </a:rPr>
              <a:t>Fichier</a:t>
            </a:r>
            <a:r>
              <a:rPr kumimoji="0" lang="en-IE" sz="800" b="0" i="0" u="none" strike="noStrike" kern="1200" cap="none" spc="0" normalizeH="0" baseline="0" noProof="0" dirty="0">
                <a:ln>
                  <a:noFill/>
                </a:ln>
                <a:solidFill>
                  <a:prstClr val="black"/>
                </a:solidFill>
                <a:effectLst/>
                <a:uLnTx/>
                <a:uFillTx/>
                <a:latin typeface="Arial"/>
                <a:ea typeface="+mn-ea"/>
                <a:cs typeface="+mn-cs"/>
              </a:rPr>
              <a:t> des incidents de </a:t>
            </a:r>
            <a:r>
              <a:rPr kumimoji="0" lang="en-IE" sz="800" b="0" i="0" u="none" strike="noStrike" kern="1200" cap="none" spc="0" normalizeH="0" baseline="0" noProof="0" dirty="0" err="1">
                <a:ln>
                  <a:noFill/>
                </a:ln>
                <a:solidFill>
                  <a:prstClr val="black"/>
                </a:solidFill>
                <a:effectLst/>
                <a:uLnTx/>
                <a:uFillTx/>
                <a:latin typeface="Arial"/>
                <a:ea typeface="+mn-ea"/>
                <a:cs typeface="+mn-cs"/>
              </a:rPr>
              <a:t>remboursement</a:t>
            </a:r>
            <a:r>
              <a:rPr kumimoji="0" lang="en-IE" sz="800" b="0" i="0" u="none" strike="noStrike" kern="1200" cap="none" spc="0" normalizeH="0" baseline="0" noProof="0" dirty="0">
                <a:ln>
                  <a:noFill/>
                </a:ln>
                <a:solidFill>
                  <a:prstClr val="black"/>
                </a:solidFill>
                <a:effectLst/>
                <a:uLnTx/>
                <a:uFillTx/>
                <a:latin typeface="Arial"/>
                <a:ea typeface="+mn-ea"/>
                <a:cs typeface="+mn-cs"/>
              </a:rPr>
              <a:t> des </a:t>
            </a:r>
            <a:r>
              <a:rPr kumimoji="0" lang="en-IE" sz="800" b="0" i="0" u="none" strike="noStrike" kern="1200" cap="none" spc="0" normalizeH="0" baseline="0" noProof="0" dirty="0" err="1">
                <a:ln>
                  <a:noFill/>
                </a:ln>
                <a:solidFill>
                  <a:prstClr val="black"/>
                </a:solidFill>
                <a:effectLst/>
                <a:uLnTx/>
                <a:uFillTx/>
                <a:latin typeface="Arial"/>
                <a:ea typeface="+mn-ea"/>
                <a:cs typeface="+mn-cs"/>
              </a:rPr>
              <a:t>Crédits</a:t>
            </a:r>
            <a:r>
              <a:rPr kumimoji="0" lang="en-IE" sz="800" b="0" i="0" u="none" strike="noStrike" kern="1200" cap="none" spc="0" normalizeH="0" baseline="0" noProof="0" dirty="0">
                <a:ln>
                  <a:noFill/>
                </a:ln>
                <a:solidFill>
                  <a:prstClr val="black"/>
                </a:solidFill>
                <a:effectLst/>
                <a:uLnTx/>
                <a:uFillTx/>
                <a:latin typeface="Arial"/>
                <a:ea typeface="+mn-ea"/>
                <a:cs typeface="+mn-cs"/>
              </a:rPr>
              <a:t> aux </a:t>
            </a:r>
            <a:r>
              <a:rPr kumimoji="0" lang="en-IE" sz="800" b="0" i="0" u="none" strike="noStrike" kern="1200" cap="none" spc="0" normalizeH="0" baseline="0" noProof="0" dirty="0" err="1">
                <a:ln>
                  <a:noFill/>
                </a:ln>
                <a:solidFill>
                  <a:prstClr val="black"/>
                </a:solidFill>
                <a:effectLst/>
                <a:uLnTx/>
                <a:uFillTx/>
                <a:latin typeface="Arial"/>
                <a:ea typeface="+mn-ea"/>
                <a:cs typeface="+mn-cs"/>
              </a:rPr>
              <a:t>Particuliers</a:t>
            </a:r>
            <a:r>
              <a:rPr kumimoji="0" lang="en-IE" sz="800" b="0" i="0" u="none" strike="noStrike" kern="1200" cap="none" spc="0" normalizeH="0" baseline="0" noProof="0" dirty="0">
                <a:ln>
                  <a:noFill/>
                </a:ln>
                <a:solidFill>
                  <a:prstClr val="black"/>
                </a:solidFill>
                <a:effectLst/>
                <a:uLnTx/>
                <a:uFillTx/>
                <a:latin typeface="Arial"/>
                <a:ea typeface="+mn-ea"/>
                <a:cs typeface="+mn-cs"/>
              </a:rPr>
              <a:t>)</a:t>
            </a:r>
          </a:p>
          <a:p>
            <a:pPr marL="1082675" marR="0" lvl="1" indent="-285750" algn="just" defTabSz="914400" rtl="0" eaLnBrk="1" fontAlgn="auto" latinLnBrk="0" hangingPunct="1">
              <a:lnSpc>
                <a:spcPct val="150000"/>
              </a:lnSpc>
              <a:spcBef>
                <a:spcPct val="50000"/>
              </a:spcBef>
              <a:spcAft>
                <a:spcPts val="0"/>
              </a:spcAft>
              <a:buClr>
                <a:prstClr val="black"/>
              </a:buClr>
              <a:buSzPct val="120000"/>
              <a:buFontTx/>
              <a:buBlip>
                <a:blip r:embed="rId2"/>
              </a:buBlip>
              <a:tabLst>
                <a:tab pos="3409950" algn="l"/>
              </a:tabLst>
              <a:defRPr/>
            </a:pPr>
            <a:r>
              <a:rPr kumimoji="0" lang="en-IE" sz="800" b="0" i="0" u="none" strike="noStrike" kern="1200" cap="none" spc="0" normalizeH="0" baseline="0" noProof="0" dirty="0">
                <a:ln>
                  <a:noFill/>
                </a:ln>
                <a:solidFill>
                  <a:prstClr val="black"/>
                </a:solidFill>
                <a:effectLst/>
                <a:uLnTx/>
                <a:uFillTx/>
                <a:latin typeface="Arial"/>
                <a:ea typeface="+mn-ea"/>
                <a:cs typeface="+mn-cs"/>
              </a:rPr>
              <a:t>FCC file (</a:t>
            </a:r>
            <a:r>
              <a:rPr kumimoji="0" lang="en-IE" sz="800" b="0" i="0" u="none" strike="noStrike" kern="1200" cap="none" spc="0" normalizeH="0" baseline="0" noProof="0" dirty="0" err="1">
                <a:ln>
                  <a:noFill/>
                </a:ln>
                <a:solidFill>
                  <a:prstClr val="black"/>
                </a:solidFill>
                <a:effectLst/>
                <a:uLnTx/>
                <a:uFillTx/>
                <a:latin typeface="Arial"/>
                <a:ea typeface="+mn-ea"/>
                <a:cs typeface="+mn-cs"/>
              </a:rPr>
              <a:t>Fichier</a:t>
            </a:r>
            <a:r>
              <a:rPr kumimoji="0" lang="en-IE" sz="800" b="0" i="0" u="none" strike="noStrike" kern="1200" cap="none" spc="0" normalizeH="0" baseline="0" noProof="0" dirty="0">
                <a:ln>
                  <a:noFill/>
                </a:ln>
                <a:solidFill>
                  <a:prstClr val="black"/>
                </a:solidFill>
                <a:effectLst/>
                <a:uLnTx/>
                <a:uFillTx/>
                <a:latin typeface="Arial"/>
                <a:ea typeface="+mn-ea"/>
                <a:cs typeface="+mn-cs"/>
              </a:rPr>
              <a:t> central des </a:t>
            </a:r>
            <a:r>
              <a:rPr kumimoji="0" lang="en-IE" sz="800" b="0" i="0" u="none" strike="noStrike" kern="1200" cap="none" spc="0" normalizeH="0" baseline="0" noProof="0" dirty="0" err="1">
                <a:ln>
                  <a:noFill/>
                </a:ln>
                <a:solidFill>
                  <a:prstClr val="black"/>
                </a:solidFill>
                <a:effectLst/>
                <a:uLnTx/>
                <a:uFillTx/>
                <a:latin typeface="Arial"/>
                <a:ea typeface="+mn-ea"/>
                <a:cs typeface="+mn-cs"/>
              </a:rPr>
              <a:t>chèques</a:t>
            </a:r>
            <a:r>
              <a:rPr kumimoji="0" lang="en-IE" sz="800" b="0" i="0" u="none" strike="noStrike" kern="1200" cap="none" spc="0" normalizeH="0" baseline="0" noProof="0" dirty="0">
                <a:ln>
                  <a:noFill/>
                </a:ln>
                <a:solidFill>
                  <a:prstClr val="black"/>
                </a:solidFill>
                <a:effectLst/>
                <a:uLnTx/>
                <a:uFillTx/>
                <a:latin typeface="Arial"/>
                <a:ea typeface="+mn-ea"/>
                <a:cs typeface="+mn-cs"/>
              </a:rPr>
              <a:t>)</a:t>
            </a:r>
          </a:p>
          <a:p>
            <a:pPr marL="1082675" marR="0" lvl="1" indent="-285750" algn="just" defTabSz="914400" rtl="0" eaLnBrk="1" fontAlgn="auto" latinLnBrk="0" hangingPunct="1">
              <a:lnSpc>
                <a:spcPct val="150000"/>
              </a:lnSpc>
              <a:spcBef>
                <a:spcPct val="50000"/>
              </a:spcBef>
              <a:spcAft>
                <a:spcPts val="0"/>
              </a:spcAft>
              <a:buClr>
                <a:prstClr val="black"/>
              </a:buClr>
              <a:buSzPct val="120000"/>
              <a:buFontTx/>
              <a:buBlip>
                <a:blip r:embed="rId2"/>
              </a:buBlip>
              <a:tabLst>
                <a:tab pos="3409950" algn="l"/>
              </a:tabLst>
              <a:defRPr/>
            </a:pPr>
            <a:r>
              <a:rPr kumimoji="0" lang="en-IE" sz="800" b="0" i="0" u="none" strike="noStrike" kern="1200" cap="none" spc="0" normalizeH="0" baseline="0" noProof="0" dirty="0">
                <a:ln>
                  <a:noFill/>
                </a:ln>
                <a:solidFill>
                  <a:prstClr val="black"/>
                </a:solidFill>
                <a:effectLst/>
                <a:uLnTx/>
                <a:uFillTx/>
                <a:latin typeface="Arial"/>
                <a:ea typeface="+mn-ea"/>
                <a:cs typeface="+mn-cs"/>
              </a:rPr>
              <a:t>Customer match with any of these external databases is disqualifying, without any possible recourse</a:t>
            </a:r>
          </a:p>
          <a:p>
            <a:pPr marL="619125" marR="0" lvl="0" indent="-403225" algn="just" defTabSz="914400" rtl="0" eaLnBrk="1" fontAlgn="auto" latinLnBrk="0" hangingPunct="1">
              <a:lnSpc>
                <a:spcPct val="150000"/>
              </a:lnSpc>
              <a:spcBef>
                <a:spcPct val="50000"/>
              </a:spcBef>
              <a:spcAft>
                <a:spcPts val="0"/>
              </a:spcAft>
              <a:buClr>
                <a:prstClr val="black"/>
              </a:buClr>
              <a:buSzPct val="120000"/>
              <a:buFontTx/>
              <a:buBlip>
                <a:blip r:embed="rId2"/>
              </a:buBlip>
              <a:tabLst>
                <a:tab pos="3409950" algn="l"/>
              </a:tabLst>
              <a:defRPr/>
            </a:pPr>
            <a:r>
              <a:rPr kumimoji="0" lang="en-IE" sz="800" b="0" i="0" u="none" strike="noStrike" kern="1200" cap="none" spc="0" normalizeH="0" baseline="0" noProof="0" dirty="0">
                <a:ln>
                  <a:noFill/>
                </a:ln>
                <a:solidFill>
                  <a:prstClr val="black"/>
                </a:solidFill>
                <a:effectLst/>
                <a:uLnTx/>
                <a:uFillTx/>
                <a:latin typeface="Arial"/>
                <a:ea typeface="+mn-ea"/>
                <a:cs typeface="+mn-cs"/>
              </a:rPr>
              <a:t>Loan applicant income</a:t>
            </a:r>
          </a:p>
          <a:p>
            <a:pPr marL="619125" marR="0" lvl="0" indent="-403225" algn="just" defTabSz="914400" rtl="0" eaLnBrk="1" fontAlgn="auto" latinLnBrk="0" hangingPunct="1">
              <a:lnSpc>
                <a:spcPct val="150000"/>
              </a:lnSpc>
              <a:spcBef>
                <a:spcPct val="50000"/>
              </a:spcBef>
              <a:spcAft>
                <a:spcPts val="0"/>
              </a:spcAft>
              <a:buClr>
                <a:prstClr val="black"/>
              </a:buClr>
              <a:buSzPct val="120000"/>
              <a:buFontTx/>
              <a:buBlip>
                <a:blip r:embed="rId2"/>
              </a:buBlip>
              <a:tabLst>
                <a:tab pos="3409950" algn="l"/>
              </a:tabLst>
              <a:defRPr/>
            </a:pPr>
            <a:r>
              <a:rPr kumimoji="0" lang="en-IE" sz="800" b="0" i="0" u="none" strike="noStrike" kern="1200" cap="none" spc="0" normalizeH="0" baseline="0" noProof="0" dirty="0">
                <a:ln>
                  <a:noFill/>
                </a:ln>
                <a:solidFill>
                  <a:prstClr val="black"/>
                </a:solidFill>
                <a:effectLst/>
                <a:uLnTx/>
                <a:uFillTx/>
                <a:latin typeface="Arial"/>
                <a:ea typeface="+mn-ea"/>
                <a:cs typeface="+mn-cs"/>
              </a:rPr>
              <a:t>Loan applicant outcome (borrower’s indebtedness, rents, etc.)</a:t>
            </a:r>
            <a:endParaRPr lang="en-US" sz="800" u="sng" dirty="0">
              <a:solidFill>
                <a:prstClr val="black"/>
              </a:solidFill>
              <a:latin typeface="Arial"/>
            </a:endParaRPr>
          </a:p>
          <a:p>
            <a:pPr marL="0" marR="0" lvl="0" indent="0" algn="just" defTabSz="914400" rtl="0" eaLnBrk="1" fontAlgn="auto" latinLnBrk="0" hangingPunct="1">
              <a:lnSpc>
                <a:spcPct val="150000"/>
              </a:lnSpc>
              <a:spcBef>
                <a:spcPct val="50000"/>
              </a:spcBef>
              <a:spcAft>
                <a:spcPts val="0"/>
              </a:spcAft>
              <a:buClr>
                <a:prstClr val="black"/>
              </a:buClr>
              <a:buSzPct val="120000"/>
              <a:buFontTx/>
              <a:buNone/>
              <a:tabLst>
                <a:tab pos="3409950" algn="l"/>
              </a:tabLst>
              <a:defRPr/>
            </a:pPr>
            <a:r>
              <a:rPr lang="en-US" sz="800" u="sng" dirty="0">
                <a:solidFill>
                  <a:prstClr val="black"/>
                </a:solidFill>
                <a:latin typeface="Arial"/>
              </a:rPr>
              <a:t>S</a:t>
            </a:r>
            <a:r>
              <a:rPr kumimoji="0" lang="en-US" sz="800" b="0" i="0" u="sng" strike="noStrike" kern="1200" cap="none" spc="0" normalizeH="0" baseline="0" noProof="0" dirty="0" err="1">
                <a:ln>
                  <a:noFill/>
                </a:ln>
                <a:solidFill>
                  <a:prstClr val="black"/>
                </a:solidFill>
                <a:effectLst/>
                <a:uLnTx/>
                <a:uFillTx/>
                <a:latin typeface="Arial"/>
                <a:ea typeface="+mn-ea"/>
                <a:cs typeface="+mn-cs"/>
              </a:rPr>
              <a:t>pecific</a:t>
            </a:r>
            <a:r>
              <a:rPr kumimoji="0" lang="en-US" sz="800" b="0" i="0" u="sng" strike="noStrike" kern="1200" cap="none" spc="0" normalizeH="0" baseline="0" noProof="0" dirty="0">
                <a:ln>
                  <a:noFill/>
                </a:ln>
                <a:solidFill>
                  <a:prstClr val="black"/>
                </a:solidFill>
                <a:effectLst/>
                <a:uLnTx/>
                <a:uFillTx/>
                <a:latin typeface="Arial"/>
                <a:ea typeface="+mn-ea"/>
                <a:cs typeface="+mn-cs"/>
              </a:rPr>
              <a:t> to </a:t>
            </a:r>
            <a:r>
              <a:rPr kumimoji="0" lang="en-US" sz="800" b="0" i="0" u="sng" strike="noStrike" kern="1200" cap="none" spc="0" normalizeH="0" baseline="0" noProof="0" dirty="0" err="1">
                <a:ln>
                  <a:noFill/>
                </a:ln>
                <a:solidFill>
                  <a:prstClr val="black"/>
                </a:solidFill>
                <a:effectLst/>
                <a:uLnTx/>
                <a:uFillTx/>
                <a:latin typeface="Arial"/>
                <a:ea typeface="+mn-ea"/>
                <a:cs typeface="+mn-cs"/>
              </a:rPr>
              <a:t>creditlift</a:t>
            </a:r>
            <a:r>
              <a:rPr kumimoji="0" lang="en-US" sz="800" b="0" i="0" u="sng" strike="noStrike" kern="1200" cap="none" spc="0" normalizeH="0" baseline="0" noProof="0" dirty="0">
                <a:ln>
                  <a:noFill/>
                </a:ln>
                <a:solidFill>
                  <a:prstClr val="black"/>
                </a:solidFill>
                <a:effectLst/>
                <a:uLnTx/>
                <a:uFillTx/>
                <a:latin typeface="Arial"/>
                <a:ea typeface="+mn-ea"/>
                <a:cs typeface="+mn-cs"/>
              </a:rPr>
              <a:t> </a:t>
            </a:r>
            <a:r>
              <a:rPr kumimoji="0" lang="en-US" sz="800" b="0" i="0" u="none" strike="noStrike" kern="1200" cap="none" spc="0" normalizeH="0" baseline="0" noProof="0" dirty="0">
                <a:ln>
                  <a:noFill/>
                </a:ln>
                <a:solidFill>
                  <a:prstClr val="black"/>
                </a:solidFill>
                <a:effectLst/>
                <a:uLnTx/>
                <a:uFillTx/>
                <a:latin typeface="Arial"/>
                <a:ea typeface="+mn-ea"/>
                <a:cs typeface="+mn-cs"/>
              </a:rPr>
              <a:t>:	</a:t>
            </a:r>
            <a:endParaRPr kumimoji="0" lang="en-IE" sz="800" b="0" i="0" u="none" strike="noStrike" kern="1200" cap="none" spc="0" normalizeH="0" baseline="0" noProof="0" dirty="0">
              <a:ln>
                <a:noFill/>
              </a:ln>
              <a:solidFill>
                <a:prstClr val="black"/>
              </a:solidFill>
              <a:effectLst/>
              <a:uLnTx/>
              <a:uFillTx/>
              <a:latin typeface="Arial"/>
              <a:ea typeface="+mn-ea"/>
              <a:cs typeface="+mn-cs"/>
            </a:endParaRPr>
          </a:p>
          <a:p>
            <a:pPr marL="619125" indent="-403225" algn="just" defTabSz="914400">
              <a:lnSpc>
                <a:spcPct val="150000"/>
              </a:lnSpc>
              <a:spcBef>
                <a:spcPct val="50000"/>
              </a:spcBef>
              <a:buClr>
                <a:prstClr val="black"/>
              </a:buClr>
              <a:buSzPct val="120000"/>
              <a:buBlip>
                <a:blip r:embed="rId2"/>
              </a:buBlip>
              <a:tabLst>
                <a:tab pos="3409950" algn="l"/>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Thorough study of solvency (debt to income ratio and disposable income before and after RAC)</a:t>
            </a:r>
          </a:p>
          <a:p>
            <a:pPr marL="1076325" lvl="1" indent="-403225" algn="just" defTabSz="914400">
              <a:lnSpc>
                <a:spcPct val="150000"/>
              </a:lnSpc>
              <a:spcBef>
                <a:spcPct val="50000"/>
              </a:spcBef>
              <a:buClr>
                <a:prstClr val="black"/>
              </a:buClr>
              <a:buSzPct val="120000"/>
              <a:buBlip>
                <a:blip r:embed="rId2"/>
              </a:buBlip>
              <a:tabLst>
                <a:tab pos="3409950" algn="l"/>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For home owners (or accession) or tenants with disposable income &gt; 1,25 * threshold, if </a:t>
            </a:r>
            <a:r>
              <a:rPr lang="en-US" sz="800" dirty="0">
                <a:solidFill>
                  <a:prstClr val="black"/>
                </a:solidFill>
                <a:latin typeface="Arial"/>
              </a:rPr>
              <a:t>debt to income ratio</a:t>
            </a:r>
            <a:r>
              <a:rPr kumimoji="0" lang="en-US" sz="800" b="0" i="0" u="none" strike="noStrike" kern="1200" cap="none" spc="0" normalizeH="0" baseline="0" noProof="0" dirty="0">
                <a:ln>
                  <a:noFill/>
                </a:ln>
                <a:solidFill>
                  <a:prstClr val="black"/>
                </a:solidFill>
                <a:effectLst/>
                <a:uLnTx/>
                <a:uFillTx/>
                <a:latin typeface="Arial"/>
                <a:ea typeface="+mn-ea"/>
                <a:cs typeface="+mn-cs"/>
              </a:rPr>
              <a:t> &gt; 50% </a:t>
            </a:r>
            <a:r>
              <a:rPr lang="en-US" sz="800" dirty="0">
                <a:solidFill>
                  <a:prstClr val="black"/>
                </a:solidFill>
                <a:latin typeface="Arial"/>
              </a:rPr>
              <a:t>then</a:t>
            </a:r>
            <a:r>
              <a:rPr kumimoji="0" lang="en-US" sz="800" b="0" i="0" u="none" strike="noStrike" kern="1200" cap="none" spc="0" normalizeH="0" baseline="0" noProof="0" dirty="0">
                <a:ln>
                  <a:noFill/>
                </a:ln>
                <a:solidFill>
                  <a:prstClr val="black"/>
                </a:solidFill>
                <a:effectLst/>
                <a:uLnTx/>
                <a:uFillTx/>
                <a:latin typeface="Arial"/>
                <a:ea typeface="+mn-ea"/>
                <a:cs typeface="+mn-cs"/>
              </a:rPr>
              <a:t> unfavorable opinion</a:t>
            </a:r>
          </a:p>
          <a:p>
            <a:pPr marL="1076325" lvl="1" indent="-403225" algn="just" defTabSz="914400">
              <a:lnSpc>
                <a:spcPct val="150000"/>
              </a:lnSpc>
              <a:spcBef>
                <a:spcPct val="50000"/>
              </a:spcBef>
              <a:buClr>
                <a:prstClr val="black"/>
              </a:buClr>
              <a:buSzPct val="120000"/>
              <a:buBlip>
                <a:blip r:embed="rId2"/>
              </a:buBlip>
              <a:tabLst>
                <a:tab pos="3409950" algn="l"/>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Otherwise if debt to income ratio &gt; 45% then unfavorable opinion</a:t>
            </a:r>
          </a:p>
          <a:p>
            <a:pPr marL="1076325" lvl="1" indent="-403225" algn="just" defTabSz="914400">
              <a:lnSpc>
                <a:spcPct val="150000"/>
              </a:lnSpc>
              <a:spcBef>
                <a:spcPct val="50000"/>
              </a:spcBef>
              <a:buClr>
                <a:prstClr val="black"/>
              </a:buClr>
              <a:buSzPct val="120000"/>
              <a:buBlip>
                <a:blip r:embed="rId2"/>
              </a:buBlip>
              <a:tabLst>
                <a:tab pos="3409950" algn="l"/>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disposable income threshold (RAV*): RAV &lt; €834 (1 person) +€250 by additional person in the household</a:t>
            </a:r>
          </a:p>
          <a:p>
            <a:pPr marL="619125" indent="-403225" algn="just" defTabSz="914400">
              <a:lnSpc>
                <a:spcPct val="150000"/>
              </a:lnSpc>
              <a:spcBef>
                <a:spcPct val="50000"/>
              </a:spcBef>
              <a:buClr>
                <a:prstClr val="black"/>
              </a:buClr>
              <a:buSzPct val="120000"/>
              <a:buBlip>
                <a:blip r:embed="rId2"/>
              </a:buBlip>
              <a:tabLst>
                <a:tab pos="3409950" algn="l"/>
              </a:tabLst>
              <a:defRPr/>
            </a:pPr>
            <a:r>
              <a:rPr lang="en-US" sz="800" dirty="0">
                <a:solidFill>
                  <a:prstClr val="black"/>
                </a:solidFill>
                <a:latin typeface="Arial"/>
              </a:rPr>
              <a:t>Analysis</a:t>
            </a:r>
            <a:r>
              <a:rPr kumimoji="0" lang="en-US" sz="800" b="0" i="0" u="none" strike="noStrike" kern="1200" cap="none" spc="0" normalizeH="0" baseline="0" noProof="0" dirty="0">
                <a:ln>
                  <a:noFill/>
                </a:ln>
                <a:solidFill>
                  <a:prstClr val="black"/>
                </a:solidFill>
                <a:effectLst/>
                <a:uLnTx/>
                <a:uFillTx/>
                <a:latin typeface="Arial"/>
                <a:ea typeface="+mn-ea"/>
                <a:cs typeface="+mn-cs"/>
              </a:rPr>
              <a:t> on the bank statements(last 3 months) for calculation of the balance flow/credit of the accounts (the balance must be positive post RAC)</a:t>
            </a:r>
          </a:p>
          <a:p>
            <a:pPr marL="215900" algn="just" defTabSz="914400">
              <a:lnSpc>
                <a:spcPct val="150000"/>
              </a:lnSpc>
              <a:spcBef>
                <a:spcPct val="50000"/>
              </a:spcBef>
              <a:buClr>
                <a:prstClr val="black"/>
              </a:buClr>
              <a:buSzPct val="120000"/>
              <a:tabLst>
                <a:tab pos="3409950" algn="l"/>
              </a:tabLst>
              <a:defRPr/>
            </a:pPr>
            <a:endParaRPr kumimoji="0" lang="en-I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ZoneTexte 2">
            <a:extLst>
              <a:ext uri="{FF2B5EF4-FFF2-40B4-BE49-F238E27FC236}">
                <a16:creationId xmlns:a16="http://schemas.microsoft.com/office/drawing/2014/main" id="{429626C6-A089-429F-90EE-C552FFEC8A00}"/>
              </a:ext>
            </a:extLst>
          </p:cNvPr>
          <p:cNvSpPr txBox="1"/>
          <p:nvPr/>
        </p:nvSpPr>
        <p:spPr>
          <a:xfrm>
            <a:off x="517608" y="4956055"/>
            <a:ext cx="5376672" cy="200055"/>
          </a:xfrm>
          <a:prstGeom prst="rect">
            <a:avLst/>
          </a:prstGeom>
          <a:noFill/>
        </p:spPr>
        <p:txBody>
          <a:bodyPr wrap="square" rtlCol="0">
            <a:spAutoFit/>
          </a:bodyPr>
          <a:lstStyle/>
          <a:p>
            <a:r>
              <a:rPr lang="fr-FR" sz="700" i="1" dirty="0"/>
              <a:t>*RAV 2023, </a:t>
            </a:r>
            <a:r>
              <a:rPr lang="fr-FR" sz="700" i="1" dirty="0" err="1"/>
              <a:t>reviewed</a:t>
            </a:r>
            <a:r>
              <a:rPr lang="fr-FR" sz="700" i="1" dirty="0"/>
              <a:t> </a:t>
            </a:r>
            <a:r>
              <a:rPr lang="fr-FR" sz="700" i="1" dirty="0" err="1"/>
              <a:t>each</a:t>
            </a:r>
            <a:r>
              <a:rPr lang="fr-FR" sz="700" i="1" dirty="0"/>
              <a:t> </a:t>
            </a:r>
            <a:r>
              <a:rPr lang="fr-FR" sz="700" i="1" dirty="0" err="1"/>
              <a:t>year</a:t>
            </a:r>
            <a:r>
              <a:rPr lang="fr-FR" sz="700" i="1" dirty="0"/>
              <a:t> by Banque de France</a:t>
            </a:r>
          </a:p>
        </p:txBody>
      </p:sp>
      <p:sp>
        <p:nvSpPr>
          <p:cNvPr id="9" name="Rectangle 8">
            <a:extLst>
              <a:ext uri="{FF2B5EF4-FFF2-40B4-BE49-F238E27FC236}">
                <a16:creationId xmlns:a16="http://schemas.microsoft.com/office/drawing/2014/main" id="{2037B99C-5A31-4DF9-94EB-557FBF8266B3}"/>
              </a:ext>
            </a:extLst>
          </p:cNvPr>
          <p:cNvSpPr/>
          <p:nvPr/>
        </p:nvSpPr>
        <p:spPr>
          <a:xfrm>
            <a:off x="361029" y="3213704"/>
            <a:ext cx="8014826" cy="1571793"/>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333902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700362" y="297259"/>
            <a:ext cx="6038204" cy="233772"/>
          </a:xfrm>
        </p:spPr>
        <p:txBody>
          <a:bodyPr/>
          <a:lstStyle/>
          <a:p>
            <a:pPr>
              <a:lnSpc>
                <a:spcPct val="75000"/>
              </a:lnSpc>
            </a:pPr>
            <a:r>
              <a:rPr lang="fr-FR" sz="1600" dirty="0">
                <a:solidFill>
                  <a:prstClr val="black"/>
                </a:solidFill>
              </a:rPr>
              <a:t>Required documentation &amp; Controls</a:t>
            </a:r>
            <a:endParaRPr lang="en-GB" sz="1500" dirty="0"/>
          </a:p>
        </p:txBody>
      </p:sp>
      <p:sp>
        <p:nvSpPr>
          <p:cNvPr id="4" name="Espace réservé de la date 3"/>
          <p:cNvSpPr>
            <a:spLocks noGrp="1"/>
          </p:cNvSpPr>
          <p:nvPr>
            <p:ph type="dt" sz="half" idx="10"/>
          </p:nvPr>
        </p:nvSpPr>
        <p:spPr bwMode="gray">
          <a:xfrm>
            <a:off x="923810" y="6480335"/>
            <a:ext cx="648072"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18/07/2018</a:t>
            </a:r>
            <a:endParaRPr lang="fr-FR" dirty="0"/>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p:cNvSpPr>
            <a:spLocks noGrp="1"/>
          </p:cNvSpPr>
          <p:nvPr>
            <p:ph type="sldNum" sz="quarter" idx="12"/>
          </p:nvPr>
        </p:nvSpPr>
        <p:spPr bwMode="gray">
          <a:xfrm>
            <a:off x="1989237" y="6480335"/>
            <a:ext cx="293491"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571E2A-2AE4-4AE9-A5FF-468BE27EC277}" type="slidenum">
              <a:rPr lang="fr-FR" smtClean="0"/>
              <a:pPr/>
              <a:t>33</a:t>
            </a:fld>
            <a:endParaRPr lang="fr-FR" dirty="0"/>
          </a:p>
        </p:txBody>
      </p:sp>
      <p:sp>
        <p:nvSpPr>
          <p:cNvPr id="9" name="Rectangle 86"/>
          <p:cNvSpPr>
            <a:spLocks noChangeArrowheads="1"/>
          </p:cNvSpPr>
          <p:nvPr/>
        </p:nvSpPr>
        <p:spPr bwMode="auto">
          <a:xfrm>
            <a:off x="734759" y="4732222"/>
            <a:ext cx="5575697"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pPr>
            <a:r>
              <a:rPr lang="fr-FR" sz="600" b="1" dirty="0">
                <a:ea typeface="SimSun" pitchFamily="2" charset="-122"/>
                <a:cs typeface="Arial" charset="0"/>
                <a:sym typeface="Wingdings 2" pitchFamily="18" charset="2"/>
              </a:rPr>
              <a:t></a:t>
            </a:r>
            <a:r>
              <a:rPr lang="fr-FR" sz="600" dirty="0">
                <a:ea typeface="SimSun" pitchFamily="2" charset="-122"/>
                <a:cs typeface="Arial" charset="0"/>
              </a:rPr>
              <a:t>           </a:t>
            </a:r>
            <a:r>
              <a:rPr lang="en-IE" sz="600" dirty="0">
                <a:ea typeface="SimSun" pitchFamily="2" charset="-122"/>
                <a:cs typeface="Arial" charset="0"/>
              </a:rPr>
              <a:t>Original documents must be checked and added to the client’s file.	</a:t>
            </a:r>
          </a:p>
          <a:p>
            <a:pPr>
              <a:spcBef>
                <a:spcPct val="20000"/>
              </a:spcBef>
            </a:pPr>
            <a:r>
              <a:rPr lang="en-IE" sz="600" dirty="0">
                <a:ea typeface="SimSun" pitchFamily="2" charset="-122"/>
                <a:cs typeface="Arial" charset="0"/>
              </a:rPr>
              <a:t>                Required documents for entry into relationship (but not essential for a known client with commitment at or below €46,000, unless</a:t>
            </a:r>
            <a:r>
              <a:rPr lang="fr-FR" sz="600" dirty="0">
                <a:ea typeface="SimSun" pitchFamily="2" charset="-122"/>
                <a:cs typeface="Arial" charset="0"/>
              </a:rPr>
              <a:t> change).</a:t>
            </a:r>
          </a:p>
        </p:txBody>
      </p:sp>
      <p:sp>
        <p:nvSpPr>
          <p:cNvPr id="12" name="Text Box 2"/>
          <p:cNvSpPr txBox="1">
            <a:spLocks noChangeArrowheads="1"/>
          </p:cNvSpPr>
          <p:nvPr/>
        </p:nvSpPr>
        <p:spPr bwMode="auto">
          <a:xfrm>
            <a:off x="5353879" y="1547101"/>
            <a:ext cx="2875722" cy="1637371"/>
          </a:xfrm>
          <a:prstGeom prst="rect">
            <a:avLst/>
          </a:prstGeom>
          <a:noFill/>
          <a:ln w="12700" algn="ctr">
            <a:noFill/>
            <a:miter lim="800000"/>
            <a:headEnd/>
            <a:tailEnd/>
          </a:ln>
        </p:spPr>
        <p:txBody>
          <a:bodyPr wrap="square" lIns="0" tIns="0" rIns="0" bIns="0">
            <a:spAutoFit/>
          </a:bodyPr>
          <a:lstStyle/>
          <a:p>
            <a:pPr algn="just">
              <a:spcBef>
                <a:spcPct val="20000"/>
              </a:spcBef>
            </a:pPr>
            <a:r>
              <a:rPr lang="fr-FR" sz="700" i="1" dirty="0">
                <a:solidFill>
                  <a:prstClr val="black"/>
                </a:solidFill>
                <a:latin typeface="Arial"/>
              </a:rPr>
              <a:t>(1) </a:t>
            </a:r>
            <a:r>
              <a:rPr lang="fr-FR" sz="700" i="1" dirty="0" err="1">
                <a:solidFill>
                  <a:prstClr val="black"/>
                </a:solidFill>
                <a:latin typeface="Arial"/>
              </a:rPr>
              <a:t>Pay</a:t>
            </a:r>
            <a:r>
              <a:rPr lang="fr-FR" sz="700" i="1" dirty="0">
                <a:solidFill>
                  <a:prstClr val="black"/>
                </a:solidFill>
                <a:latin typeface="Arial"/>
              </a:rPr>
              <a:t> slips for the last </a:t>
            </a:r>
            <a:r>
              <a:rPr lang="fr-FR" sz="700" i="1" dirty="0" err="1">
                <a:solidFill>
                  <a:prstClr val="black"/>
                </a:solidFill>
                <a:latin typeface="Arial"/>
              </a:rPr>
              <a:t>two</a:t>
            </a:r>
            <a:r>
              <a:rPr lang="fr-FR" sz="700" i="1" dirty="0">
                <a:solidFill>
                  <a:prstClr val="black"/>
                </a:solidFill>
                <a:latin typeface="Arial"/>
              </a:rPr>
              <a:t> </a:t>
            </a:r>
            <a:r>
              <a:rPr lang="fr-FR" sz="700" i="1" dirty="0" err="1">
                <a:solidFill>
                  <a:prstClr val="black"/>
                </a:solidFill>
                <a:latin typeface="Arial"/>
              </a:rPr>
              <a:t>months</a:t>
            </a:r>
            <a:r>
              <a:rPr lang="fr-FR" sz="700" i="1" dirty="0">
                <a:solidFill>
                  <a:prstClr val="black"/>
                </a:solidFill>
                <a:latin typeface="Arial"/>
              </a:rPr>
              <a:t> if the cumulative </a:t>
            </a:r>
            <a:r>
              <a:rPr lang="fr-FR" sz="700" i="1" dirty="0" err="1">
                <a:solidFill>
                  <a:prstClr val="black"/>
                </a:solidFill>
                <a:latin typeface="Arial"/>
              </a:rPr>
              <a:t>amount</a:t>
            </a:r>
            <a:r>
              <a:rPr lang="fr-FR" sz="700" i="1" dirty="0">
                <a:solidFill>
                  <a:prstClr val="black"/>
                </a:solidFill>
                <a:latin typeface="Arial"/>
              </a:rPr>
              <a:t> </a:t>
            </a:r>
            <a:r>
              <a:rPr lang="fr-FR" sz="700" i="1" dirty="0" err="1">
                <a:solidFill>
                  <a:prstClr val="black"/>
                </a:solidFill>
                <a:latin typeface="Arial"/>
              </a:rPr>
              <a:t>commited</a:t>
            </a:r>
            <a:r>
              <a:rPr lang="fr-FR" sz="700" i="1" dirty="0">
                <a:solidFill>
                  <a:prstClr val="black"/>
                </a:solidFill>
                <a:latin typeface="Arial"/>
              </a:rPr>
              <a:t> &gt; €80,000.</a:t>
            </a:r>
          </a:p>
          <a:p>
            <a:pPr algn="just">
              <a:spcBef>
                <a:spcPct val="20000"/>
              </a:spcBef>
            </a:pPr>
            <a:r>
              <a:rPr lang="fr-FR" sz="700" i="1" dirty="0" err="1">
                <a:solidFill>
                  <a:prstClr val="black"/>
                </a:solidFill>
                <a:latin typeface="Arial"/>
              </a:rPr>
              <a:t>Income</a:t>
            </a:r>
            <a:r>
              <a:rPr lang="fr-FR" sz="700" i="1" dirty="0">
                <a:solidFill>
                  <a:prstClr val="black"/>
                </a:solidFill>
                <a:latin typeface="Arial"/>
              </a:rPr>
              <a:t> </a:t>
            </a:r>
            <a:r>
              <a:rPr lang="fr-FR" sz="700" i="1" dirty="0" err="1">
                <a:solidFill>
                  <a:prstClr val="black"/>
                </a:solidFill>
                <a:latin typeface="Arial"/>
              </a:rPr>
              <a:t>tax</a:t>
            </a:r>
            <a:r>
              <a:rPr lang="fr-FR" sz="700" i="1" dirty="0">
                <a:solidFill>
                  <a:prstClr val="black"/>
                </a:solidFill>
                <a:latin typeface="Arial"/>
              </a:rPr>
              <a:t> return </a:t>
            </a:r>
            <a:r>
              <a:rPr lang="fr-FR" sz="700" i="1" dirty="0" err="1">
                <a:solidFill>
                  <a:prstClr val="black"/>
                </a:solidFill>
                <a:latin typeface="Arial"/>
              </a:rPr>
              <a:t>required</a:t>
            </a:r>
            <a:r>
              <a:rPr lang="fr-FR" sz="700" i="1" dirty="0">
                <a:solidFill>
                  <a:prstClr val="black"/>
                </a:solidFill>
                <a:latin typeface="Arial"/>
              </a:rPr>
              <a:t> for </a:t>
            </a:r>
            <a:r>
              <a:rPr lang="fr-FR" sz="700" i="1" dirty="0" err="1">
                <a:solidFill>
                  <a:prstClr val="black"/>
                </a:solidFill>
                <a:latin typeface="Arial"/>
              </a:rPr>
              <a:t>retirees</a:t>
            </a:r>
            <a:r>
              <a:rPr lang="fr-FR" sz="700" i="1" dirty="0">
                <a:solidFill>
                  <a:prstClr val="black"/>
                </a:solidFill>
                <a:latin typeface="Arial"/>
              </a:rPr>
              <a:t> and </a:t>
            </a:r>
            <a:r>
              <a:rPr lang="fr-FR" sz="700" i="1" dirty="0" err="1">
                <a:solidFill>
                  <a:prstClr val="black"/>
                </a:solidFill>
                <a:latin typeface="Arial"/>
              </a:rPr>
              <a:t>annuitants</a:t>
            </a:r>
            <a:r>
              <a:rPr lang="fr-FR" sz="700" i="1" dirty="0">
                <a:solidFill>
                  <a:prstClr val="black"/>
                </a:solidFill>
                <a:latin typeface="Arial"/>
              </a:rPr>
              <a:t>; last </a:t>
            </a:r>
            <a:r>
              <a:rPr lang="fr-FR" sz="700" i="1" dirty="0" err="1">
                <a:solidFill>
                  <a:prstClr val="black"/>
                </a:solidFill>
                <a:latin typeface="Arial"/>
              </a:rPr>
              <a:t>december</a:t>
            </a:r>
            <a:r>
              <a:rPr lang="fr-FR" sz="700" i="1" dirty="0">
                <a:solidFill>
                  <a:prstClr val="black"/>
                </a:solidFill>
                <a:latin typeface="Arial"/>
              </a:rPr>
              <a:t> </a:t>
            </a:r>
            <a:r>
              <a:rPr lang="fr-FR" sz="700" i="1" dirty="0" err="1">
                <a:solidFill>
                  <a:prstClr val="black"/>
                </a:solidFill>
                <a:latin typeface="Arial"/>
              </a:rPr>
              <a:t>pay</a:t>
            </a:r>
            <a:r>
              <a:rPr lang="fr-FR" sz="700" i="1" dirty="0">
                <a:solidFill>
                  <a:prstClr val="black"/>
                </a:solidFill>
                <a:latin typeface="Arial"/>
              </a:rPr>
              <a:t> slip </a:t>
            </a:r>
            <a:r>
              <a:rPr lang="fr-FR" sz="700" i="1" dirty="0" err="1">
                <a:solidFill>
                  <a:prstClr val="black"/>
                </a:solidFill>
                <a:latin typeface="Arial"/>
              </a:rPr>
              <a:t>is</a:t>
            </a:r>
            <a:r>
              <a:rPr lang="fr-FR" sz="700" i="1" dirty="0">
                <a:solidFill>
                  <a:prstClr val="black"/>
                </a:solidFill>
                <a:latin typeface="Arial"/>
              </a:rPr>
              <a:t> </a:t>
            </a:r>
            <a:r>
              <a:rPr lang="fr-FR" sz="700" i="1" dirty="0" err="1">
                <a:solidFill>
                  <a:prstClr val="black"/>
                </a:solidFill>
                <a:latin typeface="Arial"/>
              </a:rPr>
              <a:t>required</a:t>
            </a:r>
            <a:r>
              <a:rPr lang="fr-FR" sz="700" i="1" dirty="0">
                <a:solidFill>
                  <a:prstClr val="black"/>
                </a:solidFill>
                <a:latin typeface="Arial"/>
              </a:rPr>
              <a:t> for consolidations and </a:t>
            </a:r>
            <a:r>
              <a:rPr lang="fr-FR" sz="700" i="1" dirty="0" err="1">
                <a:solidFill>
                  <a:prstClr val="black"/>
                </a:solidFill>
                <a:latin typeface="Arial"/>
              </a:rPr>
              <a:t>brokerage</a:t>
            </a:r>
            <a:endParaRPr lang="fr-FR" sz="700" i="1" dirty="0">
              <a:solidFill>
                <a:prstClr val="black"/>
              </a:solidFill>
              <a:latin typeface="Arial"/>
            </a:endParaRPr>
          </a:p>
          <a:p>
            <a:pPr algn="just">
              <a:spcBef>
                <a:spcPct val="20000"/>
              </a:spcBef>
            </a:pPr>
            <a:r>
              <a:rPr lang="fr-FR" sz="700" i="1" dirty="0">
                <a:solidFill>
                  <a:prstClr val="black"/>
                </a:solidFill>
                <a:latin typeface="Arial"/>
              </a:rPr>
              <a:t>For </a:t>
            </a:r>
            <a:r>
              <a:rPr lang="fr-FR" sz="700" i="1" dirty="0" err="1">
                <a:solidFill>
                  <a:prstClr val="black"/>
                </a:solidFill>
                <a:latin typeface="Arial"/>
              </a:rPr>
              <a:t>regulated</a:t>
            </a:r>
            <a:r>
              <a:rPr lang="fr-FR" sz="700" i="1" dirty="0">
                <a:solidFill>
                  <a:prstClr val="black"/>
                </a:solidFill>
                <a:latin typeface="Arial"/>
              </a:rPr>
              <a:t> </a:t>
            </a:r>
            <a:r>
              <a:rPr lang="fr-FR" sz="700" i="1" dirty="0" err="1">
                <a:solidFill>
                  <a:prstClr val="black"/>
                </a:solidFill>
                <a:latin typeface="Arial"/>
              </a:rPr>
              <a:t>professionals</a:t>
            </a:r>
            <a:r>
              <a:rPr lang="fr-FR" sz="700" i="1" dirty="0">
                <a:solidFill>
                  <a:prstClr val="black"/>
                </a:solidFill>
                <a:latin typeface="Arial"/>
              </a:rPr>
              <a:t>, the last </a:t>
            </a:r>
            <a:r>
              <a:rPr lang="fr-FR" sz="700" i="1" dirty="0" err="1">
                <a:solidFill>
                  <a:prstClr val="black"/>
                </a:solidFill>
                <a:latin typeface="Arial"/>
              </a:rPr>
              <a:t>two</a:t>
            </a:r>
            <a:r>
              <a:rPr lang="fr-FR" sz="700" i="1" dirty="0">
                <a:solidFill>
                  <a:prstClr val="black"/>
                </a:solidFill>
                <a:latin typeface="Arial"/>
              </a:rPr>
              <a:t> balance </a:t>
            </a:r>
            <a:r>
              <a:rPr lang="fr-FR" sz="700" i="1" dirty="0" err="1">
                <a:solidFill>
                  <a:prstClr val="black"/>
                </a:solidFill>
                <a:latin typeface="Arial"/>
              </a:rPr>
              <a:t>sheets</a:t>
            </a:r>
            <a:r>
              <a:rPr lang="fr-FR" sz="700" i="1" dirty="0">
                <a:solidFill>
                  <a:prstClr val="black"/>
                </a:solidFill>
                <a:latin typeface="Arial"/>
              </a:rPr>
              <a:t> and </a:t>
            </a:r>
            <a:r>
              <a:rPr lang="fr-FR" sz="700" i="1" dirty="0" err="1">
                <a:solidFill>
                  <a:prstClr val="black"/>
                </a:solidFill>
                <a:latin typeface="Arial"/>
              </a:rPr>
              <a:t>income</a:t>
            </a:r>
            <a:r>
              <a:rPr lang="fr-FR" sz="700" i="1" dirty="0">
                <a:solidFill>
                  <a:prstClr val="black"/>
                </a:solidFill>
                <a:latin typeface="Arial"/>
              </a:rPr>
              <a:t> </a:t>
            </a:r>
            <a:r>
              <a:rPr lang="fr-FR" sz="700" i="1" dirty="0" err="1">
                <a:solidFill>
                  <a:prstClr val="black"/>
                </a:solidFill>
                <a:latin typeface="Arial"/>
              </a:rPr>
              <a:t>statements</a:t>
            </a:r>
            <a:r>
              <a:rPr lang="fr-FR" sz="700" i="1" dirty="0">
                <a:solidFill>
                  <a:prstClr val="black"/>
                </a:solidFill>
                <a:latin typeface="Arial"/>
              </a:rPr>
              <a:t>, </a:t>
            </a:r>
            <a:r>
              <a:rPr lang="fr-FR" sz="700" i="1" dirty="0" err="1">
                <a:solidFill>
                  <a:prstClr val="black"/>
                </a:solidFill>
                <a:latin typeface="Arial"/>
              </a:rPr>
              <a:t>Batica</a:t>
            </a:r>
            <a:r>
              <a:rPr lang="fr-FR" sz="700" i="1" dirty="0">
                <a:solidFill>
                  <a:prstClr val="black"/>
                </a:solidFill>
                <a:latin typeface="Arial"/>
              </a:rPr>
              <a:t> interrogation (</a:t>
            </a:r>
            <a:r>
              <a:rPr lang="fr-FR" sz="700" i="1" dirty="0" err="1">
                <a:solidFill>
                  <a:prstClr val="black"/>
                </a:solidFill>
                <a:latin typeface="Arial"/>
              </a:rPr>
              <a:t>realised</a:t>
            </a:r>
            <a:r>
              <a:rPr lang="fr-FR" sz="700" i="1" dirty="0">
                <a:solidFill>
                  <a:prstClr val="black"/>
                </a:solidFill>
                <a:latin typeface="Arial"/>
              </a:rPr>
              <a:t> by the client </a:t>
            </a:r>
            <a:r>
              <a:rPr lang="fr-FR" sz="700" i="1" dirty="0" err="1">
                <a:solidFill>
                  <a:prstClr val="black"/>
                </a:solidFill>
                <a:latin typeface="Arial"/>
              </a:rPr>
              <a:t>advisor</a:t>
            </a:r>
            <a:r>
              <a:rPr lang="fr-FR" sz="700" i="1" dirty="0">
                <a:solidFill>
                  <a:prstClr val="black"/>
                </a:solidFill>
                <a:latin typeface="Arial"/>
              </a:rPr>
              <a:t>) and last </a:t>
            </a:r>
            <a:r>
              <a:rPr lang="fr-FR" sz="700" i="1" dirty="0" err="1">
                <a:solidFill>
                  <a:prstClr val="black"/>
                </a:solidFill>
                <a:latin typeface="Arial"/>
              </a:rPr>
              <a:t>two</a:t>
            </a:r>
            <a:r>
              <a:rPr lang="fr-FR" sz="700" i="1" dirty="0">
                <a:solidFill>
                  <a:prstClr val="black"/>
                </a:solidFill>
                <a:latin typeface="Arial"/>
              </a:rPr>
              <a:t> </a:t>
            </a:r>
            <a:r>
              <a:rPr lang="fr-FR" sz="700" i="1" dirty="0" err="1">
                <a:solidFill>
                  <a:prstClr val="black"/>
                </a:solidFill>
                <a:latin typeface="Arial"/>
              </a:rPr>
              <a:t>income</a:t>
            </a:r>
            <a:r>
              <a:rPr lang="fr-FR" sz="700" i="1" dirty="0">
                <a:solidFill>
                  <a:prstClr val="black"/>
                </a:solidFill>
                <a:latin typeface="Arial"/>
              </a:rPr>
              <a:t> </a:t>
            </a:r>
            <a:r>
              <a:rPr lang="fr-FR" sz="700" i="1" dirty="0" err="1">
                <a:solidFill>
                  <a:prstClr val="black"/>
                </a:solidFill>
                <a:latin typeface="Arial"/>
              </a:rPr>
              <a:t>tax</a:t>
            </a:r>
            <a:r>
              <a:rPr lang="fr-FR" sz="700" i="1" dirty="0">
                <a:solidFill>
                  <a:prstClr val="black"/>
                </a:solidFill>
                <a:latin typeface="Arial"/>
              </a:rPr>
              <a:t> </a:t>
            </a:r>
            <a:r>
              <a:rPr lang="fr-FR" sz="700" i="1" dirty="0" err="1">
                <a:solidFill>
                  <a:prstClr val="black"/>
                </a:solidFill>
                <a:latin typeface="Arial"/>
              </a:rPr>
              <a:t>returns</a:t>
            </a:r>
            <a:r>
              <a:rPr lang="fr-FR" sz="700" i="1" dirty="0">
                <a:solidFill>
                  <a:prstClr val="black"/>
                </a:solidFill>
                <a:latin typeface="Arial"/>
              </a:rPr>
              <a:t> </a:t>
            </a:r>
          </a:p>
          <a:p>
            <a:pPr algn="just">
              <a:spcBef>
                <a:spcPct val="20000"/>
              </a:spcBef>
            </a:pPr>
            <a:endParaRPr lang="fr-FR" sz="700" i="1" dirty="0">
              <a:solidFill>
                <a:prstClr val="black"/>
              </a:solidFill>
              <a:latin typeface="Arial"/>
            </a:endParaRPr>
          </a:p>
          <a:p>
            <a:pPr algn="just">
              <a:spcBef>
                <a:spcPct val="20000"/>
              </a:spcBef>
            </a:pPr>
            <a:r>
              <a:rPr lang="fr-FR" sz="700" i="1" dirty="0">
                <a:solidFill>
                  <a:prstClr val="black"/>
                </a:solidFill>
                <a:latin typeface="Arial"/>
              </a:rPr>
              <a:t>(2) </a:t>
            </a:r>
            <a:r>
              <a:rPr lang="fr-FR" sz="700" i="1" dirty="0" err="1">
                <a:solidFill>
                  <a:prstClr val="black"/>
                </a:solidFill>
                <a:latin typeface="Arial"/>
              </a:rPr>
              <a:t>Income</a:t>
            </a:r>
            <a:r>
              <a:rPr lang="fr-FR" sz="700" i="1" dirty="0">
                <a:solidFill>
                  <a:prstClr val="black"/>
                </a:solidFill>
                <a:latin typeface="Arial"/>
              </a:rPr>
              <a:t> </a:t>
            </a:r>
            <a:r>
              <a:rPr lang="fr-FR" sz="700" i="1" dirty="0" err="1">
                <a:solidFill>
                  <a:prstClr val="black"/>
                </a:solidFill>
                <a:latin typeface="Arial"/>
              </a:rPr>
              <a:t>tax</a:t>
            </a:r>
            <a:r>
              <a:rPr lang="fr-FR" sz="700" i="1" dirty="0">
                <a:solidFill>
                  <a:prstClr val="black"/>
                </a:solidFill>
                <a:latin typeface="Arial"/>
              </a:rPr>
              <a:t> </a:t>
            </a:r>
            <a:r>
              <a:rPr lang="fr-FR" sz="700" i="1" dirty="0" err="1">
                <a:solidFill>
                  <a:prstClr val="black"/>
                </a:solidFill>
                <a:latin typeface="Arial"/>
              </a:rPr>
              <a:t>returns</a:t>
            </a:r>
            <a:r>
              <a:rPr lang="fr-FR" sz="700" i="1" dirty="0">
                <a:solidFill>
                  <a:prstClr val="black"/>
                </a:solidFill>
                <a:latin typeface="Arial"/>
              </a:rPr>
              <a:t> not </a:t>
            </a:r>
            <a:r>
              <a:rPr lang="fr-FR" sz="700" i="1" dirty="0" err="1">
                <a:solidFill>
                  <a:prstClr val="black"/>
                </a:solidFill>
                <a:latin typeface="Arial"/>
              </a:rPr>
              <a:t>required</a:t>
            </a:r>
            <a:r>
              <a:rPr lang="fr-FR" sz="700" i="1" dirty="0">
                <a:solidFill>
                  <a:prstClr val="black"/>
                </a:solidFill>
                <a:latin typeface="Arial"/>
              </a:rPr>
              <a:t> for cumulative </a:t>
            </a:r>
            <a:r>
              <a:rPr lang="fr-FR" sz="700" i="1" dirty="0" err="1">
                <a:solidFill>
                  <a:prstClr val="black"/>
                </a:solidFill>
                <a:latin typeface="Arial"/>
              </a:rPr>
              <a:t>commitments</a:t>
            </a:r>
            <a:r>
              <a:rPr lang="fr-FR" sz="700" i="1" dirty="0">
                <a:solidFill>
                  <a:prstClr val="black"/>
                </a:solidFill>
                <a:latin typeface="Arial"/>
              </a:rPr>
              <a:t> &lt; €5,300. </a:t>
            </a:r>
            <a:r>
              <a:rPr lang="fr-FR" sz="700" i="1" dirty="0" err="1">
                <a:solidFill>
                  <a:prstClr val="black"/>
                </a:solidFill>
                <a:latin typeface="Arial"/>
              </a:rPr>
              <a:t>Unless</a:t>
            </a:r>
            <a:r>
              <a:rPr lang="fr-FR" sz="700" i="1" dirty="0">
                <a:solidFill>
                  <a:prstClr val="black"/>
                </a:solidFill>
                <a:latin typeface="Arial"/>
              </a:rPr>
              <a:t> </a:t>
            </a:r>
            <a:r>
              <a:rPr lang="fr-FR" sz="700" i="1" dirty="0" err="1">
                <a:solidFill>
                  <a:prstClr val="black"/>
                </a:solidFill>
                <a:latin typeface="Arial"/>
              </a:rPr>
              <a:t>it</a:t>
            </a:r>
            <a:r>
              <a:rPr lang="fr-FR" sz="700" i="1" dirty="0">
                <a:solidFill>
                  <a:prstClr val="black"/>
                </a:solidFill>
                <a:latin typeface="Arial"/>
              </a:rPr>
              <a:t> </a:t>
            </a:r>
            <a:r>
              <a:rPr lang="fr-FR" sz="700" i="1" dirty="0" err="1">
                <a:solidFill>
                  <a:prstClr val="black"/>
                </a:solidFill>
                <a:latin typeface="Arial"/>
              </a:rPr>
              <a:t>is</a:t>
            </a:r>
            <a:r>
              <a:rPr lang="fr-FR" sz="700" i="1" dirty="0">
                <a:solidFill>
                  <a:prstClr val="black"/>
                </a:solidFill>
                <a:latin typeface="Arial"/>
              </a:rPr>
              <a:t> the </a:t>
            </a:r>
            <a:r>
              <a:rPr lang="fr-FR" sz="700" i="1" dirty="0" err="1">
                <a:solidFill>
                  <a:prstClr val="black"/>
                </a:solidFill>
                <a:latin typeface="Arial"/>
              </a:rPr>
              <a:t>only</a:t>
            </a:r>
            <a:r>
              <a:rPr lang="fr-FR" sz="700" i="1" dirty="0">
                <a:solidFill>
                  <a:prstClr val="black"/>
                </a:solidFill>
                <a:latin typeface="Arial"/>
              </a:rPr>
              <a:t> proof of </a:t>
            </a:r>
            <a:r>
              <a:rPr lang="fr-FR" sz="700" i="1" dirty="0" err="1">
                <a:solidFill>
                  <a:prstClr val="black"/>
                </a:solidFill>
                <a:latin typeface="Arial"/>
              </a:rPr>
              <a:t>income</a:t>
            </a:r>
            <a:r>
              <a:rPr lang="fr-FR" sz="700" i="1" dirty="0">
                <a:solidFill>
                  <a:prstClr val="black"/>
                </a:solidFill>
                <a:latin typeface="Arial"/>
              </a:rPr>
              <a:t> (</a:t>
            </a:r>
            <a:r>
              <a:rPr lang="fr-FR" sz="700" i="1" dirty="0" err="1">
                <a:solidFill>
                  <a:prstClr val="black"/>
                </a:solidFill>
                <a:latin typeface="Arial"/>
              </a:rPr>
              <a:t>retirees</a:t>
            </a:r>
            <a:r>
              <a:rPr lang="fr-FR" sz="700" i="1" dirty="0">
                <a:solidFill>
                  <a:prstClr val="black"/>
                </a:solidFill>
                <a:latin typeface="Arial"/>
              </a:rPr>
              <a:t>, </a:t>
            </a:r>
            <a:r>
              <a:rPr lang="fr-FR" sz="700" i="1" dirty="0" err="1">
                <a:solidFill>
                  <a:prstClr val="black"/>
                </a:solidFill>
                <a:latin typeface="Arial"/>
              </a:rPr>
              <a:t>regulated</a:t>
            </a:r>
            <a:r>
              <a:rPr lang="fr-FR" sz="700" i="1" dirty="0">
                <a:solidFill>
                  <a:prstClr val="black"/>
                </a:solidFill>
                <a:latin typeface="Arial"/>
              </a:rPr>
              <a:t> </a:t>
            </a:r>
            <a:r>
              <a:rPr lang="fr-FR" sz="700" i="1" dirty="0" err="1">
                <a:solidFill>
                  <a:prstClr val="black"/>
                </a:solidFill>
                <a:latin typeface="Arial"/>
              </a:rPr>
              <a:t>professionals</a:t>
            </a:r>
            <a:r>
              <a:rPr lang="fr-FR" sz="700" i="1" dirty="0">
                <a:solidFill>
                  <a:prstClr val="black"/>
                </a:solidFill>
                <a:latin typeface="Arial"/>
              </a:rPr>
              <a:t>, </a:t>
            </a:r>
            <a:r>
              <a:rPr lang="fr-FR" sz="700" i="1" dirty="0" err="1">
                <a:solidFill>
                  <a:prstClr val="black"/>
                </a:solidFill>
                <a:latin typeface="Arial"/>
              </a:rPr>
              <a:t>farmers</a:t>
            </a:r>
            <a:r>
              <a:rPr lang="fr-FR" sz="700" i="1" dirty="0">
                <a:solidFill>
                  <a:prstClr val="black"/>
                </a:solidFill>
                <a:latin typeface="Arial"/>
              </a:rPr>
              <a:t>, </a:t>
            </a:r>
            <a:r>
              <a:rPr lang="fr-FR" sz="700" i="1" dirty="0" err="1">
                <a:solidFill>
                  <a:prstClr val="black"/>
                </a:solidFill>
                <a:latin typeface="Arial"/>
              </a:rPr>
              <a:t>annuitants</a:t>
            </a:r>
            <a:r>
              <a:rPr lang="fr-FR" sz="700" i="1" dirty="0">
                <a:solidFill>
                  <a:prstClr val="black"/>
                </a:solidFill>
                <a:latin typeface="Arial"/>
              </a:rPr>
              <a:t>, etc.).</a:t>
            </a:r>
          </a:p>
          <a:p>
            <a:pPr algn="just">
              <a:spcBef>
                <a:spcPct val="20000"/>
              </a:spcBef>
            </a:pPr>
            <a:endParaRPr lang="fr-FR" sz="700" i="1" dirty="0">
              <a:solidFill>
                <a:srgbClr val="000000"/>
              </a:solidFill>
              <a:latin typeface="Arial"/>
            </a:endParaRPr>
          </a:p>
          <a:p>
            <a:pPr algn="just">
              <a:spcBef>
                <a:spcPct val="20000"/>
              </a:spcBef>
            </a:pPr>
            <a:r>
              <a:rPr lang="fr-FR" sz="700" i="1" dirty="0">
                <a:solidFill>
                  <a:srgbClr val="000000"/>
                </a:solidFill>
                <a:latin typeface="Arial"/>
              </a:rPr>
              <a:t>(3) The last </a:t>
            </a:r>
            <a:r>
              <a:rPr lang="fr-FR" sz="700" i="1" dirty="0" err="1">
                <a:solidFill>
                  <a:srgbClr val="000000"/>
                </a:solidFill>
                <a:latin typeface="Arial"/>
              </a:rPr>
              <a:t>two</a:t>
            </a:r>
            <a:r>
              <a:rPr lang="fr-FR" sz="700" i="1" dirty="0">
                <a:solidFill>
                  <a:srgbClr val="000000"/>
                </a:solidFill>
                <a:latin typeface="Arial"/>
              </a:rPr>
              <a:t> </a:t>
            </a:r>
            <a:r>
              <a:rPr lang="fr-FR" sz="700" i="1" dirty="0" err="1">
                <a:solidFill>
                  <a:srgbClr val="000000"/>
                </a:solidFill>
                <a:latin typeface="Arial"/>
              </a:rPr>
              <a:t>property</a:t>
            </a:r>
            <a:r>
              <a:rPr lang="fr-FR" sz="700" i="1" dirty="0">
                <a:solidFill>
                  <a:srgbClr val="000000"/>
                </a:solidFill>
                <a:latin typeface="Arial"/>
              </a:rPr>
              <a:t> </a:t>
            </a:r>
            <a:r>
              <a:rPr lang="fr-FR" sz="700" i="1" dirty="0" err="1">
                <a:solidFill>
                  <a:srgbClr val="000000"/>
                </a:solidFill>
                <a:latin typeface="Arial"/>
              </a:rPr>
              <a:t>tax</a:t>
            </a:r>
            <a:r>
              <a:rPr lang="fr-FR" sz="700" i="1" dirty="0">
                <a:solidFill>
                  <a:srgbClr val="000000"/>
                </a:solidFill>
                <a:latin typeface="Arial"/>
              </a:rPr>
              <a:t> are </a:t>
            </a:r>
            <a:r>
              <a:rPr lang="fr-FR" sz="700" i="1" dirty="0" err="1">
                <a:solidFill>
                  <a:srgbClr val="000000"/>
                </a:solidFill>
                <a:latin typeface="Arial"/>
              </a:rPr>
              <a:t>required</a:t>
            </a:r>
            <a:r>
              <a:rPr lang="fr-FR" sz="700" i="1" dirty="0">
                <a:solidFill>
                  <a:srgbClr val="000000"/>
                </a:solidFill>
                <a:latin typeface="Arial"/>
              </a:rPr>
              <a:t> if </a:t>
            </a:r>
            <a:r>
              <a:rPr lang="fr-FR" sz="700" i="1" dirty="0" err="1">
                <a:solidFill>
                  <a:srgbClr val="000000"/>
                </a:solidFill>
                <a:latin typeface="Arial"/>
              </a:rPr>
              <a:t>homeowner</a:t>
            </a:r>
            <a:r>
              <a:rPr lang="fr-FR" sz="700" i="1" dirty="0">
                <a:solidFill>
                  <a:srgbClr val="000000"/>
                </a:solidFill>
                <a:latin typeface="Arial"/>
              </a:rPr>
              <a:t> or </a:t>
            </a:r>
            <a:r>
              <a:rPr lang="en-US" sz="700" i="1" dirty="0"/>
              <a:t>new homebuyer</a:t>
            </a:r>
            <a:r>
              <a:rPr lang="fr-FR" sz="700" i="1" dirty="0">
                <a:solidFill>
                  <a:srgbClr val="000000"/>
                </a:solidFill>
                <a:latin typeface="Arial"/>
              </a:rPr>
              <a:t> (for </a:t>
            </a:r>
            <a:r>
              <a:rPr lang="fr-FR" sz="700" i="1" dirty="0" err="1">
                <a:solidFill>
                  <a:srgbClr val="000000"/>
                </a:solidFill>
                <a:latin typeface="Arial"/>
              </a:rPr>
              <a:t>brokerage</a:t>
            </a:r>
            <a:r>
              <a:rPr lang="fr-FR" sz="700" i="1" dirty="0">
                <a:solidFill>
                  <a:srgbClr val="000000"/>
                </a:solidFill>
                <a:latin typeface="Arial"/>
              </a:rPr>
              <a:t>)</a:t>
            </a:r>
          </a:p>
        </p:txBody>
      </p:sp>
      <p:graphicFrame>
        <p:nvGraphicFramePr>
          <p:cNvPr id="13" name="Group 3"/>
          <p:cNvGraphicFramePr>
            <a:graphicFrameLocks noGrp="1"/>
          </p:cNvGraphicFramePr>
          <p:nvPr>
            <p:extLst>
              <p:ext uri="{D42A27DB-BD31-4B8C-83A1-F6EECF244321}">
                <p14:modId xmlns:p14="http://schemas.microsoft.com/office/powerpoint/2010/main" val="2236186208"/>
              </p:ext>
            </p:extLst>
          </p:nvPr>
        </p:nvGraphicFramePr>
        <p:xfrm>
          <a:off x="592737" y="1082895"/>
          <a:ext cx="4363576" cy="3513932"/>
        </p:xfrm>
        <a:graphic>
          <a:graphicData uri="http://schemas.openxmlformats.org/drawingml/2006/table">
            <a:tbl>
              <a:tblPr/>
              <a:tblGrid>
                <a:gridCol w="1531420">
                  <a:extLst>
                    <a:ext uri="{9D8B030D-6E8A-4147-A177-3AD203B41FA5}">
                      <a16:colId xmlns:a16="http://schemas.microsoft.com/office/drawing/2014/main" val="20000"/>
                    </a:ext>
                  </a:extLst>
                </a:gridCol>
                <a:gridCol w="346947">
                  <a:extLst>
                    <a:ext uri="{9D8B030D-6E8A-4147-A177-3AD203B41FA5}">
                      <a16:colId xmlns:a16="http://schemas.microsoft.com/office/drawing/2014/main" val="20002"/>
                    </a:ext>
                  </a:extLst>
                </a:gridCol>
                <a:gridCol w="1138479">
                  <a:extLst>
                    <a:ext uri="{9D8B030D-6E8A-4147-A177-3AD203B41FA5}">
                      <a16:colId xmlns:a16="http://schemas.microsoft.com/office/drawing/2014/main" val="2491139845"/>
                    </a:ext>
                  </a:extLst>
                </a:gridCol>
                <a:gridCol w="209547">
                  <a:extLst>
                    <a:ext uri="{9D8B030D-6E8A-4147-A177-3AD203B41FA5}">
                      <a16:colId xmlns:a16="http://schemas.microsoft.com/office/drawing/2014/main" val="2510826944"/>
                    </a:ext>
                  </a:extLst>
                </a:gridCol>
                <a:gridCol w="1137183">
                  <a:extLst>
                    <a:ext uri="{9D8B030D-6E8A-4147-A177-3AD203B41FA5}">
                      <a16:colId xmlns:a16="http://schemas.microsoft.com/office/drawing/2014/main" val="1652601065"/>
                    </a:ext>
                  </a:extLst>
                </a:gridCol>
              </a:tblGrid>
              <a:tr h="43440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800" b="1" i="0" u="none" strike="noStrike" kern="1200" cap="none" normalizeH="0" baseline="0" dirty="0" err="1">
                          <a:ln>
                            <a:noFill/>
                          </a:ln>
                          <a:solidFill>
                            <a:schemeClr val="bg1"/>
                          </a:solidFill>
                          <a:effectLst/>
                          <a:latin typeface="Arial" charset="0"/>
                          <a:ea typeface="SimSun" pitchFamily="2" charset="-122"/>
                          <a:cs typeface="Times New Roman" pitchFamily="18" charset="0"/>
                        </a:rPr>
                        <a:t>Supporting</a:t>
                      </a:r>
                      <a:r>
                        <a:rPr kumimoji="0" lang="fr-FR" sz="800" b="1" i="0" u="none" strike="noStrike" kern="1200" cap="none" normalizeH="0" baseline="0" dirty="0">
                          <a:ln>
                            <a:noFill/>
                          </a:ln>
                          <a:solidFill>
                            <a:schemeClr val="bg1"/>
                          </a:solidFill>
                          <a:effectLst/>
                          <a:latin typeface="Arial" charset="0"/>
                          <a:ea typeface="SimSun" pitchFamily="2" charset="-122"/>
                          <a:cs typeface="Times New Roman" pitchFamily="18" charset="0"/>
                        </a:rPr>
                        <a:t> documents</a:t>
                      </a: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rgbClr val="00805F"/>
                    </a:solid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800" b="1" i="0" u="none" strike="noStrike" kern="1200" cap="none" normalizeH="0" baseline="0" dirty="0" err="1">
                          <a:ln>
                            <a:noFill/>
                          </a:ln>
                          <a:solidFill>
                            <a:schemeClr val="bg1"/>
                          </a:solidFill>
                          <a:effectLst/>
                          <a:latin typeface="Arial" charset="0"/>
                          <a:ea typeface="SimSun" pitchFamily="2" charset="-122"/>
                          <a:cs typeface="Times New Roman" pitchFamily="18" charset="0"/>
                        </a:rPr>
                        <a:t>Debt</a:t>
                      </a:r>
                      <a:r>
                        <a:rPr kumimoji="0" lang="fr-FR" sz="800" b="1" i="0" u="none" strike="noStrike" kern="1200" cap="none" normalizeH="0" baseline="0" dirty="0">
                          <a:ln>
                            <a:noFill/>
                          </a:ln>
                          <a:solidFill>
                            <a:schemeClr val="bg1"/>
                          </a:solidFill>
                          <a:effectLst/>
                          <a:latin typeface="Arial" charset="0"/>
                          <a:ea typeface="SimSun" pitchFamily="2" charset="-122"/>
                          <a:cs typeface="Times New Roman" pitchFamily="18" charset="0"/>
                        </a:rPr>
                        <a:t> Consolidation </a:t>
                      </a:r>
                      <a:r>
                        <a:rPr kumimoji="0" lang="fr-FR" sz="800" b="1" i="0" u="none" strike="noStrike" kern="1200" cap="none" normalizeH="0" baseline="0" dirty="0" err="1">
                          <a:ln>
                            <a:noFill/>
                          </a:ln>
                          <a:solidFill>
                            <a:schemeClr val="bg1"/>
                          </a:solidFill>
                          <a:effectLst/>
                          <a:latin typeface="Arial" charset="0"/>
                          <a:ea typeface="SimSun" pitchFamily="2" charset="-122"/>
                          <a:cs typeface="Times New Roman" pitchFamily="18" charset="0"/>
                        </a:rPr>
                        <a:t>Loans</a:t>
                      </a:r>
                      <a:r>
                        <a:rPr kumimoji="0" lang="fr-FR" sz="800" b="1" i="0" u="none" strike="noStrike" kern="1200" cap="none" normalizeH="0" baseline="0" dirty="0">
                          <a:ln>
                            <a:noFill/>
                          </a:ln>
                          <a:solidFill>
                            <a:schemeClr val="bg1"/>
                          </a:solidFill>
                          <a:effectLst/>
                          <a:latin typeface="Arial" charset="0"/>
                          <a:ea typeface="SimSun" pitchFamily="2" charset="-122"/>
                          <a:cs typeface="Times New Roman" pitchFamily="18" charset="0"/>
                        </a:rPr>
                        <a:t> Sofinco</a:t>
                      </a:r>
                    </a:p>
                  </a:txBody>
                  <a:tcPr marL="74295" marR="74295" marT="34290" marB="34290" anchor="ctr"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rgbClr val="00805F"/>
                    </a:solid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defRPr/>
                      </a:pPr>
                      <a:r>
                        <a:rPr kumimoji="0" lang="fr-FR" sz="800" b="1" i="0" u="none" strike="noStrike" kern="1200" cap="none" normalizeH="0" baseline="0" dirty="0" err="1">
                          <a:ln>
                            <a:noFill/>
                          </a:ln>
                          <a:solidFill>
                            <a:schemeClr val="bg1"/>
                          </a:solidFill>
                          <a:effectLst/>
                          <a:latin typeface="Arial" charset="0"/>
                          <a:ea typeface="SimSun" pitchFamily="2" charset="-122"/>
                          <a:cs typeface="Times New Roman" pitchFamily="18" charset="0"/>
                        </a:rPr>
                        <a:t>Debt</a:t>
                      </a:r>
                      <a:r>
                        <a:rPr kumimoji="0" lang="fr-FR" sz="800" b="1" i="0" u="none" strike="noStrike" kern="1200" cap="none" normalizeH="0" baseline="0" dirty="0">
                          <a:ln>
                            <a:noFill/>
                          </a:ln>
                          <a:solidFill>
                            <a:schemeClr val="bg1"/>
                          </a:solidFill>
                          <a:effectLst/>
                          <a:latin typeface="Arial" charset="0"/>
                          <a:ea typeface="SimSun" pitchFamily="2" charset="-122"/>
                          <a:cs typeface="Times New Roman" pitchFamily="18" charset="0"/>
                        </a:rPr>
                        <a:t> Consolidation </a:t>
                      </a:r>
                      <a:r>
                        <a:rPr kumimoji="0" lang="fr-FR" sz="800" b="1" i="0" u="none" strike="noStrike" kern="1200" cap="none" normalizeH="0" baseline="0" dirty="0" err="1">
                          <a:ln>
                            <a:noFill/>
                          </a:ln>
                          <a:solidFill>
                            <a:schemeClr val="bg1"/>
                          </a:solidFill>
                          <a:effectLst/>
                          <a:latin typeface="Arial" charset="0"/>
                          <a:ea typeface="SimSun" pitchFamily="2" charset="-122"/>
                          <a:cs typeface="Times New Roman" pitchFamily="18" charset="0"/>
                        </a:rPr>
                        <a:t>Loans</a:t>
                      </a:r>
                      <a:endParaRPr kumimoji="0" lang="fr-FR" sz="800" b="1" i="0" u="none" strike="noStrike" kern="1200" cap="none" normalizeH="0" baseline="0" dirty="0">
                        <a:ln>
                          <a:noFill/>
                        </a:ln>
                        <a:solidFill>
                          <a:schemeClr val="bg1"/>
                        </a:solidFill>
                        <a:effectLst/>
                        <a:latin typeface="Arial" charset="0"/>
                        <a:ea typeface="SimSun" pitchFamily="2" charset="-122"/>
                        <a:cs typeface="Times New Roman" pitchFamily="18" charset="0"/>
                      </a:endParaRPr>
                    </a:p>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800" b="1" i="0" u="none" strike="noStrike" kern="1200" cap="none" normalizeH="0" baseline="0" dirty="0" err="1">
                          <a:ln>
                            <a:noFill/>
                          </a:ln>
                          <a:solidFill>
                            <a:schemeClr val="bg1"/>
                          </a:solidFill>
                          <a:effectLst/>
                          <a:latin typeface="Arial" charset="0"/>
                          <a:ea typeface="SimSun" pitchFamily="2" charset="-122"/>
                          <a:cs typeface="Times New Roman" pitchFamily="18" charset="0"/>
                        </a:rPr>
                        <a:t>Credit</a:t>
                      </a:r>
                      <a:r>
                        <a:rPr kumimoji="0" lang="fr-FR" sz="800" b="1" i="0" u="none" strike="noStrike" kern="1200" cap="none" normalizeH="0" baseline="0" dirty="0">
                          <a:ln>
                            <a:noFill/>
                          </a:ln>
                          <a:solidFill>
                            <a:schemeClr val="bg1"/>
                          </a:solidFill>
                          <a:effectLst/>
                          <a:latin typeface="Arial" charset="0"/>
                          <a:ea typeface="SimSun" pitchFamily="2" charset="-122"/>
                          <a:cs typeface="Times New Roman" pitchFamily="18" charset="0"/>
                        </a:rPr>
                        <a:t> Lift</a:t>
                      </a:r>
                    </a:p>
                  </a:txBody>
                  <a:tcPr marL="74295" marR="74295" marT="34290" marB="34290" anchor="ctr"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rgbClr val="00805F"/>
                    </a:solidFill>
                  </a:tcPr>
                </a:tc>
                <a:tc hMerge="1">
                  <a:txBody>
                    <a:bodyPr/>
                    <a:lstStyle/>
                    <a:p>
                      <a:endParaRPr lang="fr-FR"/>
                    </a:p>
                  </a:txBody>
                  <a:tcPr/>
                </a:tc>
                <a:extLst>
                  <a:ext uri="{0D108BD9-81ED-4DB2-BD59-A6C34878D82A}">
                    <a16:rowId xmlns:a16="http://schemas.microsoft.com/office/drawing/2014/main" val="10000"/>
                  </a:ext>
                </a:extLst>
              </a:tr>
              <a:tr h="2261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Proofs</a:t>
                      </a:r>
                      <a:r>
                        <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rPr>
                        <a:t>  of </a:t>
                      </a: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Identity</a:t>
                      </a:r>
                      <a:endPar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extLst>
                  <a:ext uri="{0D108BD9-81ED-4DB2-BD59-A6C34878D82A}">
                    <a16:rowId xmlns:a16="http://schemas.microsoft.com/office/drawing/2014/main" val="10001"/>
                  </a:ext>
                </a:extLst>
              </a:tr>
              <a:tr h="2261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Proofs</a:t>
                      </a:r>
                      <a:r>
                        <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rPr>
                        <a:t>  of </a:t>
                      </a: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Address</a:t>
                      </a:r>
                      <a:endPar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extLst>
                  <a:ext uri="{0D108BD9-81ED-4DB2-BD59-A6C34878D82A}">
                    <a16:rowId xmlns:a16="http://schemas.microsoft.com/office/drawing/2014/main" val="10002"/>
                  </a:ext>
                </a:extLst>
              </a:tr>
              <a:tr h="2261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rPr>
                        <a:t>Last </a:t>
                      </a: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pay</a:t>
                      </a:r>
                      <a:r>
                        <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rPr>
                        <a:t> slips </a:t>
                      </a:r>
                      <a:r>
                        <a:rPr kumimoji="0" lang="fr-FR" sz="700" b="1" i="0" u="none" strike="noStrike" cap="none" normalizeH="0" baseline="30000" dirty="0">
                          <a:ln>
                            <a:noFill/>
                          </a:ln>
                          <a:solidFill>
                            <a:schemeClr val="tx1"/>
                          </a:solidFill>
                          <a:effectLst/>
                          <a:latin typeface="Arial" charset="0"/>
                          <a:ea typeface="SimSun" pitchFamily="2" charset="-122"/>
                          <a:cs typeface="Times New Roman" pitchFamily="18" charset="0"/>
                        </a:rPr>
                        <a:t>(1)</a:t>
                      </a:r>
                      <a:endParaRPr kumimoji="0" lang="fr-FR" sz="600" b="1" i="0" u="none" strike="noStrike" cap="none" normalizeH="0" baseline="30000" dirty="0">
                        <a:ln>
                          <a:noFill/>
                        </a:ln>
                        <a:solidFill>
                          <a:schemeClr val="tx1"/>
                        </a:solidFill>
                        <a:effectLst/>
                        <a:latin typeface="Arial" charset="0"/>
                        <a:ea typeface="SimSun" pitchFamily="2" charset="-122"/>
                        <a:cs typeface="Times New Roman" pitchFamily="18"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extLst>
                  <a:ext uri="{0D108BD9-81ED-4DB2-BD59-A6C34878D82A}">
                    <a16:rowId xmlns:a16="http://schemas.microsoft.com/office/drawing/2014/main" val="10003"/>
                  </a:ext>
                </a:extLst>
              </a:tr>
              <a:tr h="2261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Allowance</a:t>
                      </a:r>
                      <a:r>
                        <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rPr>
                        <a:t> if &gt; 50 % of </a:t>
                      </a: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income</a:t>
                      </a:r>
                      <a:endPar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extLst>
                  <a:ext uri="{0D108BD9-81ED-4DB2-BD59-A6C34878D82A}">
                    <a16:rowId xmlns:a16="http://schemas.microsoft.com/office/drawing/2014/main" val="10004"/>
                  </a:ext>
                </a:extLst>
              </a:tr>
              <a:tr h="2261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Temporary</a:t>
                      </a:r>
                      <a:r>
                        <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rPr>
                        <a:t> </a:t>
                      </a: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contract</a:t>
                      </a:r>
                      <a:endPar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extLst>
                  <a:ext uri="{0D108BD9-81ED-4DB2-BD59-A6C34878D82A}">
                    <a16:rowId xmlns:a16="http://schemas.microsoft.com/office/drawing/2014/main" val="10005"/>
                  </a:ext>
                </a:extLst>
              </a:tr>
              <a:tr h="2261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Income</a:t>
                      </a:r>
                      <a:r>
                        <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rPr>
                        <a:t> </a:t>
                      </a: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tax</a:t>
                      </a:r>
                      <a:r>
                        <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rPr>
                        <a:t> </a:t>
                      </a:r>
                      <a:r>
                        <a:rPr kumimoji="0" lang="fr-FR" sz="600" b="1" i="0" u="none" strike="noStrike" cap="none" normalizeH="0" baseline="0" dirty="0" err="1">
                          <a:ln>
                            <a:noFill/>
                          </a:ln>
                          <a:solidFill>
                            <a:schemeClr val="tx1"/>
                          </a:solidFill>
                          <a:effectLst/>
                          <a:latin typeface="Arial" charset="0"/>
                          <a:ea typeface="SimSun" pitchFamily="2" charset="-122"/>
                          <a:cs typeface="Times New Roman" pitchFamily="18" charset="0"/>
                        </a:rPr>
                        <a:t>returns</a:t>
                      </a:r>
                      <a:r>
                        <a:rPr kumimoji="0" lang="fr-FR" sz="600" b="1" i="0" u="none" strike="noStrike" cap="none" normalizeH="0" baseline="0" dirty="0">
                          <a:ln>
                            <a:noFill/>
                          </a:ln>
                          <a:solidFill>
                            <a:schemeClr val="tx1"/>
                          </a:solidFill>
                          <a:effectLst/>
                          <a:latin typeface="Arial" charset="0"/>
                          <a:ea typeface="SimSun" pitchFamily="2" charset="-122"/>
                          <a:cs typeface="Times New Roman" pitchFamily="18" charset="0"/>
                        </a:rPr>
                        <a:t> </a:t>
                      </a:r>
                      <a:r>
                        <a:rPr kumimoji="0" lang="fr-FR" sz="700" b="1" i="0" u="none" strike="noStrike" kern="1200" cap="none" normalizeH="0" baseline="30000" dirty="0">
                          <a:ln>
                            <a:noFill/>
                          </a:ln>
                          <a:solidFill>
                            <a:schemeClr val="tx1"/>
                          </a:solidFill>
                          <a:effectLst/>
                          <a:latin typeface="Arial" charset="0"/>
                          <a:ea typeface="SimSun" pitchFamily="2" charset="-122"/>
                          <a:cs typeface="Times New Roman" pitchFamily="18" charset="0"/>
                        </a:rPr>
                        <a:t>(2)</a:t>
                      </a: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extLst>
                  <a:ext uri="{0D108BD9-81ED-4DB2-BD59-A6C34878D82A}">
                    <a16:rowId xmlns:a16="http://schemas.microsoft.com/office/drawing/2014/main" val="10006"/>
                  </a:ext>
                </a:extLst>
              </a:tr>
              <a:tr h="2261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600" b="1" i="0" u="none" strike="noStrike" cap="none" normalizeH="0" baseline="0" dirty="0">
                          <a:ln>
                            <a:noFill/>
                          </a:ln>
                          <a:solidFill>
                            <a:schemeClr val="tx1"/>
                          </a:solidFill>
                          <a:effectLst/>
                          <a:latin typeface="Arial" charset="0"/>
                          <a:ea typeface="SimSun" pitchFamily="2" charset="-122"/>
                          <a:cs typeface="Times New Roman" pitchFamily="18" charset="0"/>
                        </a:rPr>
                        <a:t>Bank account identification</a:t>
                      </a: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extLst>
                  <a:ext uri="{0D108BD9-81ED-4DB2-BD59-A6C34878D82A}">
                    <a16:rowId xmlns:a16="http://schemas.microsoft.com/office/drawing/2014/main" val="10007"/>
                  </a:ext>
                </a:extLst>
              </a:tr>
              <a:tr h="32108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600" b="1" i="0" u="none" strike="noStrike" cap="none" normalizeH="0" baseline="0" dirty="0">
                          <a:ln>
                            <a:noFill/>
                          </a:ln>
                          <a:solidFill>
                            <a:schemeClr val="tx1"/>
                          </a:solidFill>
                          <a:effectLst/>
                          <a:latin typeface="Arial" charset="0"/>
                          <a:ea typeface="SimSun" pitchFamily="2" charset="-122"/>
                          <a:cs typeface="Times New Roman" pitchFamily="18" charset="0"/>
                        </a:rPr>
                        <a:t>Bank statement of the preceding month</a:t>
                      </a: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extLst>
                  <a:ext uri="{0D108BD9-81ED-4DB2-BD59-A6C34878D82A}">
                    <a16:rowId xmlns:a16="http://schemas.microsoft.com/office/drawing/2014/main" val="10008"/>
                  </a:ext>
                </a:extLst>
              </a:tr>
              <a:tr h="2406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600" b="1" i="0" u="none" strike="noStrike" cap="none" normalizeH="0" baseline="0" dirty="0">
                          <a:ln>
                            <a:noFill/>
                          </a:ln>
                          <a:solidFill>
                            <a:schemeClr val="tx1"/>
                          </a:solidFill>
                          <a:effectLst/>
                          <a:latin typeface="Arial" charset="0"/>
                          <a:ea typeface="SimSun" pitchFamily="2" charset="-122"/>
                          <a:cs typeface="Times New Roman" pitchFamily="18" charset="0"/>
                        </a:rPr>
                        <a:t>Bank statements for the last three months</a:t>
                      </a: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extLst>
                  <a:ext uri="{0D108BD9-81ED-4DB2-BD59-A6C34878D82A}">
                    <a16:rowId xmlns:a16="http://schemas.microsoft.com/office/drawing/2014/main" val="10009"/>
                  </a:ext>
                </a:extLst>
              </a:tr>
              <a:tr h="2261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600" b="1" i="0" u="none" strike="noStrike" cap="none" normalizeH="0" baseline="0" dirty="0">
                          <a:ln>
                            <a:noFill/>
                          </a:ln>
                          <a:solidFill>
                            <a:schemeClr val="tx1"/>
                          </a:solidFill>
                          <a:effectLst/>
                          <a:latin typeface="Arial" charset="0"/>
                          <a:ea typeface="SimSun" pitchFamily="2" charset="-122"/>
                          <a:cs typeface="Times New Roman" pitchFamily="18" charset="0"/>
                        </a:rPr>
                        <a:t>Property tax (3)</a:t>
                      </a: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endParaRPr kumimoji="0" lang="fr-FR" sz="1100" b="1" i="0" u="none" strike="noStrike" cap="none" normalizeH="0" baseline="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en-US" sz="1100" b="1" i="0" u="none" strike="noStrike" cap="none" normalizeH="0" baseline="0" dirty="0">
                        <a:ln>
                          <a:noFill/>
                        </a:ln>
                        <a:solidFill>
                          <a:schemeClr val="tx1"/>
                        </a:solidFill>
                        <a:effectLst/>
                        <a:latin typeface="Arial" charset="0"/>
                        <a:ea typeface="ＭＳ Ｐゴシック"/>
                        <a:cs typeface="ＭＳ Ｐゴシック"/>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hMerge="1">
                  <a:txBody>
                    <a:bodyPr/>
                    <a:lstStyle/>
                    <a:p>
                      <a:endParaRPr lang="fr-FR"/>
                    </a:p>
                  </a:txBody>
                  <a:tcPr/>
                </a:tc>
                <a:extLst>
                  <a:ext uri="{0D108BD9-81ED-4DB2-BD59-A6C34878D82A}">
                    <a16:rowId xmlns:a16="http://schemas.microsoft.com/office/drawing/2014/main" val="10010"/>
                  </a:ext>
                </a:extLst>
              </a:tr>
              <a:tr h="22992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600" b="1" i="0" u="none" strike="noStrike" cap="none" normalizeH="0" baseline="0" dirty="0" err="1">
                          <a:ln>
                            <a:noFill/>
                          </a:ln>
                          <a:solidFill>
                            <a:schemeClr val="tx1"/>
                          </a:solidFill>
                          <a:effectLst/>
                          <a:latin typeface="Arial" charset="0"/>
                          <a:ea typeface="SimSun" pitchFamily="2" charset="-122"/>
                          <a:cs typeface="Times New Roman" pitchFamily="18" charset="0"/>
                        </a:rPr>
                        <a:t>Amortisation</a:t>
                      </a:r>
                      <a:r>
                        <a:rPr kumimoji="0" lang="en-US" sz="600" b="1" i="0" u="none" strike="noStrike" cap="none" normalizeH="0" baseline="0" dirty="0">
                          <a:ln>
                            <a:noFill/>
                          </a:ln>
                          <a:solidFill>
                            <a:schemeClr val="tx1"/>
                          </a:solidFill>
                          <a:effectLst/>
                          <a:latin typeface="Arial" charset="0"/>
                          <a:ea typeface="SimSun" pitchFamily="2" charset="-122"/>
                          <a:cs typeface="Times New Roman" pitchFamily="18" charset="0"/>
                        </a:rPr>
                        <a:t> schedule and credit statements</a:t>
                      </a: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en-US" sz="1100" b="1" i="0" u="none" strike="noStrike" cap="none" normalizeH="0" baseline="0" dirty="0">
                        <a:ln>
                          <a:noFill/>
                        </a:ln>
                        <a:solidFill>
                          <a:schemeClr val="tx1"/>
                        </a:solidFill>
                        <a:effectLst/>
                        <a:latin typeface="Arial" charset="0"/>
                        <a:ea typeface="ＭＳ Ｐゴシック"/>
                        <a:cs typeface="ＭＳ Ｐゴシック"/>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lang="fr-FR" sz="1100" b="1" dirty="0">
                          <a:solidFill>
                            <a:schemeClr val="tx1"/>
                          </a:solidFill>
                          <a:ea typeface="SimSun" pitchFamily="2" charset="-122"/>
                          <a:cs typeface="Arial" charset="0"/>
                          <a:sym typeface="Wingdings 2"/>
                        </a:rPr>
                        <a:t></a:t>
                      </a:r>
                      <a:endParaRPr kumimoji="0" lang="fr-FR" sz="11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ysClr val="window" lastClr="FFFFFF">
                        <a:lumMod val="95000"/>
                      </a:sysClr>
                    </a:solidFill>
                  </a:tcPr>
                </a:tc>
                <a:tc hMerge="1">
                  <a:txBody>
                    <a:bodyPr/>
                    <a:lstStyle/>
                    <a:p>
                      <a:endParaRPr lang="fr-FR"/>
                    </a:p>
                  </a:txBody>
                  <a:tcPr/>
                </a:tc>
                <a:extLst>
                  <a:ext uri="{0D108BD9-81ED-4DB2-BD59-A6C34878D82A}">
                    <a16:rowId xmlns:a16="http://schemas.microsoft.com/office/drawing/2014/main" val="10011"/>
                  </a:ext>
                </a:extLst>
              </a:tr>
              <a:tr h="35009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600" b="1" i="0" u="none" strike="noStrike" cap="none" normalizeH="0" baseline="0" dirty="0">
                          <a:ln>
                            <a:noFill/>
                          </a:ln>
                          <a:solidFill>
                            <a:schemeClr val="tx1"/>
                          </a:solidFill>
                          <a:effectLst/>
                          <a:latin typeface="Arial" charset="0"/>
                          <a:ea typeface="SimSun" pitchFamily="2" charset="-122"/>
                          <a:cs typeface="Times New Roman" pitchFamily="18" charset="0"/>
                        </a:rPr>
                        <a:t>Medical questionnaire</a:t>
                      </a:r>
                    </a:p>
                  </a:txBody>
                  <a:tcPr marL="74295" marR="74295" marT="34290" marB="34290" horzOverflow="overflow">
                    <a:lnL w="19050" cap="flat" cmpd="sng" algn="ctr">
                      <a:solidFill>
                        <a:sysClr val="window" lastClr="FFFFFF"/>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tc>
                  <a:txBody>
                    <a:bodyPr/>
                    <a:lstStyle/>
                    <a:p>
                      <a:endParaRPr lang="fr-FR" dirty="0"/>
                    </a:p>
                  </a:txBody>
                  <a:tcP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gridSpan="2">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endParaRPr kumimoji="0" lang="fr-FR" sz="6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hMerge="1">
                  <a:txBody>
                    <a:bodyPr/>
                    <a:lstStyle/>
                    <a:p>
                      <a:endParaRPr lang="fr-FR"/>
                    </a:p>
                  </a:txBody>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endParaRPr kumimoji="0" lang="fr-FR" sz="600" b="1" i="0" u="none" strike="noStrike" cap="none" normalizeH="0" baseline="0" dirty="0">
                        <a:ln>
                          <a:noFill/>
                        </a:ln>
                        <a:solidFill>
                          <a:schemeClr val="tx1"/>
                        </a:solidFill>
                        <a:effectLst/>
                        <a:latin typeface="Arial" charset="0"/>
                        <a:ea typeface="ＭＳ Ｐゴシック"/>
                        <a:cs typeface="Arial" charset="0"/>
                      </a:endParaRPr>
                    </a:p>
                  </a:txBody>
                  <a:tcPr marL="74295" marR="74295" marT="34290" marB="34290" horzOverflow="overflow">
                    <a:lnL w="19050" cap="flat" cmpd="sng" algn="ctr">
                      <a:no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
        <p:nvSpPr>
          <p:cNvPr id="14" name="Rectangle 13"/>
          <p:cNvSpPr>
            <a:spLocks noChangeArrowheads="1"/>
          </p:cNvSpPr>
          <p:nvPr/>
        </p:nvSpPr>
        <p:spPr bwMode="gray">
          <a:xfrm>
            <a:off x="592737" y="822069"/>
            <a:ext cx="6413236" cy="189309"/>
          </a:xfrm>
          <a:prstGeom prst="rect">
            <a:avLst/>
          </a:prstGeom>
          <a:solidFill>
            <a:srgbClr val="00805F"/>
          </a:solidFill>
          <a:ln w="9525">
            <a:noFill/>
            <a:miter lim="800000"/>
            <a:headEnd/>
            <a:tailEnd/>
          </a:ln>
        </p:spPr>
        <p:txBody>
          <a:bodyPr anchor="ctr"/>
          <a:lstStyle/>
          <a:p>
            <a:pPr defTabSz="685800">
              <a:defRPr/>
            </a:pPr>
            <a:r>
              <a:rPr lang="en-US" sz="825" b="1" kern="0" dirty="0">
                <a:solidFill>
                  <a:srgbClr val="FFFFFF"/>
                </a:solidFill>
                <a:latin typeface="Arial"/>
                <a:cs typeface="Arial" charset="0"/>
              </a:rPr>
              <a:t>Requested documents for Debt consolidations loans</a:t>
            </a:r>
          </a:p>
        </p:txBody>
      </p:sp>
      <p:sp>
        <p:nvSpPr>
          <p:cNvPr id="15" name="Oval 98"/>
          <p:cNvSpPr>
            <a:spLocks noChangeArrowheads="1"/>
          </p:cNvSpPr>
          <p:nvPr/>
        </p:nvSpPr>
        <p:spPr bwMode="auto">
          <a:xfrm>
            <a:off x="700362" y="4743764"/>
            <a:ext cx="317469" cy="136191"/>
          </a:xfrm>
          <a:prstGeom prst="ellipse">
            <a:avLst/>
          </a:prstGeom>
          <a:noFill/>
          <a:ln w="9525">
            <a:solidFill>
              <a:schemeClr val="tx1"/>
            </a:solidFill>
            <a:round/>
            <a:headEnd/>
            <a:tailEnd/>
          </a:ln>
        </p:spPr>
        <p:txBody>
          <a:bodyPr wrap="none" anchor="ctr"/>
          <a:lstStyle/>
          <a:p>
            <a:endParaRPr lang="en-GB" sz="1350"/>
          </a:p>
        </p:txBody>
      </p:sp>
      <p:sp>
        <p:nvSpPr>
          <p:cNvPr id="16" name="Oval 98"/>
          <p:cNvSpPr>
            <a:spLocks noChangeArrowheads="1"/>
          </p:cNvSpPr>
          <p:nvPr/>
        </p:nvSpPr>
        <p:spPr bwMode="auto">
          <a:xfrm>
            <a:off x="2696337" y="2958098"/>
            <a:ext cx="371475" cy="170545"/>
          </a:xfrm>
          <a:prstGeom prst="ellipse">
            <a:avLst/>
          </a:prstGeom>
          <a:noFill/>
          <a:ln w="9525">
            <a:solidFill>
              <a:schemeClr val="tx1"/>
            </a:solidFill>
            <a:round/>
            <a:headEnd/>
            <a:tailEnd/>
          </a:ln>
        </p:spPr>
        <p:txBody>
          <a:bodyPr wrap="none" anchor="ctr"/>
          <a:lstStyle/>
          <a:p>
            <a:endParaRPr lang="en-GB" sz="1350"/>
          </a:p>
        </p:txBody>
      </p:sp>
      <p:sp>
        <p:nvSpPr>
          <p:cNvPr id="17" name="Oval 98"/>
          <p:cNvSpPr>
            <a:spLocks noChangeArrowheads="1"/>
          </p:cNvSpPr>
          <p:nvPr/>
        </p:nvSpPr>
        <p:spPr bwMode="auto">
          <a:xfrm>
            <a:off x="4104412" y="2958098"/>
            <a:ext cx="371475" cy="170545"/>
          </a:xfrm>
          <a:prstGeom prst="ellipse">
            <a:avLst/>
          </a:prstGeom>
          <a:noFill/>
          <a:ln w="9525">
            <a:solidFill>
              <a:schemeClr val="tx1"/>
            </a:solidFill>
            <a:round/>
            <a:headEnd/>
            <a:tailEnd/>
          </a:ln>
        </p:spPr>
        <p:txBody>
          <a:bodyPr wrap="none" anchor="ctr"/>
          <a:lstStyle/>
          <a:p>
            <a:endParaRPr lang="en-GB" sz="1350"/>
          </a:p>
        </p:txBody>
      </p:sp>
      <p:sp>
        <p:nvSpPr>
          <p:cNvPr id="21" name="Oval 98"/>
          <p:cNvSpPr>
            <a:spLocks noChangeArrowheads="1"/>
          </p:cNvSpPr>
          <p:nvPr/>
        </p:nvSpPr>
        <p:spPr bwMode="auto">
          <a:xfrm>
            <a:off x="2679805" y="1551951"/>
            <a:ext cx="371475" cy="170545"/>
          </a:xfrm>
          <a:prstGeom prst="ellipse">
            <a:avLst/>
          </a:prstGeom>
          <a:noFill/>
          <a:ln w="9525">
            <a:solidFill>
              <a:schemeClr val="tx1"/>
            </a:solidFill>
            <a:round/>
            <a:headEnd/>
            <a:tailEnd/>
          </a:ln>
        </p:spPr>
        <p:txBody>
          <a:bodyPr wrap="none" anchor="ctr"/>
          <a:lstStyle/>
          <a:p>
            <a:endParaRPr lang="en-GB" sz="1350"/>
          </a:p>
        </p:txBody>
      </p:sp>
      <p:sp>
        <p:nvSpPr>
          <p:cNvPr id="22" name="Oval 98"/>
          <p:cNvSpPr>
            <a:spLocks noChangeArrowheads="1"/>
          </p:cNvSpPr>
          <p:nvPr/>
        </p:nvSpPr>
        <p:spPr bwMode="auto">
          <a:xfrm>
            <a:off x="4104414" y="1547101"/>
            <a:ext cx="371475" cy="170545"/>
          </a:xfrm>
          <a:prstGeom prst="ellipse">
            <a:avLst/>
          </a:prstGeom>
          <a:noFill/>
          <a:ln w="9525">
            <a:solidFill>
              <a:schemeClr val="tx1"/>
            </a:solidFill>
            <a:round/>
            <a:headEnd/>
            <a:tailEnd/>
          </a:ln>
        </p:spPr>
        <p:txBody>
          <a:bodyPr wrap="none" anchor="ctr"/>
          <a:lstStyle/>
          <a:p>
            <a:endParaRPr lang="en-GB" sz="1350"/>
          </a:p>
        </p:txBody>
      </p:sp>
      <p:sp>
        <p:nvSpPr>
          <p:cNvPr id="26" name="Oval 98"/>
          <p:cNvSpPr>
            <a:spLocks noChangeArrowheads="1"/>
          </p:cNvSpPr>
          <p:nvPr/>
        </p:nvSpPr>
        <p:spPr bwMode="auto">
          <a:xfrm>
            <a:off x="2696337" y="1791672"/>
            <a:ext cx="371475" cy="170545"/>
          </a:xfrm>
          <a:prstGeom prst="ellipse">
            <a:avLst/>
          </a:prstGeom>
          <a:noFill/>
          <a:ln w="9525">
            <a:solidFill>
              <a:schemeClr val="tx1"/>
            </a:solidFill>
            <a:round/>
            <a:headEnd/>
            <a:tailEnd/>
          </a:ln>
        </p:spPr>
        <p:txBody>
          <a:bodyPr wrap="none" anchor="ctr"/>
          <a:lstStyle/>
          <a:p>
            <a:endParaRPr lang="en-GB" sz="1350"/>
          </a:p>
        </p:txBody>
      </p:sp>
      <p:sp>
        <p:nvSpPr>
          <p:cNvPr id="27" name="Oval 98"/>
          <p:cNvSpPr>
            <a:spLocks noChangeArrowheads="1"/>
          </p:cNvSpPr>
          <p:nvPr/>
        </p:nvSpPr>
        <p:spPr bwMode="auto">
          <a:xfrm>
            <a:off x="4104413" y="1767768"/>
            <a:ext cx="371475" cy="170545"/>
          </a:xfrm>
          <a:prstGeom prst="ellipse">
            <a:avLst/>
          </a:prstGeom>
          <a:noFill/>
          <a:ln w="9525">
            <a:solidFill>
              <a:schemeClr val="tx1"/>
            </a:solidFill>
            <a:round/>
            <a:headEnd/>
            <a:tailEnd/>
          </a:ln>
        </p:spPr>
        <p:txBody>
          <a:bodyPr wrap="none" anchor="ctr"/>
          <a:lstStyle/>
          <a:p>
            <a:endParaRPr lang="en-GB" sz="1350"/>
          </a:p>
        </p:txBody>
      </p:sp>
      <p:sp>
        <p:nvSpPr>
          <p:cNvPr id="18" name="Slide Number Placeholder 3">
            <a:extLst>
              <a:ext uri="{FF2B5EF4-FFF2-40B4-BE49-F238E27FC236}">
                <a16:creationId xmlns:a16="http://schemas.microsoft.com/office/drawing/2014/main" id="{4264DE5E-6DC6-404D-B088-520F30BF9DE4}"/>
              </a:ext>
            </a:extLst>
          </p:cNvPr>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33</a:t>
            </a:fld>
            <a:endParaRPr lang="en-GB" sz="900" dirty="0">
              <a:solidFill>
                <a:prstClr val="white"/>
              </a:solidFill>
              <a:latin typeface="Avenir Next LT Pro"/>
            </a:endParaRPr>
          </a:p>
        </p:txBody>
      </p:sp>
    </p:spTree>
    <p:extLst>
      <p:ext uri="{BB962C8B-B14F-4D97-AF65-F5344CB8AC3E}">
        <p14:creationId xmlns:p14="http://schemas.microsoft.com/office/powerpoint/2010/main" val="40276086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523435" y="418273"/>
            <a:ext cx="6038204" cy="233772"/>
          </a:xfrm>
        </p:spPr>
        <p:txBody>
          <a:bodyPr vert="horz" lIns="91440" tIns="45720" rIns="91440" bIns="45720" rtlCol="0" anchor="t" anchorCtr="0">
            <a:noAutofit/>
          </a:bodyPr>
          <a:lstStyle/>
          <a:p>
            <a:pPr>
              <a:lnSpc>
                <a:spcPct val="75000"/>
              </a:lnSpc>
            </a:pPr>
            <a:r>
              <a:rPr lang="en-GB" sz="1600" dirty="0">
                <a:solidFill>
                  <a:prstClr val="black"/>
                </a:solidFill>
              </a:rPr>
              <a:t>Controls of the information</a:t>
            </a:r>
          </a:p>
        </p:txBody>
      </p:sp>
      <p:sp>
        <p:nvSpPr>
          <p:cNvPr id="4" name="Espace réservé de la date 3"/>
          <p:cNvSpPr>
            <a:spLocks noGrp="1"/>
          </p:cNvSpPr>
          <p:nvPr>
            <p:ph type="dt" sz="half" idx="10"/>
          </p:nvPr>
        </p:nvSpPr>
        <p:spPr bwMode="gray">
          <a:xfrm>
            <a:off x="923810" y="6480335"/>
            <a:ext cx="648072"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18/07/2018</a:t>
            </a:r>
            <a:endParaRPr lang="fr-FR" dirty="0"/>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p:cNvSpPr>
            <a:spLocks noGrp="1"/>
          </p:cNvSpPr>
          <p:nvPr>
            <p:ph type="sldNum" sz="quarter" idx="12"/>
          </p:nvPr>
        </p:nvSpPr>
        <p:spPr bwMode="gray">
          <a:xfrm>
            <a:off x="1989237" y="6480335"/>
            <a:ext cx="293491"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571E2A-2AE4-4AE9-A5FF-468BE27EC277}" type="slidenum">
              <a:rPr lang="fr-FR" smtClean="0"/>
              <a:pPr/>
              <a:t>34</a:t>
            </a:fld>
            <a:endParaRPr lang="fr-FR" dirty="0"/>
          </a:p>
        </p:txBody>
      </p:sp>
      <p:sp>
        <p:nvSpPr>
          <p:cNvPr id="12" name="Text Box 2"/>
          <p:cNvSpPr txBox="1">
            <a:spLocks noChangeArrowheads="1"/>
          </p:cNvSpPr>
          <p:nvPr/>
        </p:nvSpPr>
        <p:spPr bwMode="auto">
          <a:xfrm>
            <a:off x="621520" y="1347216"/>
            <a:ext cx="5669756" cy="2449068"/>
          </a:xfrm>
          <a:prstGeom prst="rect">
            <a:avLst/>
          </a:prstGeom>
          <a:noFill/>
          <a:ln w="9525">
            <a:noFill/>
            <a:miter lim="800000"/>
            <a:headEnd/>
            <a:tailEnd/>
          </a:ln>
          <a:effectLst/>
        </p:spPr>
        <p:txBody>
          <a:bodyPr>
            <a:spAutoFit/>
          </a:bodyPr>
          <a:lstStyle/>
          <a:p>
            <a:pPr marL="202406" indent="-202406" algn="just">
              <a:lnSpc>
                <a:spcPct val="150000"/>
              </a:lnSpc>
              <a:spcBef>
                <a:spcPct val="50000"/>
              </a:spcBef>
              <a:buClr>
                <a:schemeClr val="tx1"/>
              </a:buClr>
              <a:buSzPct val="120000"/>
              <a:buBlip>
                <a:blip r:embed="rId2"/>
              </a:buBlip>
              <a:tabLst>
                <a:tab pos="2557463" algn="l"/>
              </a:tabLst>
              <a:defRPr/>
            </a:pPr>
            <a:r>
              <a:rPr lang="en-US" sz="1000" dirty="0"/>
              <a:t>Systematic double check by 2 persons of the information captured in the systems</a:t>
            </a:r>
            <a:endParaRPr lang="fr-FR" sz="1000" dirty="0"/>
          </a:p>
          <a:p>
            <a:pPr marL="202406" indent="-202406" algn="just">
              <a:lnSpc>
                <a:spcPct val="150000"/>
              </a:lnSpc>
              <a:spcBef>
                <a:spcPct val="50000"/>
              </a:spcBef>
              <a:buClr>
                <a:schemeClr val="tx1"/>
              </a:buClr>
              <a:buSzPct val="120000"/>
              <a:buBlip>
                <a:blip r:embed="rId2"/>
              </a:buBlip>
              <a:tabLst>
                <a:tab pos="2557463" algn="l"/>
              </a:tabLst>
              <a:defRPr/>
            </a:pPr>
            <a:r>
              <a:rPr lang="en-US" sz="1000" dirty="0"/>
              <a:t>Automatic control on input screens</a:t>
            </a:r>
          </a:p>
          <a:p>
            <a:pPr marL="202406" indent="-202406" algn="just">
              <a:lnSpc>
                <a:spcPct val="150000"/>
              </a:lnSpc>
              <a:spcBef>
                <a:spcPct val="50000"/>
              </a:spcBef>
              <a:buClr>
                <a:schemeClr val="tx1"/>
              </a:buClr>
              <a:buSzPct val="120000"/>
              <a:buBlip>
                <a:blip r:embed="rId2"/>
              </a:buBlip>
              <a:tabLst>
                <a:tab pos="2557463" algn="l"/>
              </a:tabLst>
              <a:defRPr/>
            </a:pPr>
            <a:r>
              <a:rPr lang="en-US" sz="1000" dirty="0"/>
              <a:t>Consistency of the various documentation provided </a:t>
            </a:r>
          </a:p>
          <a:p>
            <a:pPr marL="202406" indent="-202406" algn="just">
              <a:lnSpc>
                <a:spcPct val="150000"/>
              </a:lnSpc>
              <a:spcBef>
                <a:spcPct val="50000"/>
              </a:spcBef>
              <a:buClr>
                <a:schemeClr val="tx1"/>
              </a:buClr>
              <a:buSzPct val="120000"/>
              <a:buBlip>
                <a:blip r:embed="rId2"/>
              </a:buBlip>
              <a:tabLst>
                <a:tab pos="2557463" algn="l"/>
              </a:tabLst>
              <a:defRPr/>
            </a:pPr>
            <a:r>
              <a:rPr lang="en-US" sz="1000" dirty="0"/>
              <a:t>In case of doubt, call to the employer for verification purpose</a:t>
            </a:r>
          </a:p>
          <a:p>
            <a:pPr marL="361950" indent="-361950" algn="just">
              <a:lnSpc>
                <a:spcPct val="150000"/>
              </a:lnSpc>
              <a:spcBef>
                <a:spcPct val="50000"/>
              </a:spcBef>
              <a:buClr>
                <a:schemeClr val="tx1"/>
              </a:buClr>
              <a:buSzPct val="120000"/>
              <a:buBlip>
                <a:blip r:embed="rId2"/>
              </a:buBlip>
              <a:tabLst>
                <a:tab pos="2557463" algn="l"/>
              </a:tabLst>
              <a:defRPr/>
            </a:pPr>
            <a:endParaRPr lang="fr-FR" sz="1000" dirty="0"/>
          </a:p>
          <a:p>
            <a:pPr marL="361950" indent="-361950" algn="just">
              <a:lnSpc>
                <a:spcPct val="150000"/>
              </a:lnSpc>
              <a:spcBef>
                <a:spcPct val="50000"/>
              </a:spcBef>
              <a:buClr>
                <a:schemeClr val="tx1"/>
              </a:buClr>
              <a:buSzPct val="120000"/>
              <a:buBlip>
                <a:blip r:embed="rId2"/>
              </a:buBlip>
              <a:tabLst>
                <a:tab pos="2557463" algn="l"/>
              </a:tabLst>
              <a:defRPr/>
            </a:pPr>
            <a:endParaRPr lang="fr-FR" sz="1000" dirty="0"/>
          </a:p>
          <a:p>
            <a:pPr marL="361950" indent="-361950" algn="just">
              <a:lnSpc>
                <a:spcPct val="150000"/>
              </a:lnSpc>
              <a:spcBef>
                <a:spcPct val="50000"/>
              </a:spcBef>
              <a:buClr>
                <a:schemeClr val="tx1"/>
              </a:buClr>
              <a:buSzPct val="120000"/>
              <a:buBlip>
                <a:blip r:embed="rId2"/>
              </a:buBlip>
              <a:tabLst>
                <a:tab pos="2557463" algn="l"/>
              </a:tabLst>
              <a:defRPr/>
            </a:pPr>
            <a:endParaRPr lang="fr-FR" sz="1000" dirty="0"/>
          </a:p>
          <a:p>
            <a:pPr marL="361950" indent="-361950" algn="just">
              <a:lnSpc>
                <a:spcPct val="150000"/>
              </a:lnSpc>
              <a:spcBef>
                <a:spcPct val="50000"/>
              </a:spcBef>
              <a:buClr>
                <a:schemeClr val="tx1"/>
              </a:buClr>
              <a:buSzPct val="120000"/>
              <a:buBlip>
                <a:blip r:embed="rId2"/>
              </a:buBlip>
              <a:tabLst>
                <a:tab pos="2557463" algn="l"/>
              </a:tabLst>
              <a:defRPr/>
            </a:pPr>
            <a:endParaRPr lang="fr-FR" sz="1000" dirty="0"/>
          </a:p>
        </p:txBody>
      </p:sp>
    </p:spTree>
    <p:extLst>
      <p:ext uri="{BB962C8B-B14F-4D97-AF65-F5344CB8AC3E}">
        <p14:creationId xmlns:p14="http://schemas.microsoft.com/office/powerpoint/2010/main" val="2561668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solidFill>
                  <a:prstClr val="black"/>
                </a:solidFill>
              </a:rPr>
              <a:t>Scoring and </a:t>
            </a:r>
            <a:r>
              <a:rPr lang="fr-FR" dirty="0" err="1">
                <a:solidFill>
                  <a:prstClr val="black"/>
                </a:solidFill>
              </a:rPr>
              <a:t>rules</a:t>
            </a:r>
            <a:r>
              <a:rPr lang="fr-FR" dirty="0">
                <a:solidFill>
                  <a:prstClr val="black"/>
                </a:solidFill>
              </a:rPr>
              <a:t> (1/2)</a:t>
            </a:r>
            <a:endParaRPr lang="en-US" dirty="0">
              <a:solidFill>
                <a:prstClr val="black"/>
              </a:solidFill>
            </a:endParaRPr>
          </a:p>
        </p:txBody>
      </p:sp>
      <p:sp>
        <p:nvSpPr>
          <p:cNvPr id="11" name="Text Box 54"/>
          <p:cNvSpPr txBox="1">
            <a:spLocks noChangeArrowheads="1"/>
          </p:cNvSpPr>
          <p:nvPr/>
        </p:nvSpPr>
        <p:spPr bwMode="auto">
          <a:xfrm>
            <a:off x="598635" y="1044266"/>
            <a:ext cx="7934178" cy="131383"/>
          </a:xfrm>
          <a:prstGeom prst="rect">
            <a:avLst/>
          </a:prstGeom>
          <a:noFill/>
          <a:ln w="12700" algn="ctr">
            <a:noFill/>
            <a:miter lim="800000"/>
            <a:headEnd/>
            <a:tailEnd/>
          </a:ln>
          <a:effectLst/>
        </p:spPr>
        <p:txBody>
          <a:bodyPr wrap="square" lIns="0" tIns="0" rIns="0" bIns="0">
            <a:spAutoFit/>
          </a:bodyPr>
          <a:lstStyle/>
          <a:p>
            <a:pPr marL="266693" lvl="2" indent="-180971" algn="just" defTabSz="457189" fontAlgn="base">
              <a:lnSpc>
                <a:spcPct val="117000"/>
              </a:lnSpc>
              <a:spcBef>
                <a:spcPts val="1200"/>
              </a:spcBef>
              <a:spcAft>
                <a:spcPts val="300"/>
              </a:spcAft>
              <a:buClr>
                <a:srgbClr val="009B5F"/>
              </a:buClr>
              <a:buSzPct val="133000"/>
              <a:buFont typeface="Wingdings" panose="05000000000000000000" pitchFamily="2" charset="2"/>
              <a:buChar char="§"/>
              <a:tabLst>
                <a:tab pos="803255" algn="l"/>
              </a:tabLst>
              <a:defRPr/>
            </a:pPr>
            <a:endParaRPr lang="en-US" sz="800" dirty="0">
              <a:solidFill>
                <a:prstClr val="black"/>
              </a:solidFill>
              <a:latin typeface="Arial" panose="020B0604020202020204" pitchFamily="34" charset="0"/>
              <a:ea typeface="MS PGothic" pitchFamily="34" charset="-128"/>
              <a:cs typeface="Arial" panose="020B0604020202020204" pitchFamily="34" charset="0"/>
            </a:endParaRPr>
          </a:p>
        </p:txBody>
      </p:sp>
      <p:graphicFrame>
        <p:nvGraphicFramePr>
          <p:cNvPr id="6" name="Tableau 6"/>
          <p:cNvGraphicFramePr>
            <a:graphicFrameLocks noGrp="1"/>
          </p:cNvGraphicFramePr>
          <p:nvPr>
            <p:extLst>
              <p:ext uri="{D42A27DB-BD31-4B8C-83A1-F6EECF244321}">
                <p14:modId xmlns:p14="http://schemas.microsoft.com/office/powerpoint/2010/main" val="1205379747"/>
              </p:ext>
            </p:extLst>
          </p:nvPr>
        </p:nvGraphicFramePr>
        <p:xfrm>
          <a:off x="517608" y="2016590"/>
          <a:ext cx="2281368" cy="2629319"/>
        </p:xfrm>
        <a:graphic>
          <a:graphicData uri="http://schemas.openxmlformats.org/drawingml/2006/table">
            <a:tbl>
              <a:tblPr firstRow="1"/>
              <a:tblGrid>
                <a:gridCol w="2281368">
                  <a:extLst>
                    <a:ext uri="{9D8B030D-6E8A-4147-A177-3AD203B41FA5}">
                      <a16:colId xmlns:a16="http://schemas.microsoft.com/office/drawing/2014/main" val="20000"/>
                    </a:ext>
                  </a:extLst>
                </a:gridCol>
              </a:tblGrid>
              <a:tr h="48069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fontAlgn="b"/>
                      <a:r>
                        <a:rPr lang="fr-FR" sz="900" u="none" strike="noStrike" dirty="0">
                          <a:effectLst/>
                        </a:rPr>
                        <a:t>Socio - </a:t>
                      </a:r>
                      <a:r>
                        <a:rPr lang="fr-FR" sz="900" u="none" strike="noStrike" dirty="0" err="1">
                          <a:effectLst/>
                        </a:rPr>
                        <a:t>Demographic</a:t>
                      </a:r>
                      <a:r>
                        <a:rPr lang="fr-FR" sz="900" u="none" strike="noStrike" dirty="0">
                          <a:effectLst/>
                        </a:rPr>
                        <a:t> Information </a:t>
                      </a:r>
                      <a:endParaRPr lang="fr-FR" sz="900" b="1" i="0" u="none" strike="noStrike" dirty="0">
                        <a:solidFill>
                          <a:srgbClr val="FFFFFF"/>
                        </a:solidFill>
                        <a:effectLst/>
                        <a:latin typeface="Arial"/>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rgbClr val="006A4E"/>
                    </a:solidFill>
                  </a:tcPr>
                </a:tc>
                <a:extLst>
                  <a:ext uri="{0D108BD9-81ED-4DB2-BD59-A6C34878D82A}">
                    <a16:rowId xmlns:a16="http://schemas.microsoft.com/office/drawing/2014/main" val="10000"/>
                  </a:ext>
                </a:extLst>
              </a:tr>
              <a:tr h="1827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a:effectLst/>
                        </a:rPr>
                        <a:t>Marital </a:t>
                      </a:r>
                      <a:r>
                        <a:rPr lang="fr-FR" sz="900" u="none" strike="noStrike" dirty="0" err="1">
                          <a:effectLst/>
                        </a:rPr>
                        <a:t>status</a:t>
                      </a:r>
                      <a:r>
                        <a:rPr lang="fr-FR" sz="900" u="none" strike="noStrike" dirty="0">
                          <a:effectLst/>
                        </a:rPr>
                        <a:t> </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38100" cmpd="sng">
                      <a:noFill/>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1"/>
                  </a:ext>
                </a:extLst>
              </a:tr>
              <a:tr h="23478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err="1">
                          <a:effectLst/>
                        </a:rPr>
                        <a:t>Socio-professional</a:t>
                      </a:r>
                      <a:r>
                        <a:rPr lang="fr-FR" sz="900" u="none" strike="noStrike" dirty="0">
                          <a:effectLst/>
                        </a:rPr>
                        <a:t> </a:t>
                      </a:r>
                      <a:r>
                        <a:rPr lang="fr-FR" sz="900" u="none" strike="noStrike" dirty="0" err="1">
                          <a:effectLst/>
                        </a:rPr>
                        <a:t>category</a:t>
                      </a:r>
                      <a:r>
                        <a:rPr lang="fr-FR" sz="900" u="none" strike="noStrike" dirty="0">
                          <a:effectLst/>
                        </a:rPr>
                        <a:t> </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2"/>
                  </a:ext>
                </a:extLst>
              </a:tr>
              <a:tr h="23478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err="1">
                          <a:effectLst/>
                        </a:rPr>
                        <a:t>Residential</a:t>
                      </a:r>
                      <a:r>
                        <a:rPr lang="fr-FR" sz="900" u="none" strike="noStrike" dirty="0">
                          <a:effectLst/>
                        </a:rPr>
                        <a:t> </a:t>
                      </a:r>
                      <a:r>
                        <a:rPr lang="fr-FR" sz="900" u="none" strike="noStrike" dirty="0" err="1">
                          <a:effectLst/>
                        </a:rPr>
                        <a:t>status</a:t>
                      </a:r>
                      <a:r>
                        <a:rPr lang="fr-FR" sz="900" u="none" strike="noStrike" dirty="0">
                          <a:effectLst/>
                        </a:rPr>
                        <a:t> </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3"/>
                  </a:ext>
                </a:extLst>
              </a:tr>
              <a:tr h="23478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err="1">
                          <a:effectLst/>
                        </a:rPr>
                        <a:t>Number</a:t>
                      </a:r>
                      <a:r>
                        <a:rPr lang="fr-FR" sz="900" u="none" strike="noStrike" dirty="0">
                          <a:effectLst/>
                        </a:rPr>
                        <a:t> of </a:t>
                      </a:r>
                      <a:r>
                        <a:rPr lang="fr-FR" sz="900" u="none" strike="noStrike" dirty="0" err="1">
                          <a:effectLst/>
                        </a:rPr>
                        <a:t>children</a:t>
                      </a:r>
                      <a:r>
                        <a:rPr lang="fr-FR" sz="900" u="none" strike="noStrike" dirty="0">
                          <a:effectLst/>
                        </a:rPr>
                        <a:t> </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4"/>
                  </a:ext>
                </a:extLst>
              </a:tr>
              <a:tr h="23478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err="1">
                          <a:effectLst/>
                        </a:rPr>
                        <a:t>Household's</a:t>
                      </a:r>
                      <a:r>
                        <a:rPr lang="fr-FR" sz="900" u="none" strike="noStrike" dirty="0">
                          <a:effectLst/>
                        </a:rPr>
                        <a:t> </a:t>
                      </a:r>
                      <a:r>
                        <a:rPr lang="fr-FR" sz="900" u="none" strike="noStrike" dirty="0" err="1">
                          <a:effectLst/>
                        </a:rPr>
                        <a:t>income</a:t>
                      </a:r>
                      <a:r>
                        <a:rPr lang="fr-FR" sz="900" u="none" strike="noStrike" dirty="0">
                          <a:effectLst/>
                        </a:rPr>
                        <a:t> / charges</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5"/>
                  </a:ext>
                </a:extLst>
              </a:tr>
              <a:tr h="23478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err="1">
                          <a:effectLst/>
                        </a:rPr>
                        <a:t>Customer's</a:t>
                      </a:r>
                      <a:r>
                        <a:rPr lang="fr-FR" sz="900" u="none" strike="noStrike" dirty="0">
                          <a:effectLst/>
                        </a:rPr>
                        <a:t> age</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6"/>
                  </a:ext>
                </a:extLst>
              </a:tr>
              <a:tr h="23478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900" u="none" strike="noStrike" dirty="0">
                          <a:effectLst/>
                        </a:rPr>
                        <a:t>Start date living at present address</a:t>
                      </a:r>
                      <a:endParaRPr lang="en-US"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7"/>
                  </a:ext>
                </a:extLst>
              </a:tr>
              <a:tr h="23478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900" u="none" strike="noStrike" dirty="0" err="1">
                          <a:effectLst/>
                        </a:rPr>
                        <a:t>Seniority</a:t>
                      </a:r>
                      <a:r>
                        <a:rPr lang="fr-FR" sz="900" u="none" strike="noStrike" dirty="0">
                          <a:effectLst/>
                        </a:rPr>
                        <a:t> in last </a:t>
                      </a:r>
                      <a:r>
                        <a:rPr lang="fr-FR" sz="900" u="none" strike="noStrike" dirty="0" err="1">
                          <a:effectLst/>
                        </a:rPr>
                        <a:t>employment</a:t>
                      </a:r>
                      <a:r>
                        <a:rPr lang="fr-FR" sz="900" u="none" strike="noStrike" dirty="0">
                          <a:effectLst/>
                        </a:rPr>
                        <a:t> </a:t>
                      </a: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3461405931"/>
                  </a:ext>
                </a:extLst>
              </a:tr>
              <a:tr h="32233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err="1">
                          <a:effectLst/>
                        </a:rPr>
                        <a:t>External</a:t>
                      </a:r>
                      <a:r>
                        <a:rPr lang="fr-FR" sz="900" u="none" strike="noStrike" baseline="0" dirty="0">
                          <a:effectLst/>
                        </a:rPr>
                        <a:t> </a:t>
                      </a:r>
                      <a:r>
                        <a:rPr lang="fr-FR" sz="900" u="none" strike="noStrike" baseline="0" dirty="0" err="1">
                          <a:effectLst/>
                        </a:rPr>
                        <a:t>debt</a:t>
                      </a:r>
                      <a:endParaRPr lang="fr-FR" sz="900" b="0" i="0" u="none" strike="noStrike" baseline="0"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8"/>
                  </a:ext>
                </a:extLst>
              </a:tr>
            </a:tbl>
          </a:graphicData>
        </a:graphic>
      </p:graphicFrame>
      <p:graphicFrame>
        <p:nvGraphicFramePr>
          <p:cNvPr id="7" name="Tableau 7"/>
          <p:cNvGraphicFramePr>
            <a:graphicFrameLocks noGrp="1"/>
          </p:cNvGraphicFramePr>
          <p:nvPr>
            <p:extLst>
              <p:ext uri="{D42A27DB-BD31-4B8C-83A1-F6EECF244321}">
                <p14:modId xmlns:p14="http://schemas.microsoft.com/office/powerpoint/2010/main" val="3863969433"/>
              </p:ext>
            </p:extLst>
          </p:nvPr>
        </p:nvGraphicFramePr>
        <p:xfrm>
          <a:off x="3288831" y="2016593"/>
          <a:ext cx="2281368" cy="1810505"/>
        </p:xfrm>
        <a:graphic>
          <a:graphicData uri="http://schemas.openxmlformats.org/drawingml/2006/table">
            <a:tbl>
              <a:tblPr firstRow="1"/>
              <a:tblGrid>
                <a:gridCol w="2281368">
                  <a:extLst>
                    <a:ext uri="{9D8B030D-6E8A-4147-A177-3AD203B41FA5}">
                      <a16:colId xmlns:a16="http://schemas.microsoft.com/office/drawing/2014/main" val="20000"/>
                    </a:ext>
                  </a:extLst>
                </a:gridCol>
              </a:tblGrid>
              <a:tr h="48337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14400" rtl="0" eaLnBrk="1" fontAlgn="b" latinLnBrk="0" hangingPunct="1"/>
                      <a:r>
                        <a:rPr lang="fr-FR" sz="900" b="1" u="none" strike="noStrike" kern="1200" dirty="0">
                          <a:solidFill>
                            <a:schemeClr val="lt1"/>
                          </a:solidFill>
                          <a:effectLst/>
                          <a:latin typeface="Arial"/>
                          <a:ea typeface="+mn-ea"/>
                          <a:cs typeface="+mn-cs"/>
                        </a:rPr>
                        <a:t>Information </a:t>
                      </a:r>
                      <a:r>
                        <a:rPr lang="fr-FR" sz="900" b="1" u="none" strike="noStrike" kern="1200" dirty="0" err="1">
                          <a:solidFill>
                            <a:schemeClr val="lt1"/>
                          </a:solidFill>
                          <a:effectLst/>
                          <a:latin typeface="Arial"/>
                          <a:ea typeface="+mn-ea"/>
                          <a:cs typeface="+mn-cs"/>
                        </a:rPr>
                        <a:t>Credit</a:t>
                      </a:r>
                      <a:r>
                        <a:rPr lang="fr-FR" sz="900" b="1" u="none" strike="noStrike" kern="1200" dirty="0">
                          <a:solidFill>
                            <a:schemeClr val="lt1"/>
                          </a:solidFill>
                          <a:effectLst/>
                          <a:latin typeface="Arial"/>
                          <a:ea typeface="+mn-ea"/>
                          <a:cs typeface="+mn-cs"/>
                        </a:rPr>
                        <a:t> </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rgbClr val="006A4E"/>
                    </a:solidFill>
                  </a:tcPr>
                </a:tc>
                <a:extLst>
                  <a:ext uri="{0D108BD9-81ED-4DB2-BD59-A6C34878D82A}">
                    <a16:rowId xmlns:a16="http://schemas.microsoft.com/office/drawing/2014/main" val="10000"/>
                  </a:ext>
                </a:extLst>
              </a:tr>
              <a:tr h="26478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err="1">
                          <a:effectLst/>
                        </a:rPr>
                        <a:t>Number</a:t>
                      </a:r>
                      <a:r>
                        <a:rPr lang="fr-FR" sz="900" u="none" strike="noStrike" dirty="0">
                          <a:effectLst/>
                        </a:rPr>
                        <a:t> of </a:t>
                      </a:r>
                      <a:r>
                        <a:rPr lang="fr-FR" sz="900" u="none" strike="noStrike" dirty="0" err="1">
                          <a:effectLst/>
                        </a:rPr>
                        <a:t>instalments</a:t>
                      </a:r>
                      <a:r>
                        <a:rPr lang="fr-FR" sz="900" u="none" strike="noStrike" dirty="0">
                          <a:effectLst/>
                        </a:rPr>
                        <a:t> </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38100" cmpd="sng">
                      <a:noFill/>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1"/>
                  </a:ext>
                </a:extLst>
              </a:tr>
              <a:tr h="26585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a:effectLst/>
                        </a:rPr>
                        <a:t>% </a:t>
                      </a:r>
                      <a:r>
                        <a:rPr lang="fr-FR" sz="900" u="none" strike="noStrike" dirty="0" err="1">
                          <a:effectLst/>
                        </a:rPr>
                        <a:t>Financed</a:t>
                      </a:r>
                      <a:r>
                        <a:rPr lang="fr-FR" sz="900" u="none" strike="noStrike" dirty="0">
                          <a:effectLst/>
                        </a:rPr>
                        <a:t> ( if applicable)</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2"/>
                  </a:ext>
                </a:extLst>
              </a:tr>
              <a:tr h="26585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err="1">
                          <a:effectLst/>
                        </a:rPr>
                        <a:t>Credit</a:t>
                      </a:r>
                      <a:r>
                        <a:rPr lang="fr-FR" sz="900" u="none" strike="noStrike" dirty="0">
                          <a:effectLst/>
                        </a:rPr>
                        <a:t> </a:t>
                      </a:r>
                      <a:r>
                        <a:rPr lang="fr-FR" sz="900" u="none" strike="noStrike" dirty="0" err="1">
                          <a:effectLst/>
                        </a:rPr>
                        <a:t>amount</a:t>
                      </a:r>
                      <a:r>
                        <a:rPr lang="fr-FR" sz="900" u="none" strike="noStrike" dirty="0">
                          <a:effectLst/>
                        </a:rPr>
                        <a:t> </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4"/>
                  </a:ext>
                </a:extLst>
              </a:tr>
              <a:tr h="26585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a:effectLst/>
                        </a:rPr>
                        <a:t>Sale </a:t>
                      </a:r>
                      <a:r>
                        <a:rPr lang="fr-FR" sz="900" u="none" strike="noStrike" dirty="0" err="1">
                          <a:effectLst/>
                        </a:rPr>
                        <a:t>price</a:t>
                      </a:r>
                      <a:r>
                        <a:rPr lang="fr-FR" sz="900" u="none" strike="noStrike" dirty="0">
                          <a:effectLst/>
                        </a:rPr>
                        <a:t> (if applicable) </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5"/>
                  </a:ext>
                </a:extLst>
              </a:tr>
              <a:tr h="26478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fr-FR" sz="900" u="none" strike="noStrike" dirty="0" err="1">
                          <a:effectLst/>
                        </a:rPr>
                        <a:t>Household</a:t>
                      </a:r>
                      <a:r>
                        <a:rPr lang="fr-FR" sz="900" u="none" strike="noStrike" dirty="0">
                          <a:effectLst/>
                        </a:rPr>
                        <a:t> </a:t>
                      </a:r>
                      <a:r>
                        <a:rPr lang="fr-FR" sz="900" u="none" strike="noStrike" dirty="0" err="1">
                          <a:effectLst/>
                        </a:rPr>
                        <a:t>debt</a:t>
                      </a:r>
                      <a:r>
                        <a:rPr lang="fr-FR" sz="900" u="none" strike="noStrike" dirty="0">
                          <a:effectLst/>
                        </a:rPr>
                        <a:t> </a:t>
                      </a:r>
                      <a:endParaRPr lang="fr-FR"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E7EBE9"/>
                    </a:solidFill>
                  </a:tcPr>
                </a:tc>
                <a:extLst>
                  <a:ext uri="{0D108BD9-81ED-4DB2-BD59-A6C34878D82A}">
                    <a16:rowId xmlns:a16="http://schemas.microsoft.com/office/drawing/2014/main" val="10007"/>
                  </a:ext>
                </a:extLst>
              </a:tr>
            </a:tbl>
          </a:graphicData>
        </a:graphic>
      </p:graphicFrame>
      <p:graphicFrame>
        <p:nvGraphicFramePr>
          <p:cNvPr id="8" name="Tableau 8"/>
          <p:cNvGraphicFramePr>
            <a:graphicFrameLocks noGrp="1"/>
          </p:cNvGraphicFramePr>
          <p:nvPr>
            <p:extLst>
              <p:ext uri="{D42A27DB-BD31-4B8C-83A1-F6EECF244321}">
                <p14:modId xmlns:p14="http://schemas.microsoft.com/office/powerpoint/2010/main" val="1865230800"/>
              </p:ext>
            </p:extLst>
          </p:nvPr>
        </p:nvGraphicFramePr>
        <p:xfrm>
          <a:off x="5928381" y="1979837"/>
          <a:ext cx="2282576" cy="2925162"/>
        </p:xfrm>
        <a:graphic>
          <a:graphicData uri="http://schemas.openxmlformats.org/drawingml/2006/table">
            <a:tbl>
              <a:tblPr firstRow="1"/>
              <a:tblGrid>
                <a:gridCol w="2282576">
                  <a:extLst>
                    <a:ext uri="{9D8B030D-6E8A-4147-A177-3AD203B41FA5}">
                      <a16:colId xmlns:a16="http://schemas.microsoft.com/office/drawing/2014/main" val="20000"/>
                    </a:ext>
                  </a:extLst>
                </a:gridCol>
              </a:tblGrid>
              <a:tr h="38105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fontAlgn="b"/>
                      <a:r>
                        <a:rPr lang="en-US" sz="900" b="1" u="none" strike="noStrike" kern="1200" dirty="0">
                          <a:solidFill>
                            <a:schemeClr val="lt1"/>
                          </a:solidFill>
                          <a:effectLst/>
                          <a:latin typeface="Arial"/>
                          <a:ea typeface="+mn-ea"/>
                          <a:cs typeface="+mn-cs"/>
                        </a:rPr>
                        <a:t>Historic Customer Information </a:t>
                      </a:r>
                    </a:p>
                    <a:p>
                      <a:pPr algn="ctr" fontAlgn="b"/>
                      <a:r>
                        <a:rPr lang="en-US" sz="900" b="1" u="none" strike="noStrike" kern="1200" dirty="0">
                          <a:solidFill>
                            <a:schemeClr val="lt1"/>
                          </a:solidFill>
                          <a:effectLst/>
                          <a:latin typeface="Arial"/>
                          <a:ea typeface="+mn-ea"/>
                          <a:cs typeface="+mn-cs"/>
                        </a:rPr>
                        <a:t>(if applicable)</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rgbClr val="006A4E"/>
                    </a:solidFill>
                  </a:tcPr>
                </a:tc>
                <a:extLst>
                  <a:ext uri="{0D108BD9-81ED-4DB2-BD59-A6C34878D82A}">
                    <a16:rowId xmlns:a16="http://schemas.microsoft.com/office/drawing/2014/main" val="10000"/>
                  </a:ext>
                </a:extLst>
              </a:tr>
              <a:tr h="17999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900" u="none" strike="noStrike" dirty="0">
                          <a:effectLst/>
                        </a:rPr>
                        <a:t>Maximum number of unpaid debts</a:t>
                      </a:r>
                      <a:endParaRPr lang="en-US" sz="900" b="0" i="0" u="none" strike="noStrike" dirty="0">
                        <a:solidFill>
                          <a:srgbClr val="000000"/>
                        </a:solidFill>
                        <a:effectLst/>
                        <a:latin typeface="Arial"/>
                      </a:endParaRPr>
                    </a:p>
                  </a:txBody>
                  <a:tcPr marL="9525" marR="9525" marT="9525" marB="0" anchor="ctr">
                    <a:lnL w="12700" cmpd="sng">
                      <a:noFill/>
                    </a:lnL>
                    <a:lnR w="12700" cmpd="sng">
                      <a:noFill/>
                    </a:lnR>
                    <a:lnT w="38100" cmpd="sng">
                      <a:noFill/>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1"/>
                  </a:ext>
                </a:extLst>
              </a:tr>
              <a:tr h="35031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900" u="none" strike="noStrike" dirty="0">
                          <a:effectLst/>
                        </a:rPr>
                        <a:t>Revolving credit </a:t>
                      </a:r>
                      <a:r>
                        <a:rPr lang="en-US" sz="900" u="none" strike="noStrike" dirty="0" err="1">
                          <a:effectLst/>
                        </a:rPr>
                        <a:t>utilisation</a:t>
                      </a:r>
                      <a:r>
                        <a:rPr lang="en-US" sz="900" u="none" strike="noStrike" dirty="0">
                          <a:effectLst/>
                        </a:rPr>
                        <a:t> rates (if applicable)</a:t>
                      </a:r>
                      <a:endParaRPr lang="en-US"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2"/>
                  </a:ext>
                </a:extLst>
              </a:tr>
              <a:tr h="35031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900" u="none" strike="noStrike" dirty="0">
                          <a:effectLst/>
                        </a:rPr>
                        <a:t>Date of last revolving </a:t>
                      </a:r>
                      <a:r>
                        <a:rPr lang="en-US" sz="900" u="none" strike="noStrike" dirty="0" err="1">
                          <a:effectLst/>
                        </a:rPr>
                        <a:t>utilisation</a:t>
                      </a:r>
                      <a:r>
                        <a:rPr lang="en-US" sz="900" u="none" strike="noStrike" dirty="0">
                          <a:effectLst/>
                        </a:rPr>
                        <a:t> (if applicable)</a:t>
                      </a:r>
                      <a:endParaRPr lang="en-US"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3"/>
                  </a:ext>
                </a:extLst>
              </a:tr>
              <a:tr h="5206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900" u="none" strike="noStrike" dirty="0">
                          <a:effectLst/>
                        </a:rPr>
                        <a:t>Average amount of revolving </a:t>
                      </a:r>
                      <a:r>
                        <a:rPr lang="en-US" sz="900" u="none" strike="noStrike" dirty="0" err="1">
                          <a:effectLst/>
                        </a:rPr>
                        <a:t>utilisations</a:t>
                      </a:r>
                      <a:r>
                        <a:rPr lang="en-US" sz="900" u="none" strike="noStrike" dirty="0">
                          <a:effectLst/>
                        </a:rPr>
                        <a:t> in the last 12 months (if applicable)</a:t>
                      </a:r>
                      <a:endParaRPr lang="en-US"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4"/>
                  </a:ext>
                </a:extLst>
              </a:tr>
              <a:tr h="22109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900" u="none" strike="noStrike" dirty="0">
                          <a:effectLst/>
                        </a:rPr>
                        <a:t>Date of the oldest personal loan </a:t>
                      </a:r>
                      <a:endParaRPr lang="en-US"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5"/>
                  </a:ext>
                </a:extLst>
              </a:tr>
              <a:tr h="17999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900" u="none" strike="noStrike" dirty="0">
                          <a:effectLst/>
                        </a:rPr>
                        <a:t>Date of the oldest revolving period </a:t>
                      </a:r>
                      <a:endParaRPr lang="en-US"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6"/>
                  </a:ext>
                </a:extLst>
              </a:tr>
              <a:tr h="5206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900" u="none" strike="noStrike" dirty="0">
                          <a:effectLst/>
                        </a:rPr>
                        <a:t>The outstanding capital of the</a:t>
                      </a:r>
                      <a:r>
                        <a:rPr lang="en-US" sz="900" u="none" strike="noStrike" baseline="0" dirty="0">
                          <a:effectLst/>
                        </a:rPr>
                        <a:t> loan (a personal loan or a revolving credit) </a:t>
                      </a:r>
                      <a:endParaRPr lang="en-US"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7"/>
                  </a:ext>
                </a:extLst>
              </a:tr>
              <a:tr h="22109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900" u="none" strike="noStrike" dirty="0">
                          <a:effectLst/>
                        </a:rPr>
                        <a:t>Seniority of the client with CACF </a:t>
                      </a:r>
                      <a:endParaRPr lang="en-US" sz="900" b="0" i="0" u="none" strike="noStrike" dirty="0">
                        <a:solidFill>
                          <a:srgbClr val="000000"/>
                        </a:solidFill>
                        <a:effectLst/>
                        <a:latin typeface="Arial"/>
                      </a:endParaRPr>
                    </a:p>
                  </a:txBody>
                  <a:tcPr marL="9525" marR="9525" marT="9525" marB="0" anchor="ctr">
                    <a:lnL w="12700" cmpd="sng">
                      <a:noFill/>
                    </a:lnL>
                    <a:lnR w="12700" cmpd="sng">
                      <a:noFill/>
                    </a:lnR>
                    <a:lnT w="12700" cap="flat" cmpd="sng" algn="ctr">
                      <a:solidFill>
                        <a:srgbClr val="FBFBFB"/>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8"/>
                  </a:ext>
                </a:extLst>
              </a:tr>
            </a:tbl>
          </a:graphicData>
        </a:graphic>
      </p:graphicFrame>
      <p:sp>
        <p:nvSpPr>
          <p:cNvPr id="12" name="Rectangle 11"/>
          <p:cNvSpPr/>
          <p:nvPr/>
        </p:nvSpPr>
        <p:spPr>
          <a:xfrm>
            <a:off x="331526" y="4846729"/>
            <a:ext cx="7322027" cy="190048"/>
          </a:xfrm>
          <a:prstGeom prst="rect">
            <a:avLst/>
          </a:prstGeom>
        </p:spPr>
        <p:txBody>
          <a:bodyPr wrap="square" lIns="96770" tIns="48385" rIns="96770" bIns="48385">
            <a:spAutoFit/>
          </a:bodyPr>
          <a:lstStyle/>
          <a:p>
            <a:pPr marL="96767" indent="-96767" defTabSz="1019747">
              <a:spcBef>
                <a:spcPct val="0"/>
              </a:spcBef>
              <a:tabLst>
                <a:tab pos="633353" algn="l"/>
              </a:tabLst>
            </a:pPr>
            <a:r>
              <a:rPr lang="en-US" sz="600" dirty="0">
                <a:solidFill>
                  <a:prstClr val="black"/>
                </a:solidFill>
                <a:latin typeface="Arial"/>
              </a:rPr>
              <a:t>Source: CACF Data</a:t>
            </a:r>
          </a:p>
        </p:txBody>
      </p:sp>
      <p:sp>
        <p:nvSpPr>
          <p:cNvPr id="19" name="Slide Number Placeholder 2"/>
          <p:cNvSpPr>
            <a:spLocks noGrp="1"/>
          </p:cNvSpPr>
          <p:nvPr>
            <p:ph type="sldNum" sz="quarter" idx="19"/>
          </p:nvPr>
        </p:nvSpPr>
        <p:spPr>
          <a:xfrm>
            <a:off x="8607765" y="4846820"/>
            <a:ext cx="525046" cy="304373"/>
          </a:xfrm>
        </p:spPr>
        <p:txBody>
          <a:bodyPr/>
          <a:lstStyle/>
          <a:p>
            <a:fld id="{98BD2159-827C-4021-9B0E-DCD852BEB59E}" type="slidenum">
              <a:rPr lang="en-GB" smtClean="0"/>
              <a:pPr/>
              <a:t>35</a:t>
            </a:fld>
            <a:endParaRPr lang="en-GB" dirty="0"/>
          </a:p>
        </p:txBody>
      </p:sp>
      <p:sp>
        <p:nvSpPr>
          <p:cNvPr id="9" name="TextBox 10"/>
          <p:cNvSpPr txBox="1"/>
          <p:nvPr/>
        </p:nvSpPr>
        <p:spPr>
          <a:xfrm>
            <a:off x="422102" y="828959"/>
            <a:ext cx="8264698" cy="1061829"/>
          </a:xfrm>
          <a:prstGeom prst="rect">
            <a:avLst/>
          </a:prstGeom>
          <a:noFill/>
          <a:ln w="25400">
            <a:noFill/>
          </a:ln>
        </p:spPr>
        <p:txBody>
          <a:bodyPr wrap="square" rtlCol="0" anchor="t">
            <a:spAutoFit/>
          </a:bodyPr>
          <a:lstStyle/>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CA CF scoring has been developed in-house by the Risk Department </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The information contained in the scoring cards depends on the market / product / customer’s profile considered</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3 score cards are used on the securitized perimeter: 1 for known clients ;1 for unknown clients &lt;30years old ; 1 for unknown clients &gt;30years old  </a:t>
            </a:r>
          </a:p>
          <a:p>
            <a:pPr marL="8554" lvl="3" algn="just" defTabSz="457189" eaLnBrk="0" fontAlgn="base" hangingPunct="0">
              <a:lnSpc>
                <a:spcPts val="1100"/>
              </a:lnSpc>
              <a:spcBef>
                <a:spcPct val="20000"/>
              </a:spcBef>
              <a:buClr>
                <a:srgbClr val="009B5F"/>
              </a:buClr>
              <a:buSzPct val="133000"/>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The main data used by the score are:</a:t>
            </a:r>
          </a:p>
        </p:txBody>
      </p:sp>
    </p:spTree>
    <p:extLst>
      <p:ext uri="{BB962C8B-B14F-4D97-AF65-F5344CB8AC3E}">
        <p14:creationId xmlns:p14="http://schemas.microsoft.com/office/powerpoint/2010/main" val="7092843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0"/>
          <p:cNvSpPr txBox="1"/>
          <p:nvPr/>
        </p:nvSpPr>
        <p:spPr>
          <a:xfrm>
            <a:off x="517987" y="815615"/>
            <a:ext cx="8014826" cy="3768211"/>
          </a:xfrm>
          <a:prstGeom prst="rect">
            <a:avLst/>
          </a:prstGeom>
          <a:noFill/>
          <a:ln w="25400">
            <a:noFill/>
          </a:ln>
        </p:spPr>
        <p:txBody>
          <a:bodyPr wrap="square" rtlCol="0" anchor="t">
            <a:spAutoFit/>
          </a:bodyPr>
          <a:lstStyle/>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The scoring process leads to the following outcomes</a:t>
            </a:r>
            <a:r>
              <a:rPr lang="en-US" sz="800" kern="0" dirty="0">
                <a:solidFill>
                  <a:prstClr val="black"/>
                </a:solidFill>
              </a:rPr>
              <a:t>:</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The recommendation code is followed by letters, meaning further types of explanations, such as:</a:t>
            </a:r>
          </a:p>
          <a:p>
            <a:pPr marL="8554" lvl="3" algn="just" defTabSz="457189" eaLnBrk="0" fontAlgn="base" hangingPunct="0">
              <a:lnSpc>
                <a:spcPts val="1100"/>
              </a:lnSpc>
              <a:spcBef>
                <a:spcPct val="20000"/>
              </a:spcBef>
              <a:buClr>
                <a:srgbClr val="009B5F"/>
              </a:buClr>
              <a:buSzPct val="133000"/>
              <a:tabLst>
                <a:tab pos="803255" algn="l"/>
              </a:tabLst>
              <a:defRPr/>
            </a:pPr>
            <a:endParaRPr lang="en-US" sz="800" kern="0" dirty="0">
              <a:solidFill>
                <a:prstClr val="black"/>
              </a:solidFill>
            </a:endParaRP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Customer with arrears history</a:t>
            </a:r>
          </a:p>
          <a:p>
            <a:pPr marL="8554" lvl="3" algn="just" defTabSz="457189" eaLnBrk="0" fontAlgn="base" hangingPunct="0">
              <a:lnSpc>
                <a:spcPts val="1100"/>
              </a:lnSpc>
              <a:spcBef>
                <a:spcPct val="20000"/>
              </a:spcBef>
              <a:buClr>
                <a:srgbClr val="009B5F"/>
              </a:buClr>
              <a:buSzPct val="133000"/>
              <a:tabLst>
                <a:tab pos="803255" algn="l"/>
              </a:tabLst>
              <a:defRPr/>
            </a:pPr>
            <a:r>
              <a:rPr lang="en-US" sz="1100" kern="0" dirty="0">
                <a:solidFill>
                  <a:prstClr val="black"/>
                </a:solidFill>
              </a:rPr>
              <a:t>	 		</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Co-borrower with arrears history</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100" kern="0" dirty="0">
              <a:solidFill>
                <a:prstClr val="black"/>
              </a:solidFill>
            </a:endParaRP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Limited customer profile</a:t>
            </a:r>
            <a:endParaRPr lang="en-US" sz="1100" kern="0" dirty="0">
              <a:solidFill>
                <a:prstClr val="black"/>
              </a:solidFill>
              <a:highlight>
                <a:srgbClr val="FFFF00"/>
              </a:highlight>
            </a:endParaRPr>
          </a:p>
        </p:txBody>
      </p:sp>
      <p:sp>
        <p:nvSpPr>
          <p:cNvPr id="2" name="Title 1"/>
          <p:cNvSpPr>
            <a:spLocks noGrp="1"/>
          </p:cNvSpPr>
          <p:nvPr>
            <p:ph type="title"/>
          </p:nvPr>
        </p:nvSpPr>
        <p:spPr/>
        <p:txBody>
          <a:bodyPr/>
          <a:lstStyle/>
          <a:p>
            <a:r>
              <a:rPr lang="fr-FR" dirty="0">
                <a:solidFill>
                  <a:prstClr val="black"/>
                </a:solidFill>
              </a:rPr>
              <a:t>Scoring and </a:t>
            </a:r>
            <a:r>
              <a:rPr lang="fr-FR" dirty="0" err="1">
                <a:solidFill>
                  <a:prstClr val="black"/>
                </a:solidFill>
              </a:rPr>
              <a:t>rules</a:t>
            </a:r>
            <a:r>
              <a:rPr lang="fr-FR" dirty="0">
                <a:solidFill>
                  <a:prstClr val="black"/>
                </a:solidFill>
              </a:rPr>
              <a:t> (2/2)</a:t>
            </a:r>
            <a:endParaRPr lang="en-US" dirty="0">
              <a:solidFill>
                <a:prstClr val="black"/>
              </a:solidFill>
            </a:endParaRPr>
          </a:p>
        </p:txBody>
      </p:sp>
      <p:sp>
        <p:nvSpPr>
          <p:cNvPr id="3" name="Slide Number Placeholder 2"/>
          <p:cNvSpPr>
            <a:spLocks noGrp="1"/>
          </p:cNvSpPr>
          <p:nvPr>
            <p:ph type="sldNum" sz="quarter" idx="19"/>
          </p:nvPr>
        </p:nvSpPr>
        <p:spPr/>
        <p:txBody>
          <a:bodyPr/>
          <a:lstStyle/>
          <a:p>
            <a:fld id="{98BD2159-827C-4021-9B0E-DCD852BEB59E}" type="slidenum">
              <a:rPr lang="en-GB" smtClean="0"/>
              <a:pPr/>
              <a:t>36</a:t>
            </a:fld>
            <a:endParaRPr lang="en-GB" dirty="0"/>
          </a:p>
        </p:txBody>
      </p:sp>
      <p:graphicFrame>
        <p:nvGraphicFramePr>
          <p:cNvPr id="10" name="Group 5"/>
          <p:cNvGraphicFramePr>
            <a:graphicFrameLocks noGrp="1"/>
          </p:cNvGraphicFramePr>
          <p:nvPr>
            <p:extLst>
              <p:ext uri="{D42A27DB-BD31-4B8C-83A1-F6EECF244321}">
                <p14:modId xmlns:p14="http://schemas.microsoft.com/office/powerpoint/2010/main" val="2131743964"/>
              </p:ext>
            </p:extLst>
          </p:nvPr>
        </p:nvGraphicFramePr>
        <p:xfrm>
          <a:off x="370715" y="1197713"/>
          <a:ext cx="8029573" cy="1880382"/>
        </p:xfrm>
        <a:graphic>
          <a:graphicData uri="http://schemas.openxmlformats.org/drawingml/2006/table">
            <a:tbl>
              <a:tblPr firstRow="1"/>
              <a:tblGrid>
                <a:gridCol w="1221356">
                  <a:extLst>
                    <a:ext uri="{9D8B030D-6E8A-4147-A177-3AD203B41FA5}">
                      <a16:colId xmlns:a16="http://schemas.microsoft.com/office/drawing/2014/main" val="20000"/>
                    </a:ext>
                  </a:extLst>
                </a:gridCol>
                <a:gridCol w="6808217">
                  <a:extLst>
                    <a:ext uri="{9D8B030D-6E8A-4147-A177-3AD203B41FA5}">
                      <a16:colId xmlns:a16="http://schemas.microsoft.com/office/drawing/2014/main" val="20001"/>
                    </a:ext>
                  </a:extLst>
                </a:gridCol>
              </a:tblGrid>
              <a:tr h="20955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82563" marR="0" lvl="0" indent="0" algn="l"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fr-FR" sz="1100" u="none" strike="noStrike" cap="none" normalizeH="0" baseline="0">
                          <a:ln>
                            <a:noFill/>
                          </a:ln>
                          <a:effectLst/>
                        </a:rPr>
                        <a:t>Code</a:t>
                      </a:r>
                      <a:endParaRPr kumimoji="0" lang="fr-FR" sz="1100" b="1" i="0" u="none" strike="noStrike" cap="none" normalizeH="0" baseline="0" dirty="0">
                        <a:ln>
                          <a:noFill/>
                        </a:ln>
                        <a:solidFill>
                          <a:schemeClr val="bg1"/>
                        </a:solidFill>
                        <a:effectLst/>
                        <a:latin typeface="Arial" charset="0"/>
                        <a:ea typeface="ＭＳ Ｐゴシック"/>
                        <a:cs typeface="ＭＳ Ｐゴシック"/>
                      </a:endParaRPr>
                    </a:p>
                  </a:txBody>
                  <a:tcPr marL="0" marR="0" marT="0" marB="0"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6A4E"/>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82563" marR="0" lvl="0" indent="0" algn="l"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en-IE" sz="1000" u="none" strike="noStrike" cap="none" normalizeH="0" baseline="0" dirty="0">
                          <a:ln>
                            <a:noFill/>
                          </a:ln>
                          <a:effectLst/>
                        </a:rPr>
                        <a:t> </a:t>
                      </a:r>
                      <a:r>
                        <a:rPr kumimoji="0" lang="en-IE" sz="1100" u="none" strike="noStrike" cap="none" normalizeH="0" baseline="0" dirty="0">
                          <a:ln>
                            <a:noFill/>
                          </a:ln>
                          <a:effectLst/>
                        </a:rPr>
                        <a:t>Meaning</a:t>
                      </a:r>
                      <a:endParaRPr kumimoji="0" lang="en-IE" sz="1100" b="1" i="0" u="none" strike="noStrike" cap="none" normalizeH="0" baseline="0" dirty="0">
                        <a:ln>
                          <a:noFill/>
                        </a:ln>
                        <a:solidFill>
                          <a:schemeClr val="bg1"/>
                        </a:solidFill>
                        <a:effectLst/>
                        <a:latin typeface="Arial" charset="0"/>
                        <a:ea typeface="ＭＳ Ｐゴシック"/>
                        <a:cs typeface="ＭＳ Ｐゴシック"/>
                      </a:endParaRPr>
                    </a:p>
                  </a:txBody>
                  <a:tcPr marL="0" marR="0" marT="0" marB="0"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6A4E"/>
                    </a:solidFill>
                  </a:tcPr>
                </a:tc>
                <a:extLst>
                  <a:ext uri="{0D108BD9-81ED-4DB2-BD59-A6C34878D82A}">
                    <a16:rowId xmlns:a16="http://schemas.microsoft.com/office/drawing/2014/main" val="10000"/>
                  </a:ext>
                </a:extLst>
              </a:tr>
              <a:tr h="33117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fr-FR" sz="1100" u="none" strike="noStrike" cap="none" normalizeH="0" baseline="0" dirty="0">
                          <a:ln>
                            <a:noFill/>
                          </a:ln>
                          <a:effectLst/>
                        </a:rPr>
                        <a:t>0</a:t>
                      </a:r>
                      <a:endParaRPr kumimoji="0" lang="fr-FR" sz="1100" b="1" i="0" u="none" strike="noStrike" cap="none" normalizeH="0" baseline="0" dirty="0">
                        <a:ln>
                          <a:noFill/>
                        </a:ln>
                        <a:solidFill>
                          <a:schemeClr val="tx1"/>
                        </a:solidFill>
                        <a:effectLst/>
                        <a:latin typeface="Arial" charset="0"/>
                        <a:ea typeface="ＭＳ Ｐゴシック"/>
                        <a:cs typeface="ＭＳ Ｐゴシック"/>
                      </a:endParaRPr>
                    </a:p>
                  </a:txBody>
                  <a:tcPr marL="0" marR="0" marT="0" marB="0"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6A4E">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en-IE" sz="1100" u="none" strike="noStrike" cap="none" normalizeH="0" baseline="0" dirty="0">
                          <a:ln>
                            <a:noFill/>
                          </a:ln>
                          <a:effectLst/>
                        </a:rPr>
                        <a:t> Favourable Opinion</a:t>
                      </a:r>
                      <a:endParaRPr kumimoji="0" lang="en-IE" sz="1100" b="1" i="0" u="none" strike="noStrike" cap="none" normalizeH="0" baseline="0" dirty="0">
                        <a:ln>
                          <a:noFill/>
                        </a:ln>
                        <a:solidFill>
                          <a:schemeClr val="tx1"/>
                        </a:solidFill>
                        <a:effectLst/>
                        <a:latin typeface="Arial" charset="0"/>
                        <a:ea typeface="ＭＳ Ｐゴシック"/>
                        <a:cs typeface="ＭＳ Ｐゴシック"/>
                      </a:endParaRPr>
                    </a:p>
                  </a:txBody>
                  <a:tcPr marL="0" marR="0" marT="0" marB="0"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1"/>
                  </a:ext>
                </a:extLst>
              </a:tr>
              <a:tr h="41763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fr-FR" sz="1100" u="none" strike="noStrike" cap="none" normalizeH="0" baseline="0" dirty="0">
                          <a:ln>
                            <a:noFill/>
                          </a:ln>
                          <a:effectLst/>
                        </a:rPr>
                        <a:t>1</a:t>
                      </a:r>
                      <a:endParaRPr kumimoji="0" lang="fr-FR" sz="1100" b="1" i="0" u="none" strike="noStrike" cap="none" normalizeH="0" baseline="0" dirty="0">
                        <a:ln>
                          <a:noFill/>
                        </a:ln>
                        <a:solidFill>
                          <a:schemeClr val="tx1"/>
                        </a:solidFill>
                        <a:effectLst/>
                        <a:latin typeface="Arial" charset="0"/>
                        <a:ea typeface="ＭＳ Ｐゴシック"/>
                        <a:cs typeface="ＭＳ Ｐゴシック"/>
                      </a:endParaRPr>
                    </a:p>
                  </a:txBody>
                  <a:tcPr marL="0" marR="0" marT="0" marB="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6A4E">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en-IE" sz="1100" u="none" strike="noStrike" cap="none" normalizeH="0" baseline="0" dirty="0">
                          <a:ln>
                            <a:noFill/>
                          </a:ln>
                          <a:effectLst/>
                        </a:rPr>
                        <a:t> Unfavourable Opinion</a:t>
                      </a:r>
                      <a:endParaRPr kumimoji="0" lang="en-IE" sz="1100" b="1" i="0" u="none" strike="noStrike" cap="none" normalizeH="0" baseline="0" dirty="0">
                        <a:ln>
                          <a:noFill/>
                        </a:ln>
                        <a:solidFill>
                          <a:schemeClr val="tx1"/>
                        </a:solidFill>
                        <a:effectLst/>
                        <a:latin typeface="Arial" charset="0"/>
                        <a:ea typeface="ＭＳ Ｐゴシック"/>
                        <a:cs typeface="ＭＳ Ｐゴシック"/>
                      </a:endParaRPr>
                    </a:p>
                  </a:txBody>
                  <a:tcPr marL="0" marR="0" marT="0" marB="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2"/>
                  </a:ext>
                </a:extLst>
              </a:tr>
              <a:tr h="4191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fr-FR" sz="1100" u="none" strike="noStrike" cap="none" normalizeH="0" baseline="0" dirty="0">
                          <a:ln>
                            <a:noFill/>
                          </a:ln>
                          <a:effectLst/>
                        </a:rPr>
                        <a:t>2</a:t>
                      </a:r>
                      <a:endParaRPr kumimoji="0" lang="fr-FR" sz="1100" b="1" i="0" u="none" strike="noStrike" cap="none" normalizeH="0" baseline="0" dirty="0">
                        <a:ln>
                          <a:noFill/>
                        </a:ln>
                        <a:solidFill>
                          <a:schemeClr val="tx1"/>
                        </a:solidFill>
                        <a:effectLst/>
                        <a:latin typeface="Arial" charset="0"/>
                        <a:ea typeface="ＭＳ Ｐゴシック"/>
                        <a:cs typeface="ＭＳ Ｐゴシック"/>
                      </a:endParaRPr>
                    </a:p>
                  </a:txBody>
                  <a:tcPr marL="0" marR="0" marT="0" marB="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6A4E">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en-IE" sz="1100" u="none" strike="noStrike" cap="none" normalizeH="0" baseline="0" dirty="0">
                          <a:ln>
                            <a:noFill/>
                          </a:ln>
                          <a:effectLst/>
                        </a:rPr>
                        <a:t> Complementary study needed </a:t>
                      </a:r>
                    </a:p>
                    <a:p>
                      <a:pPr marL="0" marR="0" lvl="0" indent="0" algn="l"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en-IE" sz="1100" u="none" strike="noStrike" cap="none" normalizeH="0" baseline="0" dirty="0">
                          <a:ln>
                            <a:noFill/>
                          </a:ln>
                          <a:effectLst/>
                        </a:rPr>
                        <a:t> </a:t>
                      </a:r>
                      <a:r>
                        <a:rPr kumimoji="0" lang="en-IE" sz="1100" b="1" u="none" strike="noStrike" cap="none" normalizeH="0" baseline="0" dirty="0">
                          <a:ln>
                            <a:noFill/>
                          </a:ln>
                          <a:effectLst/>
                        </a:rPr>
                        <a:t>(credit application shows particular characteristics requiring further in-depth study)</a:t>
                      </a:r>
                      <a:endParaRPr kumimoji="0" lang="en-IE" sz="1100" b="1" i="0" u="none" strike="noStrike" cap="none" normalizeH="0" baseline="0" dirty="0">
                        <a:ln>
                          <a:noFill/>
                        </a:ln>
                        <a:solidFill>
                          <a:schemeClr val="tx1"/>
                        </a:solidFill>
                        <a:effectLst/>
                        <a:latin typeface="Arial" charset="0"/>
                        <a:ea typeface="ＭＳ Ｐゴシック"/>
                        <a:cs typeface="ＭＳ Ｐゴシック"/>
                      </a:endParaRPr>
                    </a:p>
                  </a:txBody>
                  <a:tcPr marL="0" marR="0" marT="0" marB="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3"/>
                  </a:ext>
                </a:extLst>
              </a:tr>
              <a:tr h="4161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fr-FR" sz="1100" u="none" strike="noStrike" cap="none" normalizeH="0" baseline="0" dirty="0">
                          <a:ln>
                            <a:noFill/>
                          </a:ln>
                          <a:effectLst/>
                        </a:rPr>
                        <a:t>3</a:t>
                      </a:r>
                      <a:endParaRPr kumimoji="0" lang="fr-FR" sz="1100" b="1" i="0" u="none" strike="noStrike" cap="none" normalizeH="0" baseline="0" dirty="0">
                        <a:ln>
                          <a:noFill/>
                        </a:ln>
                        <a:solidFill>
                          <a:schemeClr val="tx1"/>
                        </a:solidFill>
                        <a:effectLst/>
                        <a:latin typeface="Arial" charset="0"/>
                        <a:ea typeface="ＭＳ Ｐゴシック"/>
                        <a:cs typeface="ＭＳ Ｐゴシック"/>
                      </a:endParaRPr>
                    </a:p>
                  </a:txBody>
                  <a:tcPr marL="0" marR="0" marT="0" marB="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6A4E">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en-IE" sz="1100" u="none" strike="noStrike" cap="none" normalizeH="0" baseline="0" dirty="0">
                          <a:ln>
                            <a:noFill/>
                          </a:ln>
                          <a:effectLst/>
                        </a:rPr>
                        <a:t> Unusual case </a:t>
                      </a:r>
                    </a:p>
                    <a:p>
                      <a:pPr marL="0" marR="0" lvl="0" indent="0" algn="l" defTabSz="914400" rtl="0" eaLnBrk="0" fontAlgn="b" latinLnBrk="0" hangingPunct="0">
                        <a:lnSpc>
                          <a:spcPct val="100000"/>
                        </a:lnSpc>
                        <a:spcBef>
                          <a:spcPct val="0"/>
                        </a:spcBef>
                        <a:spcAft>
                          <a:spcPct val="0"/>
                        </a:spcAft>
                        <a:buClr>
                          <a:schemeClr val="accent2"/>
                        </a:buClr>
                        <a:buSzTx/>
                        <a:buFont typeface="Wingdings" pitchFamily="2" charset="2"/>
                        <a:buNone/>
                        <a:tabLst/>
                      </a:pPr>
                      <a:r>
                        <a:rPr kumimoji="0" lang="en-IE" sz="1100" u="none" strike="noStrike" cap="none" normalizeH="0" baseline="0" dirty="0">
                          <a:ln>
                            <a:noFill/>
                          </a:ln>
                          <a:effectLst/>
                        </a:rPr>
                        <a:t> </a:t>
                      </a:r>
                      <a:r>
                        <a:rPr kumimoji="0" lang="en-IE" sz="1100" b="1" u="none" strike="noStrike" cap="none" normalizeH="0" baseline="0" dirty="0">
                          <a:ln>
                            <a:noFill/>
                          </a:ln>
                          <a:effectLst/>
                        </a:rPr>
                        <a:t>(credit application is atypical and requires specific processing. It can result from the  pre-defined rules for overrides)</a:t>
                      </a:r>
                      <a:endParaRPr kumimoji="0" lang="en-IE" sz="1100" b="1" i="0" u="none" strike="noStrike" cap="none" normalizeH="0" baseline="0" dirty="0">
                        <a:ln>
                          <a:noFill/>
                        </a:ln>
                        <a:solidFill>
                          <a:schemeClr val="tx1"/>
                        </a:solidFill>
                        <a:effectLst/>
                        <a:latin typeface="Arial" charset="0"/>
                        <a:ea typeface="ＭＳ Ｐゴシック"/>
                        <a:cs typeface="Arial" charset="0"/>
                      </a:endParaRPr>
                    </a:p>
                  </a:txBody>
                  <a:tcPr marL="0" marR="0" marT="0" marB="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6A4E">
                        <a:tint val="20000"/>
                      </a:srgbClr>
                    </a:solidFill>
                  </a:tcPr>
                </a:tc>
                <a:extLst>
                  <a:ext uri="{0D108BD9-81ED-4DB2-BD59-A6C34878D82A}">
                    <a16:rowId xmlns:a16="http://schemas.microsoft.com/office/drawing/2014/main" val="10004"/>
                  </a:ext>
                </a:extLst>
              </a:tr>
            </a:tbl>
          </a:graphicData>
        </a:graphic>
      </p:graphicFrame>
      <p:sp>
        <p:nvSpPr>
          <p:cNvPr id="12" name="Text Box 4"/>
          <p:cNvSpPr txBox="1">
            <a:spLocks noChangeArrowheads="1"/>
          </p:cNvSpPr>
          <p:nvPr/>
        </p:nvSpPr>
        <p:spPr bwMode="auto">
          <a:xfrm>
            <a:off x="3664522" y="3584612"/>
            <a:ext cx="3250226" cy="1177245"/>
          </a:xfrm>
          <a:prstGeom prst="rect">
            <a:avLst/>
          </a:prstGeom>
          <a:noFill/>
          <a:ln w="9525">
            <a:noFill/>
            <a:miter lim="800000"/>
            <a:headEnd/>
            <a:tailEnd/>
          </a:ln>
          <a:effectLst/>
        </p:spPr>
        <p:txBody>
          <a:bodyPr wrap="square">
            <a:spAutoFit/>
          </a:bodyPr>
          <a:lstStyle/>
          <a:p>
            <a:pPr marL="542923" lvl="3" indent="-180971" defTabSz="457189" fontAlgn="base">
              <a:lnSpc>
                <a:spcPct val="90000"/>
              </a:lnSpc>
              <a:spcAft>
                <a:spcPts val="300"/>
              </a:spcAft>
              <a:buClr>
                <a:srgbClr val="009B5F"/>
              </a:buClr>
              <a:buSzPct val="133000"/>
              <a:buFont typeface="Wingdings" panose="05000000000000000000" pitchFamily="2" charset="2"/>
              <a:buChar char="§"/>
              <a:tabLst>
                <a:tab pos="803255" algn="l"/>
              </a:tabLst>
              <a:defRPr/>
            </a:pPr>
            <a:r>
              <a:rPr lang="en-US" sz="1100" dirty="0">
                <a:solidFill>
                  <a:prstClr val="black"/>
                </a:solidFill>
                <a:latin typeface="Arial" panose="020B0604020202020204" pitchFamily="34" charset="0"/>
                <a:ea typeface="MS PGothic" pitchFamily="34" charset="-128"/>
                <a:cs typeface="Arial" panose="020B0604020202020204" pitchFamily="34" charset="0"/>
              </a:rPr>
              <a:t>Client having a revolving credit or holding a private label card</a:t>
            </a:r>
          </a:p>
          <a:p>
            <a:pPr marL="542923" lvl="3" indent="-180971" defTabSz="457189" fontAlgn="base">
              <a:lnSpc>
                <a:spcPct val="90000"/>
              </a:lnSpc>
              <a:spcAft>
                <a:spcPts val="300"/>
              </a:spcAft>
              <a:buClr>
                <a:srgbClr val="009B5F"/>
              </a:buClr>
              <a:buSzPct val="133000"/>
              <a:buFont typeface="Wingdings" panose="05000000000000000000" pitchFamily="2" charset="2"/>
              <a:buChar char="§"/>
              <a:tabLst>
                <a:tab pos="803255" algn="l"/>
              </a:tabLst>
              <a:defRPr/>
            </a:pPr>
            <a:r>
              <a:rPr lang="en-US" sz="1100" dirty="0">
                <a:solidFill>
                  <a:prstClr val="black"/>
                </a:solidFill>
                <a:latin typeface="Arial" panose="020B0604020202020204" pitchFamily="34" charset="0"/>
                <a:ea typeface="MS PGothic" pitchFamily="34" charset="-128"/>
                <a:cs typeface="Arial" panose="020B0604020202020204" pitchFamily="34" charset="0"/>
              </a:rPr>
              <a:t>Doubt on clients recognition by the system</a:t>
            </a:r>
          </a:p>
          <a:p>
            <a:pPr marL="542923" lvl="3" indent="-180971" defTabSz="457189" fontAlgn="base">
              <a:lnSpc>
                <a:spcPct val="90000"/>
              </a:lnSpc>
              <a:spcAft>
                <a:spcPts val="300"/>
              </a:spcAft>
              <a:buClr>
                <a:srgbClr val="009B5F"/>
              </a:buClr>
              <a:buSzPct val="133000"/>
              <a:buFont typeface="Wingdings" panose="05000000000000000000" pitchFamily="2" charset="2"/>
              <a:buChar char="§"/>
              <a:tabLst>
                <a:tab pos="803255" algn="l"/>
              </a:tabLst>
              <a:defRPr/>
            </a:pPr>
            <a:r>
              <a:rPr lang="en-US" sz="1100" dirty="0">
                <a:solidFill>
                  <a:prstClr val="black"/>
                </a:solidFill>
                <a:latin typeface="Arial" panose="020B0604020202020204" pitchFamily="34" charset="0"/>
                <a:ea typeface="MS PGothic" pitchFamily="34" charset="-128"/>
                <a:cs typeface="Arial" panose="020B0604020202020204" pitchFamily="34" charset="0"/>
              </a:rPr>
              <a:t>Addition letter for fraud alerts</a:t>
            </a:r>
          </a:p>
          <a:p>
            <a:pPr algn="just" eaLnBrk="0" hangingPunct="0">
              <a:spcBef>
                <a:spcPct val="50000"/>
              </a:spcBef>
              <a:buClr>
                <a:schemeClr val="tx1"/>
              </a:buClr>
              <a:buSzPct val="120000"/>
              <a:tabLst>
                <a:tab pos="3409950" algn="l"/>
              </a:tabLst>
            </a:pPr>
            <a:endParaRPr lang="fr-FR" sz="900" dirty="0"/>
          </a:p>
        </p:txBody>
      </p:sp>
      <p:sp>
        <p:nvSpPr>
          <p:cNvPr id="4" name="ZoneTexte 3">
            <a:extLst>
              <a:ext uri="{FF2B5EF4-FFF2-40B4-BE49-F238E27FC236}">
                <a16:creationId xmlns:a16="http://schemas.microsoft.com/office/drawing/2014/main" id="{9223E5E1-8C2C-4286-ABC0-012271A6C003}"/>
              </a:ext>
            </a:extLst>
          </p:cNvPr>
          <p:cNvSpPr txBox="1"/>
          <p:nvPr/>
        </p:nvSpPr>
        <p:spPr>
          <a:xfrm>
            <a:off x="517608" y="4574593"/>
            <a:ext cx="7134091" cy="261610"/>
          </a:xfrm>
          <a:prstGeom prst="rect">
            <a:avLst/>
          </a:prstGeom>
          <a:noFill/>
        </p:spPr>
        <p:txBody>
          <a:bodyPr wrap="square" rtlCol="0">
            <a:spAutoFit/>
          </a:bodyPr>
          <a:lstStyle/>
          <a:p>
            <a:pPr marL="171450" indent="-171450">
              <a:buClr>
                <a:srgbClr val="006448"/>
              </a:buClr>
              <a:buFont typeface="Wingdings" panose="05000000000000000000" pitchFamily="2" charset="2"/>
              <a:buChar char="§"/>
            </a:pPr>
            <a:r>
              <a:rPr lang="fr-FR" sz="1100" dirty="0"/>
              <a:t>All files, </a:t>
            </a:r>
            <a:r>
              <a:rPr lang="fr-FR" sz="1100" dirty="0" err="1"/>
              <a:t>regardless</a:t>
            </a:r>
            <a:r>
              <a:rPr lang="fr-FR" sz="1100" dirty="0"/>
              <a:t> of </a:t>
            </a:r>
            <a:r>
              <a:rPr lang="fr-FR" sz="1100" dirty="0" err="1"/>
              <a:t>their</a:t>
            </a:r>
            <a:r>
              <a:rPr lang="fr-FR" sz="1100" dirty="0"/>
              <a:t> </a:t>
            </a:r>
            <a:r>
              <a:rPr lang="fr-FR" sz="1100" dirty="0" err="1"/>
              <a:t>outcome</a:t>
            </a:r>
            <a:r>
              <a:rPr lang="fr-FR" sz="1100" dirty="0"/>
              <a:t> </a:t>
            </a:r>
            <a:r>
              <a:rPr lang="fr-FR" sz="1100" dirty="0" err="1"/>
              <a:t>from</a:t>
            </a:r>
            <a:r>
              <a:rPr lang="fr-FR" sz="1100" dirty="0"/>
              <a:t> the </a:t>
            </a:r>
            <a:r>
              <a:rPr lang="fr-FR" sz="1100" dirty="0" err="1"/>
              <a:t>automatic</a:t>
            </a:r>
            <a:r>
              <a:rPr lang="fr-FR" sz="1100" dirty="0"/>
              <a:t> process, are </a:t>
            </a:r>
            <a:r>
              <a:rPr lang="fr-FR" sz="1100" dirty="0" err="1"/>
              <a:t>subject</a:t>
            </a:r>
            <a:r>
              <a:rPr lang="fr-FR" sz="1100" dirty="0"/>
              <a:t> to </a:t>
            </a:r>
            <a:r>
              <a:rPr lang="fr-FR" sz="1100" dirty="0" err="1"/>
              <a:t>human</a:t>
            </a:r>
            <a:r>
              <a:rPr lang="fr-FR" sz="1100" dirty="0"/>
              <a:t> checks and </a:t>
            </a:r>
            <a:r>
              <a:rPr lang="fr-FR" sz="1100" dirty="0" err="1"/>
              <a:t>controls</a:t>
            </a:r>
            <a:r>
              <a:rPr lang="fr-FR" sz="1100" dirty="0"/>
              <a:t>.</a:t>
            </a:r>
          </a:p>
        </p:txBody>
      </p:sp>
    </p:spTree>
    <p:extLst>
      <p:ext uri="{BB962C8B-B14F-4D97-AF65-F5344CB8AC3E}">
        <p14:creationId xmlns:p14="http://schemas.microsoft.com/office/powerpoint/2010/main" val="29578469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654738" y="253734"/>
            <a:ext cx="6038204" cy="233772"/>
          </a:xfrm>
        </p:spPr>
        <p:txBody>
          <a:bodyPr vert="horz" lIns="91440" tIns="45720" rIns="91440" bIns="45720" rtlCol="0" anchor="t" anchorCtr="0">
            <a:noAutofit/>
          </a:bodyPr>
          <a:lstStyle/>
          <a:p>
            <a:r>
              <a:rPr lang="en-GB" dirty="0">
                <a:solidFill>
                  <a:prstClr val="black"/>
                </a:solidFill>
              </a:rPr>
              <a:t>Specific rules – Human controls </a:t>
            </a:r>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 Box 2"/>
          <p:cNvSpPr txBox="1">
            <a:spLocks noChangeArrowheads="1"/>
          </p:cNvSpPr>
          <p:nvPr/>
        </p:nvSpPr>
        <p:spPr bwMode="auto">
          <a:xfrm>
            <a:off x="553144" y="1348201"/>
            <a:ext cx="7728076" cy="2372124"/>
          </a:xfrm>
          <a:prstGeom prst="rect">
            <a:avLst/>
          </a:prstGeom>
          <a:noFill/>
          <a:ln w="9525">
            <a:noFill/>
            <a:miter lim="800000"/>
            <a:headEnd/>
            <a:tailEnd/>
          </a:ln>
          <a:effectLst/>
        </p:spPr>
        <p:txBody>
          <a:bodyPr wrap="square">
            <a:spAutoFit/>
          </a:bodyPr>
          <a:lstStyle/>
          <a:p>
            <a:pPr marL="271463" indent="-271463" algn="just">
              <a:lnSpc>
                <a:spcPct val="150000"/>
              </a:lnSpc>
              <a:spcBef>
                <a:spcPct val="50000"/>
              </a:spcBef>
              <a:buClr>
                <a:schemeClr val="tx1"/>
              </a:buClr>
              <a:buSzPct val="120000"/>
              <a:buBlip>
                <a:blip r:embed="rId2"/>
              </a:buBlip>
              <a:tabLst>
                <a:tab pos="2557463" algn="l"/>
              </a:tabLst>
              <a:defRPr/>
            </a:pPr>
            <a:r>
              <a:rPr lang="en-US" sz="1000" dirty="0"/>
              <a:t>Underwriting team dedicated to </a:t>
            </a:r>
            <a:r>
              <a:rPr lang="en-US" sz="1000" dirty="0" err="1"/>
              <a:t>Creditlift</a:t>
            </a:r>
            <a:r>
              <a:rPr lang="en-US" sz="1000" dirty="0"/>
              <a:t> (40 persons in Roubaix)</a:t>
            </a:r>
          </a:p>
          <a:p>
            <a:pPr marL="271463" indent="-271463" algn="just">
              <a:lnSpc>
                <a:spcPct val="150000"/>
              </a:lnSpc>
              <a:spcBef>
                <a:spcPct val="50000"/>
              </a:spcBef>
              <a:buClr>
                <a:schemeClr val="tx1"/>
              </a:buClr>
              <a:buSzPct val="120000"/>
              <a:buBlip>
                <a:blip r:embed="rId2"/>
              </a:buBlip>
              <a:tabLst>
                <a:tab pos="2557463" algn="l"/>
              </a:tabLst>
              <a:defRPr/>
            </a:pPr>
            <a:r>
              <a:rPr lang="en-US" sz="1000" dirty="0"/>
              <a:t>Systematic study of the financing and the situation of the customer.</a:t>
            </a:r>
          </a:p>
          <a:p>
            <a:pPr marL="271463" lvl="1" indent="-271463" algn="just">
              <a:lnSpc>
                <a:spcPct val="150000"/>
              </a:lnSpc>
              <a:spcBef>
                <a:spcPct val="50000"/>
              </a:spcBef>
              <a:buClr>
                <a:schemeClr val="tx1"/>
              </a:buClr>
              <a:buSzPct val="120000"/>
              <a:buBlip>
                <a:blip r:embed="rId2"/>
              </a:buBlip>
              <a:tabLst>
                <a:tab pos="2557463" algn="l"/>
              </a:tabLst>
              <a:defRPr/>
            </a:pPr>
            <a:r>
              <a:rPr lang="en-US" sz="1000" dirty="0"/>
              <a:t>Analysis of the bank </a:t>
            </a:r>
            <a:r>
              <a:rPr lang="en-US" sz="1000" dirty="0" err="1"/>
              <a:t>satements</a:t>
            </a:r>
            <a:r>
              <a:rPr lang="en-US" sz="1000" dirty="0"/>
              <a:t> (last 3 months) for calculation of the balance flow/credit of the accounts (the balance must be positive post debt consolidation)</a:t>
            </a:r>
          </a:p>
          <a:p>
            <a:pPr marL="271463" indent="-271463" algn="just">
              <a:lnSpc>
                <a:spcPct val="150000"/>
              </a:lnSpc>
              <a:spcBef>
                <a:spcPct val="50000"/>
              </a:spcBef>
              <a:buClr>
                <a:schemeClr val="tx1"/>
              </a:buClr>
              <a:buSzPct val="120000"/>
              <a:buBlip>
                <a:blip r:embed="rId2"/>
              </a:buBlip>
              <a:tabLst>
                <a:tab pos="2557463" algn="l"/>
              </a:tabLst>
              <a:defRPr/>
            </a:pPr>
            <a:r>
              <a:rPr lang="en-US" sz="1000" dirty="0"/>
              <a:t>Thorough study of solvency (affordability and disposable income before and after debt consolidation)</a:t>
            </a:r>
          </a:p>
          <a:p>
            <a:pPr marL="271463" indent="-271463" algn="just">
              <a:lnSpc>
                <a:spcPct val="150000"/>
              </a:lnSpc>
              <a:spcBef>
                <a:spcPct val="50000"/>
              </a:spcBef>
              <a:buClr>
                <a:schemeClr val="tx1"/>
              </a:buClr>
              <a:buSzPct val="120000"/>
              <a:buBlip>
                <a:blip r:embed="rId2"/>
              </a:buBlip>
              <a:tabLst>
                <a:tab pos="2557463" algn="l"/>
              </a:tabLst>
              <a:defRPr/>
            </a:pPr>
            <a:r>
              <a:rPr lang="en-US" sz="1000" dirty="0"/>
              <a:t>Analysis of several documents in proof (3 last bank statements, 2 last pay slips, income tax returns, statement of credit) </a:t>
            </a:r>
          </a:p>
          <a:p>
            <a:pPr marL="271463" indent="-271463" algn="just">
              <a:lnSpc>
                <a:spcPct val="150000"/>
              </a:lnSpc>
              <a:spcBef>
                <a:spcPct val="50000"/>
              </a:spcBef>
              <a:buClr>
                <a:schemeClr val="tx1"/>
              </a:buClr>
              <a:buSzPct val="120000"/>
              <a:buBlip>
                <a:blip r:embed="rId2"/>
              </a:buBlip>
              <a:tabLst>
                <a:tab pos="2557463" algn="l"/>
              </a:tabLst>
              <a:defRPr/>
            </a:pPr>
            <a:r>
              <a:rPr lang="en-US" sz="1000" dirty="0"/>
              <a:t>End/reduction of the CACF revolving credit loans.</a:t>
            </a:r>
          </a:p>
          <a:p>
            <a:pPr algn="just">
              <a:lnSpc>
                <a:spcPct val="150000"/>
              </a:lnSpc>
              <a:spcBef>
                <a:spcPct val="50000"/>
              </a:spcBef>
              <a:buClr>
                <a:schemeClr val="tx1"/>
              </a:buClr>
              <a:buSzPct val="120000"/>
              <a:tabLst>
                <a:tab pos="2557463" algn="l"/>
              </a:tabLst>
              <a:defRPr/>
            </a:pPr>
            <a:endParaRPr lang="en-US" sz="1000" dirty="0"/>
          </a:p>
        </p:txBody>
      </p:sp>
      <p:sp>
        <p:nvSpPr>
          <p:cNvPr id="7" name="Slide Number Placeholder 3">
            <a:extLst>
              <a:ext uri="{FF2B5EF4-FFF2-40B4-BE49-F238E27FC236}">
                <a16:creationId xmlns:a16="http://schemas.microsoft.com/office/drawing/2014/main" id="{3F81AE0C-4AF4-497D-9F80-D746AA6CB272}"/>
              </a:ext>
            </a:extLst>
          </p:cNvPr>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37</a:t>
            </a:fld>
            <a:endParaRPr lang="en-GB" sz="900" dirty="0">
              <a:solidFill>
                <a:prstClr val="white"/>
              </a:solidFill>
              <a:latin typeface="Avenir Next LT Pro"/>
            </a:endParaRPr>
          </a:p>
        </p:txBody>
      </p:sp>
    </p:spTree>
    <p:extLst>
      <p:ext uri="{BB962C8B-B14F-4D97-AF65-F5344CB8AC3E}">
        <p14:creationId xmlns:p14="http://schemas.microsoft.com/office/powerpoint/2010/main" val="3312018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706780" y="259936"/>
            <a:ext cx="6038204" cy="339910"/>
          </a:xfrm>
        </p:spPr>
        <p:txBody>
          <a:bodyPr vert="horz" lIns="91440" tIns="45720" rIns="91440" bIns="45720" rtlCol="0" anchor="t" anchorCtr="0">
            <a:noAutofit/>
          </a:bodyPr>
          <a:lstStyle/>
          <a:p>
            <a:r>
              <a:rPr lang="en-GB" sz="1800" dirty="0">
                <a:solidFill>
                  <a:prstClr val="black"/>
                </a:solidFill>
              </a:rPr>
              <a:t>Specific rules </a:t>
            </a:r>
            <a:r>
              <a:rPr lang="en-US" sz="1800" dirty="0">
                <a:solidFill>
                  <a:prstClr val="black"/>
                </a:solidFill>
              </a:rPr>
              <a:t>for debt consolidation</a:t>
            </a:r>
            <a:endParaRPr lang="en-GB" sz="1800" dirty="0">
              <a:solidFill>
                <a:prstClr val="black"/>
              </a:solidFill>
            </a:endParaRPr>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Text Box 2"/>
          <p:cNvSpPr txBox="1">
            <a:spLocks noChangeArrowheads="1"/>
          </p:cNvSpPr>
          <p:nvPr/>
        </p:nvSpPr>
        <p:spPr bwMode="auto">
          <a:xfrm>
            <a:off x="590471" y="1156682"/>
            <a:ext cx="7745145" cy="3277820"/>
          </a:xfrm>
          <a:prstGeom prst="rect">
            <a:avLst/>
          </a:prstGeom>
          <a:noFill/>
          <a:ln w="9525">
            <a:noFill/>
            <a:miter lim="800000"/>
            <a:headEnd/>
            <a:tailEnd/>
          </a:ln>
          <a:effectLst/>
        </p:spPr>
        <p:txBody>
          <a:bodyPr wrap="square">
            <a:spAutoFit/>
          </a:bodyPr>
          <a:lstStyle/>
          <a:p>
            <a:pPr marL="271463" indent="-271463" algn="just">
              <a:spcBef>
                <a:spcPct val="50000"/>
              </a:spcBef>
              <a:buClr>
                <a:schemeClr val="tx1"/>
              </a:buClr>
              <a:buSzPct val="120000"/>
              <a:buBlip>
                <a:blip r:embed="rId2"/>
              </a:buBlip>
              <a:tabLst>
                <a:tab pos="2557463" algn="l"/>
              </a:tabLst>
              <a:defRPr/>
            </a:pPr>
            <a:r>
              <a:rPr lang="en-US" sz="900" dirty="0"/>
              <a:t>Debt consolidation loans imply significant amounts, hence lending criteria apply without exception.</a:t>
            </a:r>
          </a:p>
          <a:p>
            <a:pPr marL="271463" indent="-271463" algn="just">
              <a:spcBef>
                <a:spcPct val="50000"/>
              </a:spcBef>
              <a:buClr>
                <a:schemeClr val="tx1"/>
              </a:buClr>
              <a:buSzPct val="120000"/>
              <a:buBlip>
                <a:blip r:embed="rId2"/>
              </a:buBlip>
              <a:tabLst>
                <a:tab pos="2557463" algn="l"/>
              </a:tabLst>
              <a:defRPr/>
            </a:pPr>
            <a:r>
              <a:rPr lang="en-US" sz="900" dirty="0"/>
              <a:t>When the aggregate loan commitment exceeds €150,000, the file shall be handled by the Underwriting Department (</a:t>
            </a:r>
            <a:r>
              <a:rPr lang="en-US" sz="900" dirty="0" err="1"/>
              <a:t>Département</a:t>
            </a:r>
            <a:r>
              <a:rPr lang="en-US" sz="900" dirty="0"/>
              <a:t> des Engagements).</a:t>
            </a:r>
          </a:p>
          <a:p>
            <a:pPr marL="271463" indent="-271463" algn="just">
              <a:spcBef>
                <a:spcPct val="50000"/>
              </a:spcBef>
              <a:buClr>
                <a:schemeClr val="tx1"/>
              </a:buClr>
              <a:buSzPct val="120000"/>
              <a:buBlip>
                <a:blip r:embed="rId2"/>
              </a:buBlip>
              <a:tabLst>
                <a:tab pos="2557463" algn="l"/>
              </a:tabLst>
              <a:defRPr/>
            </a:pPr>
            <a:r>
              <a:rPr lang="en-US" sz="900" dirty="0"/>
              <a:t>CA CF </a:t>
            </a:r>
            <a:r>
              <a:rPr lang="en-US" sz="900" dirty="0" err="1"/>
              <a:t>recommands</a:t>
            </a:r>
            <a:r>
              <a:rPr lang="en-US" sz="900" dirty="0"/>
              <a:t> the borrower to close his revolving credits with competitors. </a:t>
            </a:r>
          </a:p>
          <a:p>
            <a:pPr marL="271463" indent="-271463" algn="just">
              <a:spcBef>
                <a:spcPct val="50000"/>
              </a:spcBef>
              <a:buClr>
                <a:schemeClr val="tx1"/>
              </a:buClr>
              <a:buSzPct val="120000"/>
              <a:buBlip>
                <a:blip r:embed="rId2"/>
              </a:buBlip>
              <a:tabLst>
                <a:tab pos="2557463" algn="l"/>
              </a:tabLst>
              <a:defRPr/>
            </a:pPr>
            <a:r>
              <a:rPr lang="en-US" sz="900" dirty="0"/>
              <a:t>Specific rules shall be applied strictly without the possibility for any exception / override:</a:t>
            </a:r>
          </a:p>
          <a:p>
            <a:pPr marL="1185863" lvl="2" indent="-271463" algn="just">
              <a:spcBef>
                <a:spcPct val="50000"/>
              </a:spcBef>
              <a:buClr>
                <a:schemeClr val="tx1"/>
              </a:buClr>
              <a:buSzPct val="120000"/>
              <a:buBlip>
                <a:blip r:embed="rId2"/>
              </a:buBlip>
              <a:tabLst>
                <a:tab pos="2557463" algn="l"/>
              </a:tabLst>
              <a:defRPr/>
            </a:pPr>
            <a:r>
              <a:rPr lang="en-US" sz="900" dirty="0"/>
              <a:t>The aggregated commitments are no greater than 40 times the net monthly income of the household</a:t>
            </a:r>
          </a:p>
          <a:p>
            <a:pPr marL="1185863" lvl="2" indent="-271463" algn="just">
              <a:spcBef>
                <a:spcPct val="50000"/>
              </a:spcBef>
              <a:buClr>
                <a:schemeClr val="tx1"/>
              </a:buClr>
              <a:buSzPct val="120000"/>
              <a:buBlip>
                <a:blip r:embed="rId2"/>
              </a:buBlip>
              <a:tabLst>
                <a:tab pos="2557463" algn="l"/>
              </a:tabLst>
              <a:defRPr/>
            </a:pPr>
            <a:r>
              <a:rPr lang="en-US" sz="900" dirty="0"/>
              <a:t>For files &gt; €25,000, projects shall meet certain criteria and supported by invoices =&gt; A project receipt must be provided for all treasury increase request (example : home improvement…)</a:t>
            </a:r>
          </a:p>
          <a:p>
            <a:pPr marL="1600200" lvl="4" algn="just">
              <a:spcBef>
                <a:spcPct val="50000"/>
              </a:spcBef>
              <a:buClr>
                <a:schemeClr val="tx1"/>
              </a:buClr>
              <a:buSzPct val="120000"/>
              <a:tabLst>
                <a:tab pos="2557463" algn="l"/>
              </a:tabLst>
              <a:defRPr/>
            </a:pPr>
            <a:endParaRPr lang="en-US" sz="900" dirty="0"/>
          </a:p>
          <a:p>
            <a:pPr marL="214313" indent="-214313" algn="just" defTabSz="185738">
              <a:spcBef>
                <a:spcPct val="50000"/>
              </a:spcBef>
              <a:buClr>
                <a:schemeClr val="tx1"/>
              </a:buClr>
              <a:buSzPct val="120000"/>
              <a:buBlip>
                <a:blip r:embed="rId2"/>
              </a:buBlip>
              <a:tabLst>
                <a:tab pos="671513" algn="l"/>
                <a:tab pos="871538" algn="l"/>
                <a:tab pos="1143000" algn="l"/>
              </a:tabLst>
              <a:defRPr/>
            </a:pPr>
            <a:r>
              <a:rPr lang="en-US" sz="900" dirty="0"/>
              <a:t>The underwriting process of this type of loan includes the following steps:</a:t>
            </a:r>
          </a:p>
          <a:p>
            <a:pPr algn="just" defTabSz="185738">
              <a:spcBef>
                <a:spcPct val="50000"/>
              </a:spcBef>
              <a:buClr>
                <a:schemeClr val="tx1"/>
              </a:buClr>
              <a:buSzPct val="120000"/>
              <a:tabLst>
                <a:tab pos="671513" algn="l"/>
                <a:tab pos="871538" algn="l"/>
                <a:tab pos="1143000" algn="l"/>
              </a:tabLst>
              <a:defRPr/>
            </a:pPr>
            <a:endParaRPr lang="en-US" sz="900" dirty="0"/>
          </a:p>
          <a:p>
            <a:pPr marL="735806" lvl="1" indent="-200025" algn="just" defTabSz="185738">
              <a:spcBef>
                <a:spcPct val="30000"/>
              </a:spcBef>
              <a:buClr>
                <a:schemeClr val="tx2"/>
              </a:buClr>
              <a:buSzPct val="120000"/>
              <a:buBlip>
                <a:blip r:embed="rId2"/>
              </a:buBlip>
              <a:tabLst>
                <a:tab pos="671513" algn="l"/>
                <a:tab pos="871538" algn="l"/>
                <a:tab pos="1143000" algn="l"/>
              </a:tabLst>
              <a:defRPr/>
            </a:pPr>
            <a:r>
              <a:rPr lang="en-US" sz="900" dirty="0"/>
              <a:t>Identifying the outstanding loan contracts with 3rd parties</a:t>
            </a:r>
          </a:p>
          <a:p>
            <a:pPr marL="735806" lvl="1" indent="-200025" algn="just" defTabSz="185738">
              <a:spcBef>
                <a:spcPct val="30000"/>
              </a:spcBef>
              <a:buClr>
                <a:schemeClr val="tx2"/>
              </a:buClr>
              <a:buSzPct val="120000"/>
              <a:buBlip>
                <a:blip r:embed="rId2"/>
              </a:buBlip>
              <a:tabLst>
                <a:tab pos="671513" algn="l"/>
                <a:tab pos="871538" algn="l"/>
                <a:tab pos="1143000" algn="l"/>
              </a:tabLst>
              <a:defRPr/>
            </a:pPr>
            <a:endParaRPr lang="fr-FR" sz="900" dirty="0"/>
          </a:p>
          <a:p>
            <a:pPr marL="735806" lvl="1" indent="-200025" algn="just" defTabSz="185738">
              <a:spcBef>
                <a:spcPct val="30000"/>
              </a:spcBef>
              <a:buClr>
                <a:schemeClr val="tx2"/>
              </a:buClr>
              <a:buSzPct val="120000"/>
              <a:buBlip>
                <a:blip r:embed="rId2"/>
              </a:buBlip>
              <a:tabLst>
                <a:tab pos="671513" algn="l"/>
                <a:tab pos="871538" algn="l"/>
                <a:tab pos="1143000" algn="l"/>
              </a:tabLst>
              <a:defRPr/>
            </a:pPr>
            <a:r>
              <a:rPr lang="en-US" sz="900" b="1" u="sng" dirty="0" err="1"/>
              <a:t>Recommands</a:t>
            </a:r>
            <a:r>
              <a:rPr lang="en-US" sz="900" dirty="0"/>
              <a:t> the revolving loans with other credit institutions to be terminated and the associated cards to be handed over </a:t>
            </a:r>
          </a:p>
          <a:p>
            <a:pPr marL="735806" lvl="1" indent="-200025" algn="just" defTabSz="185738">
              <a:spcBef>
                <a:spcPct val="30000"/>
              </a:spcBef>
              <a:buClr>
                <a:schemeClr val="tx2"/>
              </a:buClr>
              <a:buSzPct val="120000"/>
              <a:buBlip>
                <a:blip r:embed="rId2"/>
              </a:buBlip>
              <a:tabLst>
                <a:tab pos="671513" algn="l"/>
                <a:tab pos="871538" algn="l"/>
                <a:tab pos="1143000" algn="l"/>
              </a:tabLst>
              <a:defRPr/>
            </a:pPr>
            <a:endParaRPr lang="en-US" sz="900" dirty="0"/>
          </a:p>
          <a:p>
            <a:pPr marL="735806" lvl="1" indent="-200025" algn="just" defTabSz="185738">
              <a:spcBef>
                <a:spcPct val="30000"/>
              </a:spcBef>
              <a:buClr>
                <a:schemeClr val="tx2"/>
              </a:buClr>
              <a:buSzPct val="120000"/>
              <a:buBlip>
                <a:blip r:embed="rId2"/>
              </a:buBlip>
              <a:tabLst>
                <a:tab pos="671513" algn="l"/>
                <a:tab pos="871538" algn="l"/>
                <a:tab pos="1143000" algn="l"/>
              </a:tabLst>
              <a:defRPr/>
            </a:pPr>
            <a:r>
              <a:rPr lang="en-US" sz="900" dirty="0"/>
              <a:t>Sending letters to the various credit institutions to inform them for the full prepayment of loans  by CACF</a:t>
            </a:r>
          </a:p>
          <a:p>
            <a:pPr marL="685800" lvl="2" algn="just">
              <a:spcBef>
                <a:spcPct val="50000"/>
              </a:spcBef>
              <a:buClr>
                <a:schemeClr val="tx1"/>
              </a:buClr>
              <a:buSzPct val="120000"/>
              <a:tabLst>
                <a:tab pos="2557463" algn="l"/>
              </a:tabLst>
              <a:defRPr/>
            </a:pPr>
            <a:endParaRPr lang="en-US" sz="900" dirty="0"/>
          </a:p>
        </p:txBody>
      </p:sp>
      <p:sp>
        <p:nvSpPr>
          <p:cNvPr id="9" name="Slide Number Placeholder 3">
            <a:extLst>
              <a:ext uri="{FF2B5EF4-FFF2-40B4-BE49-F238E27FC236}">
                <a16:creationId xmlns:a16="http://schemas.microsoft.com/office/drawing/2014/main" id="{122F28B8-5202-4C42-86BF-7DECFD8BFB93}"/>
              </a:ext>
            </a:extLst>
          </p:cNvPr>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38</a:t>
            </a:fld>
            <a:endParaRPr lang="en-GB" sz="900" dirty="0">
              <a:solidFill>
                <a:prstClr val="white"/>
              </a:solidFill>
              <a:latin typeface="Avenir Next LT Pro"/>
            </a:endParaRPr>
          </a:p>
        </p:txBody>
      </p:sp>
    </p:spTree>
    <p:extLst>
      <p:ext uri="{BB962C8B-B14F-4D97-AF65-F5344CB8AC3E}">
        <p14:creationId xmlns:p14="http://schemas.microsoft.com/office/powerpoint/2010/main" val="36835455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0"/>
          <p:cNvSpPr txBox="1"/>
          <p:nvPr/>
        </p:nvSpPr>
        <p:spPr>
          <a:xfrm>
            <a:off x="814300" y="1229868"/>
            <a:ext cx="8173768" cy="920765"/>
          </a:xfrm>
          <a:prstGeom prst="rect">
            <a:avLst/>
          </a:prstGeom>
          <a:noFill/>
          <a:ln w="25400">
            <a:noFill/>
          </a:ln>
        </p:spPr>
        <p:txBody>
          <a:bodyPr wrap="square" rtlCol="0" anchor="t">
            <a:spAutoFit/>
          </a:bodyPr>
          <a:lstStyle/>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The acceptance rate varies according to the market / product and the corresponding risk management policy </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In 2023, the acceptance rate was 61% for </a:t>
            </a:r>
            <a:r>
              <a:rPr lang="en-US" sz="1000" kern="0" dirty="0" err="1"/>
              <a:t>Credilift</a:t>
            </a:r>
            <a:r>
              <a:rPr lang="en-US" sz="1000" kern="0" dirty="0"/>
              <a:t> unsecured loans </a:t>
            </a:r>
            <a:r>
              <a:rPr lang="en-US" sz="1000" kern="0" dirty="0">
                <a:solidFill>
                  <a:prstClr val="black"/>
                </a:solidFill>
              </a:rPr>
              <a:t>(69% in 2022)</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Various indicators including the rejection rate broken down by reason are monitored on a monthly basis.</a:t>
            </a:r>
          </a:p>
        </p:txBody>
      </p:sp>
      <p:sp>
        <p:nvSpPr>
          <p:cNvPr id="2" name="Title 1"/>
          <p:cNvSpPr>
            <a:spLocks noGrp="1"/>
          </p:cNvSpPr>
          <p:nvPr>
            <p:ph type="title"/>
          </p:nvPr>
        </p:nvSpPr>
        <p:spPr>
          <a:xfrm>
            <a:off x="463200" y="114616"/>
            <a:ext cx="7997742" cy="763208"/>
          </a:xfrm>
        </p:spPr>
        <p:txBody>
          <a:bodyPr/>
          <a:lstStyle/>
          <a:p>
            <a:r>
              <a:rPr lang="fr-FR" sz="2000" dirty="0">
                <a:solidFill>
                  <a:prstClr val="black"/>
                </a:solidFill>
              </a:rPr>
              <a:t>Acceptance rate on  </a:t>
            </a:r>
            <a:r>
              <a:rPr lang="fr-FR" sz="2000" dirty="0" err="1">
                <a:solidFill>
                  <a:prstClr val="black"/>
                </a:solidFill>
              </a:rPr>
              <a:t>Debt</a:t>
            </a:r>
            <a:r>
              <a:rPr lang="fr-FR" sz="2000" dirty="0">
                <a:solidFill>
                  <a:prstClr val="black"/>
                </a:solidFill>
              </a:rPr>
              <a:t> Consolidation Loan</a:t>
            </a:r>
            <a:br>
              <a:rPr lang="fr-FR" dirty="0">
                <a:solidFill>
                  <a:prstClr val="black"/>
                </a:solidFill>
              </a:rPr>
            </a:br>
            <a:br>
              <a:rPr lang="fr-FR" dirty="0">
                <a:solidFill>
                  <a:prstClr val="black"/>
                </a:solidFill>
              </a:rPr>
            </a:br>
            <a:br>
              <a:rPr lang="fr-FR" dirty="0">
                <a:solidFill>
                  <a:prstClr val="black"/>
                </a:solidFill>
              </a:rPr>
            </a:br>
            <a:br>
              <a:rPr lang="fr-FR" dirty="0">
                <a:solidFill>
                  <a:prstClr val="black"/>
                </a:solidFill>
              </a:rPr>
            </a:br>
            <a:endParaRPr lang="en-US" dirty="0">
              <a:solidFill>
                <a:prstClr val="black"/>
              </a:solidFill>
            </a:endParaRPr>
          </a:p>
        </p:txBody>
      </p:sp>
      <p:graphicFrame>
        <p:nvGraphicFramePr>
          <p:cNvPr id="7" name="Tableau 6"/>
          <p:cNvGraphicFramePr>
            <a:graphicFrameLocks noGrp="1"/>
          </p:cNvGraphicFramePr>
          <p:nvPr>
            <p:extLst>
              <p:ext uri="{D42A27DB-BD31-4B8C-83A1-F6EECF244321}">
                <p14:modId xmlns:p14="http://schemas.microsoft.com/office/powerpoint/2010/main" val="189729154"/>
              </p:ext>
            </p:extLst>
          </p:nvPr>
        </p:nvGraphicFramePr>
        <p:xfrm>
          <a:off x="718826" y="2928639"/>
          <a:ext cx="6903613" cy="1187620"/>
        </p:xfrm>
        <a:graphic>
          <a:graphicData uri="http://schemas.openxmlformats.org/drawingml/2006/table">
            <a:tbl>
              <a:tblPr firstRow="1" firstCol="1" bandRow="1">
                <a:tableStyleId>{F5AB1C69-6EDB-4FF4-983F-18BD219EF322}</a:tableStyleId>
              </a:tblPr>
              <a:tblGrid>
                <a:gridCol w="2184655">
                  <a:extLst>
                    <a:ext uri="{9D8B030D-6E8A-4147-A177-3AD203B41FA5}">
                      <a16:colId xmlns:a16="http://schemas.microsoft.com/office/drawing/2014/main" val="2880122204"/>
                    </a:ext>
                  </a:extLst>
                </a:gridCol>
                <a:gridCol w="1061089">
                  <a:extLst>
                    <a:ext uri="{9D8B030D-6E8A-4147-A177-3AD203B41FA5}">
                      <a16:colId xmlns:a16="http://schemas.microsoft.com/office/drawing/2014/main" val="2022572273"/>
                    </a:ext>
                  </a:extLst>
                </a:gridCol>
                <a:gridCol w="1483886">
                  <a:extLst>
                    <a:ext uri="{9D8B030D-6E8A-4147-A177-3AD203B41FA5}">
                      <a16:colId xmlns:a16="http://schemas.microsoft.com/office/drawing/2014/main" val="1453970598"/>
                    </a:ext>
                  </a:extLst>
                </a:gridCol>
                <a:gridCol w="724661">
                  <a:extLst>
                    <a:ext uri="{9D8B030D-6E8A-4147-A177-3AD203B41FA5}">
                      <a16:colId xmlns:a16="http://schemas.microsoft.com/office/drawing/2014/main" val="3740990219"/>
                    </a:ext>
                  </a:extLst>
                </a:gridCol>
                <a:gridCol w="724661">
                  <a:extLst>
                    <a:ext uri="{9D8B030D-6E8A-4147-A177-3AD203B41FA5}">
                      <a16:colId xmlns:a16="http://schemas.microsoft.com/office/drawing/2014/main" val="388975841"/>
                    </a:ext>
                  </a:extLst>
                </a:gridCol>
                <a:gridCol w="724661">
                  <a:extLst>
                    <a:ext uri="{9D8B030D-6E8A-4147-A177-3AD203B41FA5}">
                      <a16:colId xmlns:a16="http://schemas.microsoft.com/office/drawing/2014/main" val="2511903688"/>
                    </a:ext>
                  </a:extLst>
                </a:gridCol>
              </a:tblGrid>
              <a:tr h="571276">
                <a:tc>
                  <a:txBody>
                    <a:bodyPr/>
                    <a:lstStyle/>
                    <a:p>
                      <a:pPr algn="ctr">
                        <a:spcAft>
                          <a:spcPts val="0"/>
                        </a:spcAft>
                      </a:pPr>
                      <a:r>
                        <a:rPr lang="fr-FR" sz="900" dirty="0" err="1">
                          <a:effectLst/>
                        </a:rPr>
                        <a:t>Year</a:t>
                      </a:r>
                      <a:endParaRPr lang="fr-FR" sz="1200" dirty="0">
                        <a:effectLst/>
                        <a:latin typeface="Calibri" panose="020F0502020204030204" pitchFamily="34" charset="0"/>
                        <a:ea typeface="Calibri" panose="020F0502020204030204" pitchFamily="34" charset="0"/>
                      </a:endParaRPr>
                    </a:p>
                  </a:txBody>
                  <a:tcPr marL="33338" marR="33338" marT="0" marB="0" anchor="ctr"/>
                </a:tc>
                <a:tc>
                  <a:txBody>
                    <a:bodyPr/>
                    <a:lstStyle/>
                    <a:p>
                      <a:pPr algn="ctr">
                        <a:spcAft>
                          <a:spcPts val="0"/>
                        </a:spcAft>
                      </a:pPr>
                      <a:r>
                        <a:rPr lang="fr-FR" sz="900">
                          <a:effectLst/>
                        </a:rPr>
                        <a:t>Acceptance rate</a:t>
                      </a:r>
                      <a:endParaRPr lang="fr-FR" sz="1200">
                        <a:effectLst/>
                        <a:latin typeface="Calibri" panose="020F0502020204030204" pitchFamily="34" charset="0"/>
                        <a:ea typeface="Calibri" panose="020F0502020204030204" pitchFamily="34" charset="0"/>
                      </a:endParaRPr>
                    </a:p>
                  </a:txBody>
                  <a:tcPr marL="33338" marR="33338" marT="0" marB="0" anchor="ctr"/>
                </a:tc>
                <a:tc>
                  <a:txBody>
                    <a:bodyPr/>
                    <a:lstStyle/>
                    <a:p>
                      <a:pPr algn="ctr">
                        <a:spcAft>
                          <a:spcPts val="0"/>
                        </a:spcAft>
                      </a:pPr>
                      <a:r>
                        <a:rPr lang="en-US" sz="900" dirty="0">
                          <a:effectLst/>
                        </a:rPr>
                        <a:t>Refusal rate due to external and internal filing</a:t>
                      </a:r>
                      <a:endParaRPr lang="fr-FR" sz="1200" dirty="0">
                        <a:effectLst/>
                        <a:latin typeface="Calibri" panose="020F0502020204030204" pitchFamily="34" charset="0"/>
                        <a:ea typeface="Calibri" panose="020F0502020204030204" pitchFamily="34" charset="0"/>
                      </a:endParaRPr>
                    </a:p>
                  </a:txBody>
                  <a:tcPr marL="33338" marR="33338" marT="0" marB="0" anchor="ctr"/>
                </a:tc>
                <a:tc>
                  <a:txBody>
                    <a:bodyPr/>
                    <a:lstStyle/>
                    <a:p>
                      <a:pPr algn="ctr">
                        <a:spcAft>
                          <a:spcPts val="0"/>
                        </a:spcAft>
                      </a:pPr>
                      <a:r>
                        <a:rPr lang="fr-FR" sz="900" b="1" dirty="0" err="1">
                          <a:effectLst/>
                          <a:latin typeface="Calibri" panose="020F0502020204030204" pitchFamily="34" charset="0"/>
                          <a:ea typeface="Calibri" panose="020F0502020204030204" pitchFamily="34" charset="0"/>
                        </a:rPr>
                        <a:t>Refusal</a:t>
                      </a:r>
                      <a:r>
                        <a:rPr lang="fr-FR" sz="900" b="1" dirty="0">
                          <a:effectLst/>
                          <a:latin typeface="Calibri" panose="020F0502020204030204" pitchFamily="34" charset="0"/>
                          <a:ea typeface="Calibri" panose="020F0502020204030204" pitchFamily="34" charset="0"/>
                        </a:rPr>
                        <a:t> due to </a:t>
                      </a:r>
                      <a:r>
                        <a:rPr lang="fr-FR" sz="900" b="1" dirty="0" err="1">
                          <a:effectLst/>
                          <a:latin typeface="Calibri" panose="020F0502020204030204" pitchFamily="34" charset="0"/>
                          <a:ea typeface="Calibri" panose="020F0502020204030204" pitchFamily="34" charset="0"/>
                        </a:rPr>
                        <a:t>solvency</a:t>
                      </a:r>
                      <a:endParaRPr lang="fr-FR" sz="900" b="1" dirty="0">
                        <a:effectLst/>
                        <a:latin typeface="Calibri" panose="020F0502020204030204" pitchFamily="34" charset="0"/>
                        <a:ea typeface="Calibri" panose="020F0502020204030204" pitchFamily="34" charset="0"/>
                      </a:endParaRPr>
                    </a:p>
                  </a:txBody>
                  <a:tcPr marL="33338" marR="33338" marT="0" marB="0" anchor="ctr"/>
                </a:tc>
                <a:tc>
                  <a:txBody>
                    <a:bodyPr/>
                    <a:lstStyle/>
                    <a:p>
                      <a:pPr algn="ctr">
                        <a:spcAft>
                          <a:spcPts val="0"/>
                        </a:spcAft>
                      </a:pPr>
                      <a:r>
                        <a:rPr lang="en-US" sz="900" dirty="0">
                          <a:effectLst/>
                        </a:rPr>
                        <a:t>Refusal rate due to score</a:t>
                      </a:r>
                      <a:endParaRPr lang="fr-FR" sz="1200" dirty="0">
                        <a:effectLst/>
                        <a:latin typeface="Calibri" panose="020F0502020204030204" pitchFamily="34" charset="0"/>
                        <a:ea typeface="Calibri" panose="020F0502020204030204" pitchFamily="34" charset="0"/>
                      </a:endParaRPr>
                    </a:p>
                  </a:txBody>
                  <a:tcPr marL="33338" marR="33338" marT="0" marB="0" anchor="ctr"/>
                </a:tc>
                <a:tc>
                  <a:txBody>
                    <a:bodyPr/>
                    <a:lstStyle/>
                    <a:p>
                      <a:pPr algn="ctr">
                        <a:spcAft>
                          <a:spcPts val="0"/>
                        </a:spcAft>
                      </a:pPr>
                      <a:r>
                        <a:rPr lang="fr-FR" sz="900" dirty="0" err="1">
                          <a:effectLst/>
                        </a:rPr>
                        <a:t>Other</a:t>
                      </a:r>
                      <a:r>
                        <a:rPr lang="fr-FR" sz="900" baseline="30000" dirty="0">
                          <a:effectLst/>
                        </a:rPr>
                        <a:t> (1)</a:t>
                      </a:r>
                      <a:endParaRPr lang="fr-FR" sz="1200" dirty="0">
                        <a:effectLst/>
                        <a:latin typeface="Calibri" panose="020F0502020204030204" pitchFamily="34" charset="0"/>
                        <a:ea typeface="Calibri" panose="020F0502020204030204" pitchFamily="34" charset="0"/>
                      </a:endParaRPr>
                    </a:p>
                  </a:txBody>
                  <a:tcPr marL="33338" marR="33338" marT="0" marB="0" anchor="ctr"/>
                </a:tc>
                <a:extLst>
                  <a:ext uri="{0D108BD9-81ED-4DB2-BD59-A6C34878D82A}">
                    <a16:rowId xmlns:a16="http://schemas.microsoft.com/office/drawing/2014/main" val="1223942299"/>
                  </a:ext>
                </a:extLst>
              </a:tr>
              <a:tr h="206018">
                <a:tc>
                  <a:txBody>
                    <a:bodyPr/>
                    <a:lstStyle/>
                    <a:p>
                      <a:pPr algn="ctr">
                        <a:spcAft>
                          <a:spcPts val="0"/>
                        </a:spcAft>
                      </a:pPr>
                      <a:r>
                        <a:rPr lang="fr-FR" sz="900" dirty="0">
                          <a:effectLst/>
                        </a:rPr>
                        <a:t>2021</a:t>
                      </a:r>
                      <a:endParaRPr lang="fr-FR" sz="1200" dirty="0">
                        <a:effectLst/>
                        <a:latin typeface="Calibri" panose="020F0502020204030204" pitchFamily="34" charset="0"/>
                        <a:ea typeface="Calibri" panose="020F0502020204030204" pitchFamily="34" charset="0"/>
                      </a:endParaRPr>
                    </a:p>
                  </a:txBody>
                  <a:tcPr marL="33338" marR="33338" marT="0" marB="0" anchor="ctr"/>
                </a:tc>
                <a:tc>
                  <a:txBody>
                    <a:bodyPr/>
                    <a:lstStyle/>
                    <a:p>
                      <a:pPr algn="ctr">
                        <a:spcAft>
                          <a:spcPts val="0"/>
                        </a:spcAft>
                      </a:pPr>
                      <a:r>
                        <a:rPr lang="fr-FR" sz="800" dirty="0">
                          <a:effectLst/>
                          <a:latin typeface="+mn-lt"/>
                          <a:ea typeface="Calibri" panose="020F0502020204030204" pitchFamily="34" charset="0"/>
                        </a:rPr>
                        <a:t>70%</a:t>
                      </a:r>
                    </a:p>
                  </a:txBody>
                  <a:tcPr marL="19050" marR="19050" marT="0" marB="0"/>
                </a:tc>
                <a:tc>
                  <a:txBody>
                    <a:bodyPr/>
                    <a:lstStyle/>
                    <a:p>
                      <a:pPr algn="ctr">
                        <a:spcAft>
                          <a:spcPts val="0"/>
                        </a:spcAft>
                      </a:pPr>
                      <a:r>
                        <a:rPr lang="fr-FR" sz="800" dirty="0">
                          <a:effectLst/>
                          <a:latin typeface="+mn-lt"/>
                          <a:ea typeface="Calibri" panose="020F0502020204030204" pitchFamily="34" charset="0"/>
                        </a:rPr>
                        <a:t>7%</a:t>
                      </a:r>
                    </a:p>
                  </a:txBody>
                  <a:tcPr marL="19050" marR="19050" marT="0" marB="0"/>
                </a:tc>
                <a:tc>
                  <a:txBody>
                    <a:bodyPr/>
                    <a:lstStyle/>
                    <a:p>
                      <a:pPr algn="ctr">
                        <a:spcAft>
                          <a:spcPts val="0"/>
                        </a:spcAft>
                      </a:pPr>
                      <a:r>
                        <a:rPr lang="fr-FR" sz="800" dirty="0">
                          <a:effectLst/>
                          <a:latin typeface="+mn-lt"/>
                          <a:ea typeface="Calibri" panose="020F0502020204030204" pitchFamily="34" charset="0"/>
                        </a:rPr>
                        <a:t>12%</a:t>
                      </a:r>
                    </a:p>
                  </a:txBody>
                  <a:tcPr marL="19050" marR="19050" marT="0" marB="0"/>
                </a:tc>
                <a:tc>
                  <a:txBody>
                    <a:bodyPr/>
                    <a:lstStyle/>
                    <a:p>
                      <a:pPr algn="ctr">
                        <a:spcAft>
                          <a:spcPts val="0"/>
                        </a:spcAft>
                      </a:pPr>
                      <a:r>
                        <a:rPr lang="fr-FR" sz="800" dirty="0">
                          <a:effectLst/>
                          <a:latin typeface="+mn-lt"/>
                          <a:ea typeface="Calibri" panose="020F0502020204030204" pitchFamily="34" charset="0"/>
                        </a:rPr>
                        <a:t>6%</a:t>
                      </a:r>
                    </a:p>
                  </a:txBody>
                  <a:tcPr marL="19050" marR="19050" marT="0" marB="0"/>
                </a:tc>
                <a:tc>
                  <a:txBody>
                    <a:bodyPr/>
                    <a:lstStyle/>
                    <a:p>
                      <a:pPr algn="ctr">
                        <a:spcAft>
                          <a:spcPts val="0"/>
                        </a:spcAft>
                      </a:pPr>
                      <a:r>
                        <a:rPr lang="fr-FR" sz="800" dirty="0">
                          <a:effectLst/>
                          <a:latin typeface="+mn-lt"/>
                          <a:ea typeface="Calibri" panose="020F0502020204030204" pitchFamily="34" charset="0"/>
                        </a:rPr>
                        <a:t>4%</a:t>
                      </a:r>
                    </a:p>
                  </a:txBody>
                  <a:tcPr marL="19050" marR="19050" marT="0" marB="0"/>
                </a:tc>
                <a:extLst>
                  <a:ext uri="{0D108BD9-81ED-4DB2-BD59-A6C34878D82A}">
                    <a16:rowId xmlns:a16="http://schemas.microsoft.com/office/drawing/2014/main" val="2692748158"/>
                  </a:ext>
                </a:extLst>
              </a:tr>
              <a:tr h="205163">
                <a:tc>
                  <a:txBody>
                    <a:bodyPr/>
                    <a:lstStyle/>
                    <a:p>
                      <a:pPr algn="ctr">
                        <a:spcAft>
                          <a:spcPts val="0"/>
                        </a:spcAft>
                      </a:pPr>
                      <a:r>
                        <a:rPr lang="fr-FR" sz="900" dirty="0">
                          <a:effectLst/>
                        </a:rPr>
                        <a:t>2022</a:t>
                      </a:r>
                      <a:endParaRPr lang="fr-FR" sz="1200" dirty="0">
                        <a:effectLst/>
                        <a:latin typeface="Calibri" panose="020F0502020204030204" pitchFamily="34" charset="0"/>
                        <a:ea typeface="Calibri" panose="020F0502020204030204" pitchFamily="34" charset="0"/>
                      </a:endParaRPr>
                    </a:p>
                  </a:txBody>
                  <a:tcPr marL="33338" marR="33338" marT="0" marB="0" anchor="ctr"/>
                </a:tc>
                <a:tc>
                  <a:txBody>
                    <a:bodyPr/>
                    <a:lstStyle/>
                    <a:p>
                      <a:pPr algn="ctr">
                        <a:spcAft>
                          <a:spcPts val="0"/>
                        </a:spcAft>
                      </a:pPr>
                      <a:r>
                        <a:rPr lang="fr-FR" sz="800" dirty="0">
                          <a:effectLst/>
                          <a:latin typeface="+mn-lt"/>
                          <a:ea typeface="Calibri" panose="020F0502020204030204" pitchFamily="34" charset="0"/>
                        </a:rPr>
                        <a:t>69%</a:t>
                      </a:r>
                    </a:p>
                  </a:txBody>
                  <a:tcPr marL="19050" marR="19050" marT="0" marB="0"/>
                </a:tc>
                <a:tc>
                  <a:txBody>
                    <a:bodyPr/>
                    <a:lstStyle/>
                    <a:p>
                      <a:pPr algn="ctr">
                        <a:spcAft>
                          <a:spcPts val="0"/>
                        </a:spcAft>
                      </a:pPr>
                      <a:r>
                        <a:rPr lang="fr-FR" sz="800" dirty="0">
                          <a:effectLst/>
                          <a:latin typeface="+mn-lt"/>
                          <a:ea typeface="Calibri" panose="020F0502020204030204" pitchFamily="34" charset="0"/>
                        </a:rPr>
                        <a:t>8%</a:t>
                      </a:r>
                    </a:p>
                  </a:txBody>
                  <a:tcPr marL="19050" marR="19050" marT="0" marB="0"/>
                </a:tc>
                <a:tc>
                  <a:txBody>
                    <a:bodyPr/>
                    <a:lstStyle/>
                    <a:p>
                      <a:pPr algn="ctr">
                        <a:spcAft>
                          <a:spcPts val="0"/>
                        </a:spcAft>
                      </a:pPr>
                      <a:r>
                        <a:rPr lang="fr-FR" sz="800" dirty="0">
                          <a:effectLst/>
                          <a:latin typeface="+mn-lt"/>
                          <a:ea typeface="Calibri" panose="020F0502020204030204" pitchFamily="34" charset="0"/>
                        </a:rPr>
                        <a:t>13%</a:t>
                      </a:r>
                    </a:p>
                  </a:txBody>
                  <a:tcPr marL="19050" marR="19050" marT="0" marB="0"/>
                </a:tc>
                <a:tc>
                  <a:txBody>
                    <a:bodyPr/>
                    <a:lstStyle/>
                    <a:p>
                      <a:pPr algn="ctr">
                        <a:spcAft>
                          <a:spcPts val="0"/>
                        </a:spcAft>
                      </a:pPr>
                      <a:r>
                        <a:rPr lang="fr-FR" sz="800" dirty="0">
                          <a:effectLst/>
                          <a:latin typeface="+mn-lt"/>
                          <a:ea typeface="Calibri" panose="020F0502020204030204" pitchFamily="34" charset="0"/>
                        </a:rPr>
                        <a:t>5%</a:t>
                      </a:r>
                    </a:p>
                  </a:txBody>
                  <a:tcPr marL="19050" marR="19050" marT="0" marB="0"/>
                </a:tc>
                <a:tc>
                  <a:txBody>
                    <a:bodyPr/>
                    <a:lstStyle/>
                    <a:p>
                      <a:pPr algn="ctr">
                        <a:spcAft>
                          <a:spcPts val="0"/>
                        </a:spcAft>
                      </a:pPr>
                      <a:r>
                        <a:rPr lang="fr-FR" sz="800" dirty="0">
                          <a:effectLst/>
                          <a:latin typeface="+mn-lt"/>
                          <a:ea typeface="Calibri" panose="020F0502020204030204" pitchFamily="34" charset="0"/>
                        </a:rPr>
                        <a:t>5%</a:t>
                      </a:r>
                    </a:p>
                  </a:txBody>
                  <a:tcPr marL="19050" marR="19050" marT="0" marB="0"/>
                </a:tc>
                <a:extLst>
                  <a:ext uri="{0D108BD9-81ED-4DB2-BD59-A6C34878D82A}">
                    <a16:rowId xmlns:a16="http://schemas.microsoft.com/office/drawing/2014/main" val="2100687677"/>
                  </a:ext>
                </a:extLst>
              </a:tr>
              <a:tr h="205163">
                <a:tc>
                  <a:txBody>
                    <a:bodyPr/>
                    <a:lstStyle/>
                    <a:p>
                      <a:pPr algn="ctr">
                        <a:spcAft>
                          <a:spcPts val="0"/>
                        </a:spcAft>
                      </a:pPr>
                      <a:r>
                        <a:rPr lang="fr-FR" sz="900" dirty="0">
                          <a:effectLst/>
                        </a:rPr>
                        <a:t>2023</a:t>
                      </a:r>
                      <a:endParaRPr lang="fr-FR" sz="1200" dirty="0">
                        <a:effectLst/>
                        <a:latin typeface="Calibri" panose="020F0502020204030204" pitchFamily="34" charset="0"/>
                        <a:ea typeface="Calibri" panose="020F0502020204030204" pitchFamily="34" charset="0"/>
                      </a:endParaRPr>
                    </a:p>
                  </a:txBody>
                  <a:tcPr marL="33338" marR="33338" marT="0" marB="0" anchor="ctr"/>
                </a:tc>
                <a:tc>
                  <a:txBody>
                    <a:bodyPr/>
                    <a:lstStyle/>
                    <a:p>
                      <a:pPr algn="ctr">
                        <a:spcAft>
                          <a:spcPts val="0"/>
                        </a:spcAft>
                      </a:pPr>
                      <a:r>
                        <a:rPr lang="fr-FR" sz="800" dirty="0">
                          <a:effectLst/>
                          <a:latin typeface="+mn-lt"/>
                          <a:ea typeface="Calibri" panose="020F0502020204030204" pitchFamily="34" charset="0"/>
                        </a:rPr>
                        <a:t>61%</a:t>
                      </a:r>
                    </a:p>
                  </a:txBody>
                  <a:tcPr marL="19050" marR="19050" marT="0" marB="0"/>
                </a:tc>
                <a:tc>
                  <a:txBody>
                    <a:bodyPr/>
                    <a:lstStyle/>
                    <a:p>
                      <a:pPr algn="ctr">
                        <a:spcAft>
                          <a:spcPts val="0"/>
                        </a:spcAft>
                      </a:pPr>
                      <a:r>
                        <a:rPr lang="fr-FR" sz="800" dirty="0">
                          <a:effectLst/>
                          <a:latin typeface="+mn-lt"/>
                          <a:ea typeface="Calibri" panose="020F0502020204030204" pitchFamily="34" charset="0"/>
                        </a:rPr>
                        <a:t>10%</a:t>
                      </a:r>
                    </a:p>
                  </a:txBody>
                  <a:tcPr marL="19050" marR="19050" marT="0" marB="0"/>
                </a:tc>
                <a:tc>
                  <a:txBody>
                    <a:bodyPr/>
                    <a:lstStyle/>
                    <a:p>
                      <a:pPr algn="ctr">
                        <a:spcAft>
                          <a:spcPts val="0"/>
                        </a:spcAft>
                      </a:pPr>
                      <a:r>
                        <a:rPr lang="fr-FR" sz="800" dirty="0">
                          <a:effectLst/>
                          <a:latin typeface="+mn-lt"/>
                          <a:ea typeface="Calibri" panose="020F0502020204030204" pitchFamily="34" charset="0"/>
                        </a:rPr>
                        <a:t>21%</a:t>
                      </a:r>
                    </a:p>
                  </a:txBody>
                  <a:tcPr marL="19050" marR="19050" marT="0" marB="0"/>
                </a:tc>
                <a:tc>
                  <a:txBody>
                    <a:bodyPr/>
                    <a:lstStyle/>
                    <a:p>
                      <a:pPr algn="ctr">
                        <a:spcAft>
                          <a:spcPts val="0"/>
                        </a:spcAft>
                      </a:pPr>
                      <a:r>
                        <a:rPr lang="fr-FR" sz="800" dirty="0">
                          <a:effectLst/>
                          <a:latin typeface="+mn-lt"/>
                          <a:ea typeface="Calibri" panose="020F0502020204030204" pitchFamily="34" charset="0"/>
                        </a:rPr>
                        <a:t>4%</a:t>
                      </a:r>
                    </a:p>
                  </a:txBody>
                  <a:tcPr marL="19050" marR="19050" marT="0" marB="0"/>
                </a:tc>
                <a:tc>
                  <a:txBody>
                    <a:bodyPr/>
                    <a:lstStyle/>
                    <a:p>
                      <a:pPr algn="ctr">
                        <a:spcAft>
                          <a:spcPts val="0"/>
                        </a:spcAft>
                      </a:pPr>
                      <a:r>
                        <a:rPr lang="fr-FR" sz="800" dirty="0">
                          <a:effectLst/>
                          <a:latin typeface="+mn-lt"/>
                          <a:ea typeface="Calibri" panose="020F0502020204030204" pitchFamily="34" charset="0"/>
                        </a:rPr>
                        <a:t>5%</a:t>
                      </a:r>
                    </a:p>
                  </a:txBody>
                  <a:tcPr marL="19050" marR="19050" marT="0" marB="0"/>
                </a:tc>
                <a:extLst>
                  <a:ext uri="{0D108BD9-81ED-4DB2-BD59-A6C34878D82A}">
                    <a16:rowId xmlns:a16="http://schemas.microsoft.com/office/drawing/2014/main" val="1271498590"/>
                  </a:ext>
                </a:extLst>
              </a:tr>
            </a:tbl>
          </a:graphicData>
        </a:graphic>
      </p:graphicFrame>
      <p:sp>
        <p:nvSpPr>
          <p:cNvPr id="9" name="Rectangle 8"/>
          <p:cNvSpPr/>
          <p:nvPr/>
        </p:nvSpPr>
        <p:spPr>
          <a:xfrm>
            <a:off x="463200" y="4692692"/>
            <a:ext cx="7322027" cy="384973"/>
          </a:xfrm>
          <a:prstGeom prst="rect">
            <a:avLst/>
          </a:prstGeom>
        </p:spPr>
        <p:txBody>
          <a:bodyPr wrap="square" lIns="96770" tIns="48385" rIns="96770" bIns="48385">
            <a:spAutoFit/>
          </a:bodyPr>
          <a:lstStyle/>
          <a:p>
            <a:pPr marL="96767" indent="-96767" defTabSz="1019747">
              <a:spcBef>
                <a:spcPct val="0"/>
              </a:spcBef>
              <a:tabLst>
                <a:tab pos="633353" algn="l"/>
              </a:tabLst>
            </a:pPr>
            <a:r>
              <a:rPr lang="en-US" sz="700" dirty="0"/>
              <a:t>totals may not add up due to rounding</a:t>
            </a:r>
          </a:p>
          <a:p>
            <a:pPr marL="96767" indent="-96767" defTabSz="1019747">
              <a:spcBef>
                <a:spcPct val="0"/>
              </a:spcBef>
              <a:tabLst>
                <a:tab pos="633353" algn="l"/>
              </a:tabLst>
            </a:pPr>
            <a:endParaRPr lang="en-US" sz="700" baseline="30000" dirty="0"/>
          </a:p>
          <a:p>
            <a:pPr marL="96767" indent="-96767" defTabSz="1019747">
              <a:spcBef>
                <a:spcPct val="0"/>
              </a:spcBef>
              <a:tabLst>
                <a:tab pos="633353" algn="l"/>
              </a:tabLst>
            </a:pPr>
            <a:r>
              <a:rPr lang="en-US" sz="700" baseline="30000" dirty="0">
                <a:solidFill>
                  <a:prstClr val="black"/>
                </a:solidFill>
              </a:rPr>
              <a:t>1</a:t>
            </a:r>
            <a:r>
              <a:rPr lang="en-US" sz="700" dirty="0">
                <a:solidFill>
                  <a:prstClr val="black"/>
                </a:solidFill>
              </a:rPr>
              <a:t>expert rules other than score and filing (e. g. age, CSP, insufficient remaining life, etc.)</a:t>
            </a:r>
          </a:p>
        </p:txBody>
      </p:sp>
      <p:sp>
        <p:nvSpPr>
          <p:cNvPr id="8" name="Slide Number Placeholder 3"/>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39</a:t>
            </a:fld>
            <a:endParaRPr lang="en-GB" sz="900" dirty="0">
              <a:solidFill>
                <a:prstClr val="white"/>
              </a:solidFill>
              <a:latin typeface="Avenir Next LT Pro"/>
            </a:endParaRPr>
          </a:p>
        </p:txBody>
      </p:sp>
      <p:sp>
        <p:nvSpPr>
          <p:cNvPr id="11" name="TextBox 10"/>
          <p:cNvSpPr txBox="1"/>
          <p:nvPr/>
        </p:nvSpPr>
        <p:spPr>
          <a:xfrm>
            <a:off x="718826" y="2502678"/>
            <a:ext cx="1621574" cy="233397"/>
          </a:xfrm>
          <a:prstGeom prst="rect">
            <a:avLst/>
          </a:prstGeom>
          <a:noFill/>
          <a:ln w="25400">
            <a:noFill/>
          </a:ln>
        </p:spPr>
        <p:txBody>
          <a:bodyPr wrap="square" rtlCol="0" anchor="t">
            <a:spAutoFit/>
          </a:bodyPr>
          <a:lstStyle/>
          <a:p>
            <a:pPr marL="8554" lvl="3" algn="just" defTabSz="457189" eaLnBrk="0" fontAlgn="base" hangingPunct="0">
              <a:lnSpc>
                <a:spcPts val="1100"/>
              </a:lnSpc>
              <a:spcBef>
                <a:spcPct val="20000"/>
              </a:spcBef>
              <a:buClr>
                <a:srgbClr val="009B5F"/>
              </a:buClr>
              <a:buSzPct val="133000"/>
              <a:tabLst>
                <a:tab pos="803255" algn="l"/>
              </a:tabLst>
              <a:defRPr/>
            </a:pPr>
            <a:r>
              <a:rPr lang="en-US" sz="1100" b="1" kern="0" dirty="0">
                <a:solidFill>
                  <a:prstClr val="black"/>
                </a:solidFill>
              </a:rPr>
              <a:t>Debt consolidation :</a:t>
            </a:r>
            <a:endParaRPr lang="en-US" sz="1100" kern="0" dirty="0">
              <a:solidFill>
                <a:prstClr val="black"/>
              </a:solidFill>
            </a:endParaRPr>
          </a:p>
        </p:txBody>
      </p:sp>
    </p:spTree>
    <p:extLst>
      <p:ext uri="{BB962C8B-B14F-4D97-AF65-F5344CB8AC3E}">
        <p14:creationId xmlns:p14="http://schemas.microsoft.com/office/powerpoint/2010/main" val="2407831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9"/>
          </p:nvPr>
        </p:nvSpPr>
        <p:spPr/>
        <p:txBody>
          <a:bodyPr/>
          <a:lstStyle/>
          <a:p>
            <a:fld id="{98BD2159-827C-4021-9B0E-DCD852BEB59E}" type="slidenum">
              <a:rPr lang="en-GB" smtClean="0"/>
              <a:pPr/>
              <a:t>4</a:t>
            </a:fld>
            <a:endParaRPr lang="en-GB" dirty="0"/>
          </a:p>
        </p:txBody>
      </p:sp>
      <p:sp>
        <p:nvSpPr>
          <p:cNvPr id="12" name="Espace réservé du contenu 2"/>
          <p:cNvSpPr txBox="1">
            <a:spLocks/>
          </p:cNvSpPr>
          <p:nvPr/>
        </p:nvSpPr>
        <p:spPr bwMode="gray">
          <a:xfrm>
            <a:off x="1800225" y="1073222"/>
            <a:ext cx="6624639" cy="916797"/>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p>
            <a:pPr marL="542925" lvl="3" indent="-180975" algn="just">
              <a:spcBef>
                <a:spcPts val="600"/>
              </a:spcBef>
              <a:buClr>
                <a:srgbClr val="009B5F"/>
              </a:buClr>
              <a:buSzPct val="133000"/>
              <a:buFont typeface="Wingdings" panose="05000000000000000000" pitchFamily="2" charset="2"/>
              <a:buChar char="§"/>
            </a:pPr>
            <a:r>
              <a:rPr lang="en-US" sz="1100" dirty="0"/>
              <a:t>Wholly-owned by </a:t>
            </a:r>
            <a:r>
              <a:rPr lang="en-US" sz="1100" dirty="0" err="1"/>
              <a:t>Crédit</a:t>
            </a:r>
            <a:r>
              <a:rPr lang="en-US" sz="1100" dirty="0"/>
              <a:t> Agricole S.A.</a:t>
            </a:r>
          </a:p>
          <a:p>
            <a:pPr marL="542925" lvl="3" indent="-180975" algn="just">
              <a:spcBef>
                <a:spcPts val="600"/>
              </a:spcBef>
              <a:buClr>
                <a:srgbClr val="009B5F"/>
              </a:buClr>
              <a:buSzPct val="133000"/>
              <a:buFont typeface="Wingdings" panose="05000000000000000000" pitchFamily="2" charset="2"/>
              <a:buChar char="§"/>
            </a:pPr>
            <a:r>
              <a:rPr lang="en-US" sz="1100" dirty="0" err="1"/>
              <a:t>Specialised</a:t>
            </a:r>
            <a:r>
              <a:rPr lang="en-US" sz="1100" dirty="0"/>
              <a:t> lender set up in 1951 and acquired by </a:t>
            </a:r>
            <a:r>
              <a:rPr lang="en-US" sz="1100" dirty="0" err="1"/>
              <a:t>Crédit</a:t>
            </a:r>
            <a:r>
              <a:rPr lang="en-US" sz="1100" dirty="0"/>
              <a:t> Agricole in 1999</a:t>
            </a:r>
          </a:p>
          <a:p>
            <a:pPr marL="542925" lvl="3" indent="-180975" algn="just">
              <a:spcBef>
                <a:spcPts val="600"/>
              </a:spcBef>
              <a:buClr>
                <a:srgbClr val="009B5F"/>
              </a:buClr>
              <a:buSzPct val="133000"/>
              <a:buFont typeface="Wingdings" panose="05000000000000000000" pitchFamily="2" charset="2"/>
              <a:buChar char="§"/>
            </a:pPr>
            <a:r>
              <a:rPr lang="en-US" sz="1100" dirty="0"/>
              <a:t>Rated A</a:t>
            </a:r>
            <a:r>
              <a:rPr lang="en-US" sz="1100" dirty="0">
                <a:solidFill>
                  <a:schemeClr val="tx1"/>
                </a:solidFill>
              </a:rPr>
              <a:t>+/AA-/ Stable / F1+ by </a:t>
            </a:r>
            <a:r>
              <a:rPr lang="en-US" sz="1100" dirty="0"/>
              <a:t>Fitch and A+/ Stable / A-1 by S&amp;P</a:t>
            </a:r>
            <a:r>
              <a:rPr lang="en-US" sz="1100" baseline="30000" dirty="0"/>
              <a:t>1</a:t>
            </a:r>
            <a:endParaRPr lang="en-US" sz="1100" b="1" dirty="0">
              <a:solidFill>
                <a:srgbClr val="FF0000"/>
              </a:solidFill>
            </a:endParaRPr>
          </a:p>
          <a:p>
            <a:pPr marL="542925" lvl="3" indent="-180975" algn="just">
              <a:spcBef>
                <a:spcPts val="600"/>
              </a:spcBef>
              <a:buClr>
                <a:srgbClr val="009B5F"/>
              </a:buClr>
              <a:buSzPct val="133000"/>
              <a:buFont typeface="Wingdings" panose="05000000000000000000" pitchFamily="2" charset="2"/>
              <a:buChar char="§"/>
            </a:pPr>
            <a:r>
              <a:rPr lang="en-US" sz="1100" dirty="0"/>
              <a:t>Regulated as a credit institution by </a:t>
            </a:r>
            <a:r>
              <a:rPr lang="en-US" sz="1100" i="1" dirty="0" err="1"/>
              <a:t>Banque</a:t>
            </a:r>
            <a:r>
              <a:rPr lang="en-US" sz="1100" i="1" dirty="0"/>
              <a:t> de France</a:t>
            </a:r>
            <a:r>
              <a:rPr lang="en-US" sz="1100" dirty="0"/>
              <a:t> </a:t>
            </a:r>
          </a:p>
          <a:p>
            <a:pPr marL="542925" lvl="3" indent="-180975" algn="just">
              <a:spcBef>
                <a:spcPts val="600"/>
              </a:spcBef>
              <a:buClr>
                <a:srgbClr val="009B5F"/>
              </a:buClr>
              <a:buSzPct val="133000"/>
              <a:buFont typeface="Wingdings" panose="05000000000000000000" pitchFamily="2" charset="2"/>
              <a:buChar char="§"/>
            </a:pPr>
            <a:r>
              <a:rPr lang="en-US" sz="1100" dirty="0"/>
              <a:t>Comprehensive range of financial </a:t>
            </a:r>
            <a:r>
              <a:rPr lang="en-US" sz="1100" dirty="0">
                <a:solidFill>
                  <a:schemeClr val="tx1"/>
                </a:solidFill>
              </a:rPr>
              <a:t>products (including sales finance, personal loans, revolving credit, debt consolidation and leasing packages) and </a:t>
            </a:r>
            <a:r>
              <a:rPr lang="en-US" sz="1100" dirty="0"/>
              <a:t>associated insurance and services to consumers</a:t>
            </a:r>
            <a:endParaRPr lang="en-US" sz="1100" dirty="0">
              <a:solidFill>
                <a:srgbClr val="005283"/>
              </a:solidFill>
              <a:latin typeface="Arial" panose="020B0604020202020204" pitchFamily="34" charset="0"/>
              <a:cs typeface="Arial" panose="020B0604020202020204" pitchFamily="34" charset="0"/>
            </a:endParaRPr>
          </a:p>
          <a:p>
            <a:pPr marL="352425" lvl="2" indent="-171450" eaLnBrk="0" hangingPunct="0">
              <a:buBlip>
                <a:blip r:embed="rId2"/>
              </a:buBlip>
              <a:tabLst>
                <a:tab pos="180975" algn="l"/>
                <a:tab pos="2066925" algn="l"/>
              </a:tabLst>
            </a:pPr>
            <a:endParaRPr lang="en-US" sz="800" dirty="0">
              <a:solidFill>
                <a:srgbClr val="005283"/>
              </a:solidFill>
              <a:latin typeface="Arial" panose="020B0604020202020204" pitchFamily="34" charset="0"/>
              <a:cs typeface="Arial" panose="020B0604020202020204" pitchFamily="34" charset="0"/>
            </a:endParaRPr>
          </a:p>
        </p:txBody>
      </p:sp>
      <p:sp>
        <p:nvSpPr>
          <p:cNvPr id="13" name="Rectangle 12"/>
          <p:cNvSpPr/>
          <p:nvPr/>
        </p:nvSpPr>
        <p:spPr>
          <a:xfrm>
            <a:off x="503238" y="998220"/>
            <a:ext cx="1296987" cy="1066801"/>
          </a:xfrm>
          <a:prstGeom prst="rect">
            <a:avLst/>
          </a:prstGeom>
          <a:solidFill>
            <a:srgbClr val="0064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cs typeface="Arial" panose="020B0604020202020204" pitchFamily="34" charset="0"/>
              </a:rPr>
              <a:t>Consumer finance arm of Crédit Agricole Group</a:t>
            </a:r>
          </a:p>
        </p:txBody>
      </p:sp>
      <p:sp>
        <p:nvSpPr>
          <p:cNvPr id="14" name="Espace réservé du contenu 2"/>
          <p:cNvSpPr txBox="1">
            <a:spLocks/>
          </p:cNvSpPr>
          <p:nvPr/>
        </p:nvSpPr>
        <p:spPr bwMode="gray">
          <a:xfrm>
            <a:off x="1800225" y="3657424"/>
            <a:ext cx="6637383" cy="807895"/>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p>
            <a:pPr marL="180975" lvl="2" eaLnBrk="0" hangingPunct="0">
              <a:tabLst>
                <a:tab pos="180975" algn="l"/>
                <a:tab pos="2066925" algn="l"/>
              </a:tabLst>
            </a:pPr>
            <a:endParaRPr lang="en-GB" sz="800" dirty="0">
              <a:latin typeface="Arial" panose="020B0604020202020204" pitchFamily="34" charset="0"/>
              <a:cs typeface="Arial" panose="020B0604020202020204" pitchFamily="34" charset="0"/>
            </a:endParaRPr>
          </a:p>
          <a:p>
            <a:pPr marL="542925" lvl="3" indent="-180975">
              <a:spcBef>
                <a:spcPts val="600"/>
              </a:spcBef>
              <a:buClr>
                <a:srgbClr val="009B5F"/>
              </a:buClr>
              <a:buSzPct val="133000"/>
              <a:buFont typeface="Wingdings" panose="05000000000000000000" pitchFamily="2" charset="2"/>
              <a:buChar char="§"/>
            </a:pPr>
            <a:r>
              <a:rPr lang="en-US" sz="1100" dirty="0">
                <a:solidFill>
                  <a:schemeClr val="tx1"/>
                </a:solidFill>
              </a:rPr>
              <a:t>71% of all originations outside of France in 2023</a:t>
            </a:r>
          </a:p>
          <a:p>
            <a:pPr marL="542925" lvl="3" indent="-180975">
              <a:spcBef>
                <a:spcPts val="600"/>
              </a:spcBef>
              <a:buClr>
                <a:srgbClr val="009B5F"/>
              </a:buClr>
              <a:buSzPct val="133000"/>
              <a:buFont typeface="Wingdings" panose="05000000000000000000" pitchFamily="2" charset="2"/>
              <a:buChar char="§"/>
            </a:pPr>
            <a:r>
              <a:rPr lang="en-US" sz="1100" dirty="0">
                <a:solidFill>
                  <a:schemeClr val="tx1"/>
                </a:solidFill>
              </a:rPr>
              <a:t>Operating in 22 countries in addition to France in 2023</a:t>
            </a:r>
          </a:p>
          <a:p>
            <a:pPr marL="542925" lvl="3" indent="-180975">
              <a:spcBef>
                <a:spcPts val="600"/>
              </a:spcBef>
              <a:buClr>
                <a:srgbClr val="009B5F"/>
              </a:buClr>
              <a:buSzPct val="133000"/>
              <a:buFont typeface="Wingdings" panose="05000000000000000000" pitchFamily="2" charset="2"/>
              <a:buChar char="§"/>
            </a:pPr>
            <a:r>
              <a:rPr lang="en-US" sz="1100" dirty="0"/>
              <a:t>Major international player for car financing: CACF has partnerships with </a:t>
            </a:r>
            <a:r>
              <a:rPr lang="en-US" sz="1100" dirty="0">
                <a:solidFill>
                  <a:schemeClr val="tx1"/>
                </a:solidFill>
              </a:rPr>
              <a:t>leading</a:t>
            </a:r>
            <a:r>
              <a:rPr lang="en-US" sz="1100" dirty="0">
                <a:solidFill>
                  <a:srgbClr val="FF0000"/>
                </a:solidFill>
              </a:rPr>
              <a:t> </a:t>
            </a:r>
            <a:r>
              <a:rPr lang="en-US" sz="1100" dirty="0"/>
              <a:t>car makers Guangzhou Automobile Co Ltd</a:t>
            </a:r>
            <a:endParaRPr lang="en-US" sz="1100" dirty="0">
              <a:solidFill>
                <a:srgbClr val="005283"/>
              </a:solidFill>
              <a:latin typeface="Arial" panose="020B0604020202020204" pitchFamily="34" charset="0"/>
              <a:cs typeface="Arial" panose="020B0604020202020204" pitchFamily="34" charset="0"/>
            </a:endParaRPr>
          </a:p>
          <a:p>
            <a:pPr marL="180975" lvl="2" eaLnBrk="0" hangingPunct="0">
              <a:tabLst>
                <a:tab pos="180975" algn="l"/>
                <a:tab pos="2066925" algn="l"/>
              </a:tabLst>
            </a:pPr>
            <a:endParaRPr lang="en-US" sz="1100" dirty="0">
              <a:solidFill>
                <a:srgbClr val="005283"/>
              </a:solidFill>
              <a:latin typeface="Arial" panose="020B0604020202020204" pitchFamily="34" charset="0"/>
              <a:cs typeface="Arial" panose="020B0604020202020204" pitchFamily="34" charset="0"/>
            </a:endParaRPr>
          </a:p>
        </p:txBody>
      </p:sp>
      <p:sp>
        <p:nvSpPr>
          <p:cNvPr id="15" name="Rectangle 14"/>
          <p:cNvSpPr/>
          <p:nvPr/>
        </p:nvSpPr>
        <p:spPr>
          <a:xfrm>
            <a:off x="503238" y="3657425"/>
            <a:ext cx="1296987" cy="822499"/>
          </a:xfrm>
          <a:prstGeom prst="rect">
            <a:avLst/>
          </a:prstGeom>
          <a:solidFill>
            <a:srgbClr val="0064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cs typeface="Arial" panose="020B0604020202020204" pitchFamily="34" charset="0"/>
              </a:rPr>
              <a:t>Strong international presence </a:t>
            </a:r>
          </a:p>
        </p:txBody>
      </p:sp>
      <p:sp>
        <p:nvSpPr>
          <p:cNvPr id="16" name="Espace réservé du contenu 2"/>
          <p:cNvSpPr txBox="1">
            <a:spLocks/>
          </p:cNvSpPr>
          <p:nvPr/>
        </p:nvSpPr>
        <p:spPr bwMode="gray">
          <a:xfrm>
            <a:off x="1800225" y="2331413"/>
            <a:ext cx="6637384" cy="1054729"/>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p>
            <a:pPr marL="542925" lvl="3" indent="-180975" algn="just">
              <a:spcBef>
                <a:spcPts val="600"/>
              </a:spcBef>
              <a:buClr>
                <a:srgbClr val="009B5F"/>
              </a:buClr>
              <a:buSzPct val="133000"/>
              <a:buFont typeface="Wingdings" panose="05000000000000000000" pitchFamily="2" charset="2"/>
              <a:buChar char="§"/>
            </a:pPr>
            <a:r>
              <a:rPr lang="en-US" sz="1100" dirty="0">
                <a:solidFill>
                  <a:schemeClr val="tx1"/>
                </a:solidFill>
              </a:rPr>
              <a:t>Point-of-sale credit offers through car dealers, household equipment retailers</a:t>
            </a:r>
          </a:p>
          <a:p>
            <a:pPr marL="542925" lvl="3" indent="-180975" algn="just">
              <a:spcBef>
                <a:spcPts val="600"/>
              </a:spcBef>
              <a:buClr>
                <a:srgbClr val="009B5F"/>
              </a:buClr>
              <a:buSzPct val="133000"/>
              <a:buFont typeface="Wingdings" panose="05000000000000000000" pitchFamily="2" charset="2"/>
              <a:buChar char="§"/>
            </a:pPr>
            <a:r>
              <a:rPr lang="en-US" sz="1100" dirty="0">
                <a:solidFill>
                  <a:schemeClr val="tx1"/>
                </a:solidFill>
              </a:rPr>
              <a:t>Direct sales through branches, call centers and internet</a:t>
            </a:r>
          </a:p>
          <a:p>
            <a:pPr marL="542925" lvl="3" indent="-180975" algn="just">
              <a:spcBef>
                <a:spcPts val="600"/>
              </a:spcBef>
              <a:buClr>
                <a:srgbClr val="009B5F"/>
              </a:buClr>
              <a:buSzPct val="133000"/>
              <a:buFont typeface="Wingdings" panose="05000000000000000000" pitchFamily="2" charset="2"/>
              <a:buChar char="§"/>
            </a:pPr>
            <a:r>
              <a:rPr lang="en-US" sz="1100" dirty="0"/>
              <a:t>Partnerships with car manufacturers, large retailers, insurance companies and banks</a:t>
            </a:r>
          </a:p>
          <a:p>
            <a:pPr marL="542925" lvl="3" indent="-180975" algn="just">
              <a:spcBef>
                <a:spcPts val="600"/>
              </a:spcBef>
              <a:buClr>
                <a:srgbClr val="009B5F"/>
              </a:buClr>
              <a:buSzPct val="133000"/>
              <a:buFont typeface="Wingdings" panose="05000000000000000000" pitchFamily="2" charset="2"/>
              <a:buChar char="§"/>
            </a:pPr>
            <a:r>
              <a:rPr lang="en-US" sz="1100" dirty="0">
                <a:solidFill>
                  <a:schemeClr val="tx1"/>
                </a:solidFill>
              </a:rPr>
              <a:t>For some partnerships, CACF only acts as service provider (</a:t>
            </a:r>
            <a:r>
              <a:rPr lang="fr-FR" sz="1100" dirty="0">
                <a:solidFill>
                  <a:schemeClr val="tx1"/>
                </a:solidFill>
              </a:rPr>
              <a:t>Crédit Agricole </a:t>
            </a:r>
            <a:r>
              <a:rPr lang="fr-FR" sz="1100" dirty="0" err="1">
                <a:solidFill>
                  <a:schemeClr val="tx1"/>
                </a:solidFill>
              </a:rPr>
              <a:t>regional</a:t>
            </a:r>
            <a:r>
              <a:rPr lang="fr-FR" sz="1100" dirty="0">
                <a:solidFill>
                  <a:schemeClr val="tx1"/>
                </a:solidFill>
              </a:rPr>
              <a:t> </a:t>
            </a:r>
            <a:r>
              <a:rPr lang="fr-FR" sz="1100" dirty="0" err="1">
                <a:solidFill>
                  <a:schemeClr val="tx1"/>
                </a:solidFill>
              </a:rPr>
              <a:t>banks</a:t>
            </a:r>
            <a:r>
              <a:rPr lang="fr-FR" sz="1100" dirty="0">
                <a:solidFill>
                  <a:schemeClr val="tx1"/>
                </a:solidFill>
              </a:rPr>
              <a:t>, LCL, CA </a:t>
            </a:r>
            <a:r>
              <a:rPr lang="fr-FR" sz="1100" dirty="0" err="1">
                <a:solidFill>
                  <a:schemeClr val="tx1"/>
                </a:solidFill>
              </a:rPr>
              <a:t>Italia</a:t>
            </a:r>
            <a:r>
              <a:rPr lang="fr-FR" sz="1100" dirty="0">
                <a:solidFill>
                  <a:schemeClr val="tx1"/>
                </a:solidFill>
              </a:rPr>
              <a:t> and Crédit du Maroc</a:t>
            </a:r>
            <a:r>
              <a:rPr lang="en-US" sz="1100" dirty="0">
                <a:solidFill>
                  <a:schemeClr val="tx1"/>
                </a:solidFill>
              </a:rPr>
              <a:t>)</a:t>
            </a:r>
          </a:p>
        </p:txBody>
      </p:sp>
      <p:sp>
        <p:nvSpPr>
          <p:cNvPr id="17" name="Rectangle 16"/>
          <p:cNvSpPr/>
          <p:nvPr/>
        </p:nvSpPr>
        <p:spPr>
          <a:xfrm>
            <a:off x="503238" y="2333195"/>
            <a:ext cx="1296987" cy="1057998"/>
          </a:xfrm>
          <a:prstGeom prst="rect">
            <a:avLst/>
          </a:prstGeom>
          <a:solidFill>
            <a:srgbClr val="0064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cs typeface="Arial" panose="020B0604020202020204" pitchFamily="34" charset="0"/>
              </a:rPr>
              <a:t>Multi-channel distribution</a:t>
            </a:r>
          </a:p>
        </p:txBody>
      </p:sp>
      <p:cxnSp>
        <p:nvCxnSpPr>
          <p:cNvPr id="18" name="Straight Connector 15"/>
          <p:cNvCxnSpPr/>
          <p:nvPr/>
        </p:nvCxnSpPr>
        <p:spPr>
          <a:xfrm>
            <a:off x="503238" y="2215025"/>
            <a:ext cx="8029575"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28"/>
          <p:cNvCxnSpPr/>
          <p:nvPr/>
        </p:nvCxnSpPr>
        <p:spPr>
          <a:xfrm>
            <a:off x="503238" y="3520907"/>
            <a:ext cx="80295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2"/>
          <p:cNvSpPr>
            <a:spLocks noGrp="1"/>
          </p:cNvSpPr>
          <p:nvPr>
            <p:ph type="title"/>
          </p:nvPr>
        </p:nvSpPr>
        <p:spPr>
          <a:xfrm>
            <a:off x="517608" y="173626"/>
            <a:ext cx="7997742" cy="824594"/>
          </a:xfrm>
        </p:spPr>
        <p:txBody>
          <a:bodyPr/>
          <a:lstStyle/>
          <a:p>
            <a:r>
              <a:rPr lang="fr-FR" dirty="0">
                <a:solidFill>
                  <a:prstClr val="black"/>
                </a:solidFill>
              </a:rPr>
              <a:t>CACF Group</a:t>
            </a:r>
            <a:br>
              <a:rPr lang="fr-FR" dirty="0">
                <a:solidFill>
                  <a:prstClr val="black"/>
                </a:solidFill>
              </a:rPr>
            </a:br>
            <a:r>
              <a:rPr lang="fr-FR" sz="1400" dirty="0" err="1">
                <a:solidFill>
                  <a:prstClr val="white">
                    <a:lumMod val="50000"/>
                  </a:prstClr>
                </a:solidFill>
                <a:latin typeface="+mn-lt"/>
              </a:rPr>
              <a:t>Highlights</a:t>
            </a:r>
            <a:endParaRPr lang="en-US" sz="1400" dirty="0">
              <a:solidFill>
                <a:prstClr val="white">
                  <a:lumMod val="50000"/>
                </a:prstClr>
              </a:solidFill>
              <a:latin typeface="+mn-lt"/>
            </a:endParaRPr>
          </a:p>
        </p:txBody>
      </p:sp>
      <p:sp>
        <p:nvSpPr>
          <p:cNvPr id="20" name="Rectangle 19"/>
          <p:cNvSpPr/>
          <p:nvPr/>
        </p:nvSpPr>
        <p:spPr>
          <a:xfrm>
            <a:off x="331525" y="4846728"/>
            <a:ext cx="7322027" cy="282381"/>
          </a:xfrm>
          <a:prstGeom prst="rect">
            <a:avLst/>
          </a:prstGeom>
        </p:spPr>
        <p:txBody>
          <a:bodyPr wrap="square" lIns="96770" tIns="48385" rIns="96770" bIns="48385">
            <a:spAutoFit/>
          </a:bodyPr>
          <a:lstStyle/>
          <a:p>
            <a:pPr marL="96770" indent="-96770" defTabSz="1019772">
              <a:spcBef>
                <a:spcPct val="0"/>
              </a:spcBef>
              <a:tabLst>
                <a:tab pos="633368" algn="l"/>
              </a:tabLst>
            </a:pPr>
            <a:r>
              <a:rPr lang="en-US" sz="600" baseline="30000" dirty="0"/>
              <a:t>1</a:t>
            </a:r>
            <a:r>
              <a:rPr lang="en-US" sz="600" dirty="0"/>
              <a:t> A rating is not a recommendation to buy, sell or hold securities and may be subject to revision or withdrawal at any time</a:t>
            </a:r>
          </a:p>
          <a:p>
            <a:pPr marL="96770" indent="-96770" defTabSz="1019772">
              <a:spcBef>
                <a:spcPct val="0"/>
              </a:spcBef>
              <a:tabLst>
                <a:tab pos="633368" algn="l"/>
              </a:tabLst>
            </a:pPr>
            <a:endParaRPr lang="en-US" sz="600" dirty="0"/>
          </a:p>
        </p:txBody>
      </p:sp>
    </p:spTree>
    <p:extLst>
      <p:ext uri="{BB962C8B-B14F-4D97-AF65-F5344CB8AC3E}">
        <p14:creationId xmlns:p14="http://schemas.microsoft.com/office/powerpoint/2010/main" val="35482541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5014" y="1476004"/>
            <a:ext cx="3664703" cy="2196225"/>
          </a:xfrm>
        </p:spPr>
        <p:txBody>
          <a:bodyPr/>
          <a:lstStyle/>
          <a:p>
            <a:r>
              <a:rPr lang="en-US" sz="2400" dirty="0"/>
              <a:t>4. Collection and </a:t>
            </a:r>
            <a:r>
              <a:rPr lang="en-US" sz="2400" dirty="0" err="1"/>
              <a:t>overindebtedness</a:t>
            </a:r>
            <a:r>
              <a:rPr lang="en-US" sz="2400" dirty="0"/>
              <a:t> process / litigation process</a:t>
            </a:r>
            <a:endParaRPr lang="en-US" dirty="0"/>
          </a:p>
        </p:txBody>
      </p:sp>
      <p:sp>
        <p:nvSpPr>
          <p:cNvPr id="3" name="Slide Number Placeholder 2"/>
          <p:cNvSpPr>
            <a:spLocks noGrp="1"/>
          </p:cNvSpPr>
          <p:nvPr>
            <p:ph type="sldNum" sz="quarter" idx="19"/>
          </p:nvPr>
        </p:nvSpPr>
        <p:spPr/>
        <p:txBody>
          <a:bodyPr/>
          <a:lstStyle/>
          <a:p>
            <a:fld id="{98BD2159-827C-4021-9B0E-DCD852BEB59E}" type="slidenum">
              <a:rPr lang="en-GB" smtClean="0"/>
              <a:pPr/>
              <a:t>40</a:t>
            </a:fld>
            <a:endParaRPr lang="en-GB" dirty="0"/>
          </a:p>
        </p:txBody>
      </p:sp>
    </p:spTree>
    <p:extLst>
      <p:ext uri="{BB962C8B-B14F-4D97-AF65-F5344CB8AC3E}">
        <p14:creationId xmlns:p14="http://schemas.microsoft.com/office/powerpoint/2010/main" val="42390929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703625" y="175073"/>
            <a:ext cx="6038204" cy="233772"/>
          </a:xfrm>
        </p:spPr>
        <p:txBody>
          <a:bodyPr/>
          <a:lstStyle/>
          <a:p>
            <a:r>
              <a:rPr lang="en-US" dirty="0">
                <a:solidFill>
                  <a:schemeClr val="tx1"/>
                </a:solidFill>
              </a:rPr>
              <a:t>Customer Service (1/2)</a:t>
            </a:r>
            <a:endParaRPr lang="fr-FR" dirty="0">
              <a:solidFill>
                <a:schemeClr val="tx1"/>
              </a:solidFill>
            </a:endParaRPr>
          </a:p>
        </p:txBody>
      </p:sp>
      <p:sp>
        <p:nvSpPr>
          <p:cNvPr id="4" name="Espace réservé de la date 3"/>
          <p:cNvSpPr>
            <a:spLocks noGrp="1"/>
          </p:cNvSpPr>
          <p:nvPr>
            <p:ph type="dt" sz="half" idx="10"/>
          </p:nvPr>
        </p:nvSpPr>
        <p:spPr bwMode="gray">
          <a:xfrm>
            <a:off x="923810" y="6480335"/>
            <a:ext cx="648072"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18/07/2018</a:t>
            </a:r>
            <a:endParaRPr lang="fr-FR" dirty="0"/>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p:cNvSpPr>
            <a:spLocks noGrp="1"/>
          </p:cNvSpPr>
          <p:nvPr>
            <p:ph type="sldNum" sz="quarter" idx="12"/>
          </p:nvPr>
        </p:nvSpPr>
        <p:spPr bwMode="gray">
          <a:xfrm>
            <a:off x="1989237" y="6480335"/>
            <a:ext cx="293491"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571E2A-2AE4-4AE9-A5FF-468BE27EC277}" type="slidenum">
              <a:rPr lang="fr-FR" smtClean="0"/>
              <a:pPr/>
              <a:t>41</a:t>
            </a:fld>
            <a:endParaRPr lang="fr-FR" dirty="0"/>
          </a:p>
        </p:txBody>
      </p:sp>
      <p:sp>
        <p:nvSpPr>
          <p:cNvPr id="7" name="Rectangle 2"/>
          <p:cNvSpPr txBox="1">
            <a:spLocks noChangeArrowheads="1"/>
          </p:cNvSpPr>
          <p:nvPr/>
        </p:nvSpPr>
        <p:spPr bwMode="auto">
          <a:xfrm>
            <a:off x="482803" y="1037825"/>
            <a:ext cx="7922362" cy="35780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buFont typeface="Wingdings" pitchFamily="2" charset="2"/>
              <a:buBlip>
                <a:blip r:embed="rId2"/>
              </a:buBlip>
            </a:pPr>
            <a:r>
              <a:rPr lang="en-GB" sz="900" b="0" dirty="0">
                <a:solidFill>
                  <a:schemeClr val="tx1"/>
                </a:solidFill>
              </a:rPr>
              <a:t>Loans that are up to one instalment in arrears are managed by Customer Service team (approximately 200 employees)</a:t>
            </a:r>
          </a:p>
          <a:p>
            <a:pPr marL="0" indent="0" algn="just">
              <a:lnSpc>
                <a:spcPct val="150000"/>
              </a:lnSpc>
              <a:buNone/>
            </a:pPr>
            <a:endParaRPr lang="en-GB" sz="900" b="0" dirty="0">
              <a:solidFill>
                <a:schemeClr val="tx1"/>
              </a:solidFill>
            </a:endParaRPr>
          </a:p>
          <a:p>
            <a:pPr algn="just">
              <a:lnSpc>
                <a:spcPct val="200000"/>
              </a:lnSpc>
              <a:buFont typeface="Wingdings" pitchFamily="2" charset="2"/>
              <a:buBlip>
                <a:blip r:embed="rId2"/>
              </a:buBlip>
            </a:pPr>
            <a:r>
              <a:rPr lang="en-GB" sz="900" b="0" dirty="0">
                <a:solidFill>
                  <a:schemeClr val="tx1"/>
                </a:solidFill>
              </a:rPr>
              <a:t>Payments mainly by direct debit, (2023 as reference year): </a:t>
            </a:r>
          </a:p>
          <a:p>
            <a:pPr marL="538163" lvl="1" indent="-203597" algn="just">
              <a:lnSpc>
                <a:spcPct val="150000"/>
              </a:lnSpc>
              <a:buBlip>
                <a:blip r:embed="rId2"/>
              </a:buBlip>
            </a:pPr>
            <a:r>
              <a:rPr lang="en-GB" sz="900" dirty="0"/>
              <a:t>direct debit : 95,4% </a:t>
            </a:r>
          </a:p>
          <a:p>
            <a:pPr marL="538163" lvl="1" indent="-203597" algn="just">
              <a:lnSpc>
                <a:spcPct val="150000"/>
              </a:lnSpc>
              <a:buBlip>
                <a:blip r:embed="rId2"/>
              </a:buBlip>
            </a:pPr>
            <a:r>
              <a:rPr lang="en-GB" sz="900" dirty="0"/>
              <a:t>bank transfer : 3,4%</a:t>
            </a:r>
          </a:p>
          <a:p>
            <a:pPr marL="538163" lvl="1" indent="-203597" algn="just">
              <a:lnSpc>
                <a:spcPct val="150000"/>
              </a:lnSpc>
              <a:buBlip>
                <a:blip r:embed="rId2"/>
              </a:buBlip>
            </a:pPr>
            <a:r>
              <a:rPr lang="en-GB" sz="900" dirty="0"/>
              <a:t>Bank checks : 1,2%</a:t>
            </a:r>
          </a:p>
          <a:p>
            <a:pPr marL="334566" lvl="1" indent="0" algn="just">
              <a:lnSpc>
                <a:spcPct val="150000"/>
              </a:lnSpc>
              <a:buNone/>
            </a:pPr>
            <a:endParaRPr lang="en-GB" sz="900" dirty="0">
              <a:highlight>
                <a:srgbClr val="FFFF00"/>
              </a:highlight>
            </a:endParaRPr>
          </a:p>
          <a:p>
            <a:pPr algn="just">
              <a:lnSpc>
                <a:spcPct val="150000"/>
              </a:lnSpc>
              <a:buFont typeface="Wingdings" pitchFamily="2" charset="2"/>
              <a:buBlip>
                <a:blip r:embed="rId2"/>
              </a:buBlip>
            </a:pPr>
            <a:r>
              <a:rPr lang="en-GB" sz="900" b="0" dirty="0">
                <a:solidFill>
                  <a:schemeClr val="tx1"/>
                </a:solidFill>
              </a:rPr>
              <a:t>Prepayments in full or part are allowed at any time during the life of the loan.  Prepayments fees are up to 1% for loans &gt;10k€</a:t>
            </a:r>
          </a:p>
          <a:p>
            <a:pPr algn="just">
              <a:lnSpc>
                <a:spcPct val="150000"/>
              </a:lnSpc>
              <a:buFont typeface="Wingdings" pitchFamily="2" charset="2"/>
              <a:buBlip>
                <a:blip r:embed="rId2"/>
              </a:buBlip>
            </a:pPr>
            <a:r>
              <a:rPr lang="en-GB" sz="900" b="0" dirty="0">
                <a:solidFill>
                  <a:schemeClr val="tx1"/>
                </a:solidFill>
              </a:rPr>
              <a:t>Customer Service also handles all activity relating to commercial renegotiations (monthly deferrals, change of maturity; change of insurance policies tied to the loan)</a:t>
            </a:r>
          </a:p>
          <a:p>
            <a:pPr marL="0" indent="0" algn="just">
              <a:lnSpc>
                <a:spcPct val="150000"/>
              </a:lnSpc>
              <a:buNone/>
            </a:pPr>
            <a:endParaRPr lang="en-GB" sz="900" b="0" dirty="0">
              <a:solidFill>
                <a:schemeClr val="tx1"/>
              </a:solidFill>
            </a:endParaRPr>
          </a:p>
          <a:p>
            <a:pPr algn="just">
              <a:lnSpc>
                <a:spcPct val="150000"/>
              </a:lnSpc>
              <a:buFont typeface="Wingdings" pitchFamily="2" charset="2"/>
              <a:buBlip>
                <a:blip r:embed="rId2"/>
              </a:buBlip>
            </a:pPr>
            <a:r>
              <a:rPr lang="en-GB" sz="900" b="0" dirty="0">
                <a:solidFill>
                  <a:schemeClr val="tx1"/>
                </a:solidFill>
              </a:rPr>
              <a:t>Subject to certain conditions, customer service is allowed to agree to a request of the customer to: </a:t>
            </a:r>
          </a:p>
          <a:p>
            <a:pPr marL="538163" lvl="1" indent="-203597" algn="just">
              <a:lnSpc>
                <a:spcPct val="150000"/>
              </a:lnSpc>
              <a:buBlip>
                <a:blip r:embed="rId2"/>
              </a:buBlip>
            </a:pPr>
            <a:r>
              <a:rPr lang="en-GB" sz="900" dirty="0"/>
              <a:t>Defer by one month the payment of one monthly instalment (and only one) twice in any rolling twelve months period</a:t>
            </a:r>
          </a:p>
          <a:p>
            <a:pPr marL="538163" lvl="1" indent="-203597" algn="just">
              <a:lnSpc>
                <a:spcPct val="150000"/>
              </a:lnSpc>
              <a:buBlip>
                <a:blip r:embed="rId2"/>
              </a:buBlip>
            </a:pPr>
            <a:r>
              <a:rPr lang="en-GB" sz="900" dirty="0"/>
              <a:t>Reduce the applicable monthly instalment and extend the loan term accordingly</a:t>
            </a:r>
          </a:p>
          <a:p>
            <a:pPr marL="538163" lvl="1" indent="-203597" algn="just">
              <a:lnSpc>
                <a:spcPct val="150000"/>
              </a:lnSpc>
              <a:buBlip>
                <a:blip r:embed="rId2"/>
              </a:buBlip>
            </a:pPr>
            <a:r>
              <a:rPr lang="en-GB" sz="900" dirty="0"/>
              <a:t>Reduce the applicable interest rate subject to a minimum set from time to time by the customer service division management and depending from market conditions; no such reduction is possible for loans with lower interest rate than the floor interest rate. </a:t>
            </a:r>
          </a:p>
        </p:txBody>
      </p:sp>
      <p:sp>
        <p:nvSpPr>
          <p:cNvPr id="8" name="Slide Number Placeholder 3">
            <a:extLst>
              <a:ext uri="{FF2B5EF4-FFF2-40B4-BE49-F238E27FC236}">
                <a16:creationId xmlns:a16="http://schemas.microsoft.com/office/drawing/2014/main" id="{3AA1BE90-FD8E-489B-B80B-2D30C4EF8366}"/>
              </a:ext>
            </a:extLst>
          </p:cNvPr>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41</a:t>
            </a:fld>
            <a:endParaRPr lang="en-GB" sz="900" dirty="0">
              <a:solidFill>
                <a:prstClr val="white"/>
              </a:solidFill>
              <a:latin typeface="Avenir Next LT Pro"/>
            </a:endParaRPr>
          </a:p>
        </p:txBody>
      </p:sp>
    </p:spTree>
    <p:extLst>
      <p:ext uri="{BB962C8B-B14F-4D97-AF65-F5344CB8AC3E}">
        <p14:creationId xmlns:p14="http://schemas.microsoft.com/office/powerpoint/2010/main" val="36813441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648116" y="258836"/>
            <a:ext cx="6038204" cy="233772"/>
          </a:xfrm>
        </p:spPr>
        <p:txBody>
          <a:bodyPr/>
          <a:lstStyle/>
          <a:p>
            <a:r>
              <a:rPr lang="en-US" dirty="0">
                <a:solidFill>
                  <a:schemeClr val="tx1"/>
                </a:solidFill>
              </a:rPr>
              <a:t>Customer Service (2/2)</a:t>
            </a:r>
            <a:endParaRPr lang="fr-FR" dirty="0">
              <a:solidFill>
                <a:schemeClr val="tx1"/>
              </a:solidFill>
            </a:endParaRPr>
          </a:p>
        </p:txBody>
      </p:sp>
      <p:sp>
        <p:nvSpPr>
          <p:cNvPr id="4" name="Espace réservé de la date 3"/>
          <p:cNvSpPr>
            <a:spLocks noGrp="1"/>
          </p:cNvSpPr>
          <p:nvPr>
            <p:ph type="dt" sz="half" idx="10"/>
          </p:nvPr>
        </p:nvSpPr>
        <p:spPr bwMode="gray">
          <a:xfrm>
            <a:off x="923810" y="6480335"/>
            <a:ext cx="648072"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18/07/2018</a:t>
            </a:r>
            <a:endParaRPr lang="fr-FR" dirty="0"/>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p:cNvSpPr>
            <a:spLocks noGrp="1"/>
          </p:cNvSpPr>
          <p:nvPr>
            <p:ph type="sldNum" sz="quarter" idx="12"/>
          </p:nvPr>
        </p:nvSpPr>
        <p:spPr bwMode="gray">
          <a:xfrm>
            <a:off x="1989237" y="6480335"/>
            <a:ext cx="293491"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571E2A-2AE4-4AE9-A5FF-468BE27EC277}" type="slidenum">
              <a:rPr lang="fr-FR" smtClean="0"/>
              <a:pPr/>
              <a:t>42</a:t>
            </a:fld>
            <a:endParaRPr lang="fr-FR" dirty="0"/>
          </a:p>
        </p:txBody>
      </p:sp>
      <p:sp>
        <p:nvSpPr>
          <p:cNvPr id="8" name="Rectangle 2"/>
          <p:cNvSpPr txBox="1">
            <a:spLocks noChangeArrowheads="1"/>
          </p:cNvSpPr>
          <p:nvPr/>
        </p:nvSpPr>
        <p:spPr bwMode="gray">
          <a:xfrm>
            <a:off x="555351" y="1230084"/>
            <a:ext cx="8052414" cy="3500942"/>
          </a:xfrm>
          <a:prstGeom prst="rect">
            <a:avLst/>
          </a:prstGeom>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defRPr/>
            </a:pPr>
            <a:r>
              <a:rPr lang="en-GB" sz="1000" b="0" dirty="0">
                <a:solidFill>
                  <a:schemeClr val="tx1"/>
                </a:solidFill>
              </a:rPr>
              <a:t>Loan modifications are subject to a number of conditions:</a:t>
            </a:r>
          </a:p>
          <a:p>
            <a:pPr marL="162000" lvl="1" indent="0" algn="just">
              <a:lnSpc>
                <a:spcPct val="150000"/>
              </a:lnSpc>
              <a:buBlip>
                <a:blip r:embed="rId2"/>
              </a:buBlip>
              <a:defRPr/>
            </a:pPr>
            <a:r>
              <a:rPr lang="en-GB" sz="1000" b="0" dirty="0">
                <a:solidFill>
                  <a:schemeClr val="tx1"/>
                </a:solidFill>
              </a:rPr>
              <a:t> The loan is not in arrears</a:t>
            </a:r>
          </a:p>
          <a:p>
            <a:pPr marL="162000" lvl="1" indent="0" algn="just">
              <a:lnSpc>
                <a:spcPct val="150000"/>
              </a:lnSpc>
              <a:buBlip>
                <a:blip r:embed="rId2"/>
              </a:buBlip>
              <a:defRPr/>
            </a:pPr>
            <a:r>
              <a:rPr lang="en-GB" sz="1000" b="0" dirty="0">
                <a:solidFill>
                  <a:schemeClr val="tx1"/>
                </a:solidFill>
              </a:rPr>
              <a:t> The loan is at least six months seasoned</a:t>
            </a:r>
          </a:p>
          <a:p>
            <a:pPr marL="162000" lvl="1" indent="0" algn="just">
              <a:lnSpc>
                <a:spcPct val="150000"/>
              </a:lnSpc>
              <a:buBlip>
                <a:blip r:embed="rId2"/>
              </a:buBlip>
              <a:defRPr/>
            </a:pPr>
            <a:r>
              <a:rPr lang="en-GB" sz="1000" b="0" dirty="0">
                <a:solidFill>
                  <a:schemeClr val="tx1"/>
                </a:solidFill>
              </a:rPr>
              <a:t> No claims has been done in respect of any related payment protection insurance policy</a:t>
            </a:r>
          </a:p>
          <a:p>
            <a:pPr marL="162000" lvl="1" indent="0" algn="just">
              <a:lnSpc>
                <a:spcPct val="150000"/>
              </a:lnSpc>
              <a:buBlip>
                <a:blip r:embed="rId2"/>
              </a:buBlip>
              <a:defRPr/>
            </a:pPr>
            <a:r>
              <a:rPr lang="en-GB" sz="1000" b="0" dirty="0">
                <a:solidFill>
                  <a:schemeClr val="tx1"/>
                </a:solidFill>
              </a:rPr>
              <a:t> The borrower has not filed with an </a:t>
            </a:r>
            <a:r>
              <a:rPr lang="en-GB" sz="1000" b="0" dirty="0" err="1">
                <a:solidFill>
                  <a:schemeClr val="tx1"/>
                </a:solidFill>
              </a:rPr>
              <a:t>overindebtedness</a:t>
            </a:r>
            <a:r>
              <a:rPr lang="en-GB" sz="1000" b="0" dirty="0">
                <a:solidFill>
                  <a:schemeClr val="tx1"/>
                </a:solidFill>
              </a:rPr>
              <a:t> commission</a:t>
            </a:r>
          </a:p>
          <a:p>
            <a:pPr marL="0" indent="0" algn="just">
              <a:lnSpc>
                <a:spcPct val="150000"/>
              </a:lnSpc>
              <a:buNone/>
              <a:defRPr/>
            </a:pPr>
            <a:endParaRPr lang="en-GB" sz="1000" b="0" dirty="0">
              <a:solidFill>
                <a:schemeClr val="tx1"/>
              </a:solidFill>
            </a:endParaRPr>
          </a:p>
          <a:p>
            <a:pPr marL="0" indent="0" algn="just">
              <a:lnSpc>
                <a:spcPct val="150000"/>
              </a:lnSpc>
              <a:buBlip>
                <a:blip r:embed="rId2"/>
              </a:buBlip>
              <a:defRPr/>
            </a:pPr>
            <a:r>
              <a:rPr lang="en-GB" sz="1000" b="0" dirty="0">
                <a:solidFill>
                  <a:schemeClr val="tx1"/>
                </a:solidFill>
              </a:rPr>
              <a:t> For personal and debt consolidation loans : </a:t>
            </a:r>
          </a:p>
          <a:p>
            <a:pPr marL="324000" lvl="2" indent="0" algn="just">
              <a:lnSpc>
                <a:spcPct val="150000"/>
              </a:lnSpc>
              <a:buBlip>
                <a:blip r:embed="rId2"/>
              </a:buBlip>
              <a:defRPr/>
            </a:pPr>
            <a:r>
              <a:rPr lang="en-GB" sz="1000" dirty="0"/>
              <a:t> </a:t>
            </a:r>
            <a:r>
              <a:rPr lang="en-GB" sz="1000" dirty="0">
                <a:solidFill>
                  <a:schemeClr val="tx1"/>
                </a:solidFill>
              </a:rPr>
              <a:t>The maturity extension will not be greater than twice the remaining term .</a:t>
            </a:r>
          </a:p>
          <a:p>
            <a:pPr marL="324000" lvl="2" indent="0" algn="just">
              <a:lnSpc>
                <a:spcPct val="150000"/>
              </a:lnSpc>
              <a:buBlip>
                <a:blip r:embed="rId2"/>
              </a:buBlip>
              <a:defRPr/>
            </a:pPr>
            <a:r>
              <a:rPr lang="en-GB" sz="1000" dirty="0">
                <a:solidFill>
                  <a:schemeClr val="tx1"/>
                </a:solidFill>
              </a:rPr>
              <a:t> The loan maturity will not extend 84 months in respect of debt consolidation loans from the loan closing date .</a:t>
            </a:r>
          </a:p>
          <a:p>
            <a:pPr marL="324000" lvl="2" indent="0" algn="just">
              <a:lnSpc>
                <a:spcPct val="150000"/>
              </a:lnSpc>
              <a:buNone/>
              <a:defRPr/>
            </a:pPr>
            <a:endParaRPr lang="en-GB" sz="1000" dirty="0">
              <a:solidFill>
                <a:schemeClr val="tx1"/>
              </a:solidFill>
            </a:endParaRPr>
          </a:p>
          <a:p>
            <a:pPr marL="0" indent="0" algn="just">
              <a:lnSpc>
                <a:spcPct val="150000"/>
              </a:lnSpc>
              <a:buBlip>
                <a:blip r:embed="rId2"/>
              </a:buBlip>
              <a:defRPr/>
            </a:pPr>
            <a:r>
              <a:rPr lang="en-GB" sz="1000" b="0" dirty="0">
                <a:solidFill>
                  <a:schemeClr val="tx1"/>
                </a:solidFill>
              </a:rPr>
              <a:t> The loan maturity will not be extended beyond the 82</a:t>
            </a:r>
            <a:r>
              <a:rPr lang="en-GB" sz="1000" b="0" baseline="30000" dirty="0">
                <a:solidFill>
                  <a:schemeClr val="tx1"/>
                </a:solidFill>
              </a:rPr>
              <a:t>nd</a:t>
            </a:r>
            <a:r>
              <a:rPr lang="en-GB" sz="1000" b="0" dirty="0">
                <a:solidFill>
                  <a:schemeClr val="tx1"/>
                </a:solidFill>
              </a:rPr>
              <a:t> birthday of the customer</a:t>
            </a:r>
          </a:p>
          <a:p>
            <a:pPr lvl="1" indent="0" algn="just">
              <a:lnSpc>
                <a:spcPct val="150000"/>
              </a:lnSpc>
              <a:buNone/>
              <a:defRPr/>
            </a:pPr>
            <a:endParaRPr lang="en-GB" sz="1000" dirty="0"/>
          </a:p>
        </p:txBody>
      </p:sp>
      <p:sp>
        <p:nvSpPr>
          <p:cNvPr id="7" name="Slide Number Placeholder 3">
            <a:extLst>
              <a:ext uri="{FF2B5EF4-FFF2-40B4-BE49-F238E27FC236}">
                <a16:creationId xmlns:a16="http://schemas.microsoft.com/office/drawing/2014/main" id="{38D5ED11-E1F1-4F13-A102-6D45DEB8A343}"/>
              </a:ext>
            </a:extLst>
          </p:cNvPr>
          <p:cNvSpPr>
            <a:spLocks noGrp="1"/>
          </p:cNvSpPr>
          <p:nvPr>
            <p:ph type="sldNum" sz="quarter" idx="19"/>
          </p:nvPr>
        </p:nvSpPr>
        <p:spPr>
          <a:xfrm>
            <a:off x="8607765" y="4846820"/>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42</a:t>
            </a:fld>
            <a:endParaRPr lang="en-GB" sz="900" dirty="0">
              <a:solidFill>
                <a:prstClr val="white"/>
              </a:solidFill>
              <a:latin typeface="Avenir Next LT Pro"/>
            </a:endParaRPr>
          </a:p>
        </p:txBody>
      </p:sp>
    </p:spTree>
    <p:extLst>
      <p:ext uri="{BB962C8B-B14F-4D97-AF65-F5344CB8AC3E}">
        <p14:creationId xmlns:p14="http://schemas.microsoft.com/office/powerpoint/2010/main" val="3254180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bwMode="gray">
          <a:xfrm>
            <a:off x="680650" y="298601"/>
            <a:ext cx="7105002" cy="340411"/>
          </a:xfrm>
        </p:spPr>
        <p:txBody>
          <a:bodyPr vert="horz" lIns="91440" tIns="45720" rIns="91440" bIns="45720" rtlCol="0" anchor="t" anchorCtr="0">
            <a:noAutofit/>
          </a:bodyPr>
          <a:lstStyle/>
          <a:p>
            <a:r>
              <a:rPr lang="en-US" sz="1800" dirty="0">
                <a:solidFill>
                  <a:prstClr val="black"/>
                </a:solidFill>
              </a:rPr>
              <a:t>From customer service to legal proceedings</a:t>
            </a:r>
          </a:p>
        </p:txBody>
      </p:sp>
      <p:sp>
        <p:nvSpPr>
          <p:cNvPr id="4" name="Espace réservé de la date 3"/>
          <p:cNvSpPr>
            <a:spLocks noGrp="1"/>
          </p:cNvSpPr>
          <p:nvPr>
            <p:ph type="dt" sz="half" idx="10"/>
          </p:nvPr>
        </p:nvSpPr>
        <p:spPr bwMode="gray">
          <a:xfrm>
            <a:off x="923810" y="6480335"/>
            <a:ext cx="648072"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18/07/2018</a:t>
            </a:r>
            <a:endParaRPr lang="fr-FR" dirty="0"/>
          </a:p>
        </p:txBody>
      </p:sp>
      <p:sp>
        <p:nvSpPr>
          <p:cNvPr id="6" name="Espace réservé du pied de page 5"/>
          <p:cNvSpPr>
            <a:spLocks noGrp="1"/>
          </p:cNvSpPr>
          <p:nvPr>
            <p:ph type="ftr" sz="quarter" idx="11"/>
          </p:nvPr>
        </p:nvSpPr>
        <p:spPr bwMode="gray">
          <a:xfrm>
            <a:off x="0" y="6678000"/>
            <a:ext cx="180000" cy="180000"/>
          </a:xfrm>
          <a:prstGeom prst="rect">
            <a:avLst/>
          </a:prstGeom>
          <a:ln>
            <a:solidFill>
              <a:schemeClr val="tx1">
                <a:alpha val="0"/>
              </a:schemeClr>
            </a:solidFill>
          </a:ln>
        </p:spPr>
        <p:txBody>
          <a:bodyPr vert="horz" lIns="0" tIns="0" rIns="0" bIns="0" rtlCol="0" anchor="t" anchorCtr="0">
            <a:noAutofit/>
          </a:bodyPr>
          <a:lstStyle>
            <a:defPPr>
              <a:defRPr lang="fr-FR"/>
            </a:defPPr>
            <a:lvl1pPr marL="0" algn="l" defTabSz="914400" rtl="0" eaLnBrk="1" latinLnBrk="0" hangingPunct="1">
              <a:defRPr sz="600" kern="1200" cap="all" baseline="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p:cNvSpPr>
            <a:spLocks noGrp="1"/>
          </p:cNvSpPr>
          <p:nvPr>
            <p:ph type="sldNum" sz="quarter" idx="12"/>
          </p:nvPr>
        </p:nvSpPr>
        <p:spPr bwMode="gray">
          <a:xfrm>
            <a:off x="1989237" y="6480335"/>
            <a:ext cx="293491" cy="360000"/>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571E2A-2AE4-4AE9-A5FF-468BE27EC277}" type="slidenum">
              <a:rPr lang="fr-FR" smtClean="0"/>
              <a:pPr/>
              <a:t>43</a:t>
            </a:fld>
            <a:endParaRPr lang="fr-FR" dirty="0"/>
          </a:p>
        </p:txBody>
      </p:sp>
      <p:sp>
        <p:nvSpPr>
          <p:cNvPr id="9" name="Text Box 28"/>
          <p:cNvSpPr txBox="1">
            <a:spLocks noChangeArrowheads="1"/>
          </p:cNvSpPr>
          <p:nvPr/>
        </p:nvSpPr>
        <p:spPr bwMode="auto">
          <a:xfrm>
            <a:off x="923810" y="4870631"/>
            <a:ext cx="6305550" cy="230832"/>
          </a:xfrm>
          <a:prstGeom prst="rect">
            <a:avLst/>
          </a:prstGeom>
          <a:noFill/>
          <a:ln w="12700" algn="ctr">
            <a:noFill/>
            <a:miter lim="800000"/>
            <a:headEnd/>
            <a:tailEnd/>
          </a:ln>
          <a:effectLst/>
        </p:spPr>
        <p:txBody>
          <a:bodyPr wrap="square" lIns="0" tIns="0" rIns="0" bIns="0">
            <a:spAutoFit/>
          </a:bodyPr>
          <a:lstStyle/>
          <a:p>
            <a:pPr algn="just">
              <a:spcBef>
                <a:spcPct val="50000"/>
              </a:spcBef>
              <a:defRPr/>
            </a:pPr>
            <a:r>
              <a:rPr lang="en-IE" sz="750" dirty="0"/>
              <a:t>* Certain cases (i.e. identity theft...) could trigger the loan acceleration before the 7/8 unpaid instalments. These cases are marginal in relation to the volumes of transfers to the litigation phase. </a:t>
            </a:r>
          </a:p>
        </p:txBody>
      </p:sp>
      <p:grpSp>
        <p:nvGrpSpPr>
          <p:cNvPr id="10" name="Groupe 1"/>
          <p:cNvGrpSpPr>
            <a:grpSpLocks/>
          </p:cNvGrpSpPr>
          <p:nvPr/>
        </p:nvGrpSpPr>
        <p:grpSpPr bwMode="auto">
          <a:xfrm>
            <a:off x="680650" y="1030728"/>
            <a:ext cx="6908225" cy="3725465"/>
            <a:chOff x="507339" y="1232756"/>
            <a:chExt cx="9126934" cy="4968552"/>
          </a:xfrm>
        </p:grpSpPr>
        <p:sp>
          <p:nvSpPr>
            <p:cNvPr id="11" name="Rectangle 18"/>
            <p:cNvSpPr>
              <a:spLocks noChangeArrowheads="1"/>
            </p:cNvSpPr>
            <p:nvPr/>
          </p:nvSpPr>
          <p:spPr bwMode="auto">
            <a:xfrm>
              <a:off x="507339" y="5119946"/>
              <a:ext cx="1871797" cy="360454"/>
            </a:xfrm>
            <a:prstGeom prst="rect">
              <a:avLst/>
            </a:prstGeom>
            <a:solidFill>
              <a:srgbClr val="FFCC00"/>
            </a:solidFill>
            <a:ln w="12700" algn="ctr">
              <a:noFill/>
              <a:miter lim="800000"/>
              <a:headEnd/>
              <a:tailEnd/>
            </a:ln>
            <a:effectLst/>
          </p:spPr>
          <p:txBody>
            <a:bodyPr lIns="0" tIns="0" rIns="0" bIns="0" anchor="ctr"/>
            <a:lstStyle/>
            <a:p>
              <a:pPr algn="ctr">
                <a:spcBef>
                  <a:spcPct val="20000"/>
                </a:spcBef>
                <a:defRPr/>
              </a:pPr>
              <a:r>
                <a:rPr lang="fr-FR" sz="788" b="1" dirty="0">
                  <a:solidFill>
                    <a:schemeClr val="bg1"/>
                  </a:solidFill>
                </a:rPr>
                <a:t>MARKETING AND SALES TEAM</a:t>
              </a:r>
            </a:p>
          </p:txBody>
        </p:sp>
        <p:sp>
          <p:nvSpPr>
            <p:cNvPr id="12" name="Rectangle 19"/>
            <p:cNvSpPr>
              <a:spLocks noChangeArrowheads="1"/>
            </p:cNvSpPr>
            <p:nvPr/>
          </p:nvSpPr>
          <p:spPr bwMode="auto">
            <a:xfrm>
              <a:off x="2457626" y="5119946"/>
              <a:ext cx="2651572" cy="360454"/>
            </a:xfrm>
            <a:prstGeom prst="rect">
              <a:avLst/>
            </a:prstGeom>
            <a:solidFill>
              <a:srgbClr val="FF6600"/>
            </a:solidFill>
            <a:ln w="12700" algn="ctr">
              <a:noFill/>
              <a:miter lim="800000"/>
              <a:headEnd/>
              <a:tailEnd/>
            </a:ln>
            <a:effectLst/>
          </p:spPr>
          <p:txBody>
            <a:bodyPr lIns="0" tIns="0" rIns="0" bIns="0" anchor="ctr"/>
            <a:lstStyle/>
            <a:p>
              <a:pPr algn="ctr">
                <a:spcBef>
                  <a:spcPct val="20000"/>
                </a:spcBef>
                <a:defRPr/>
              </a:pPr>
              <a:r>
                <a:rPr lang="fr-FR" sz="788" b="1">
                  <a:solidFill>
                    <a:schemeClr val="bg1"/>
                  </a:solidFill>
                </a:rPr>
                <a:t>COLLECTION TEAM</a:t>
              </a:r>
            </a:p>
          </p:txBody>
        </p:sp>
        <p:sp>
          <p:nvSpPr>
            <p:cNvPr id="13" name="Rectangle 20"/>
            <p:cNvSpPr>
              <a:spLocks noChangeArrowheads="1"/>
            </p:cNvSpPr>
            <p:nvPr/>
          </p:nvSpPr>
          <p:spPr bwMode="auto">
            <a:xfrm>
              <a:off x="5264470" y="5119946"/>
              <a:ext cx="4369803" cy="360454"/>
            </a:xfrm>
            <a:prstGeom prst="rect">
              <a:avLst/>
            </a:prstGeom>
            <a:solidFill>
              <a:srgbClr val="FFCC66"/>
            </a:solidFill>
            <a:ln w="12700" algn="ctr">
              <a:noFill/>
              <a:miter lim="800000"/>
              <a:headEnd/>
              <a:tailEnd/>
            </a:ln>
            <a:effectLst/>
          </p:spPr>
          <p:txBody>
            <a:bodyPr lIns="0" tIns="0" rIns="0" bIns="0" anchor="ctr"/>
            <a:lstStyle/>
            <a:p>
              <a:pPr algn="ctr">
                <a:spcBef>
                  <a:spcPct val="20000"/>
                </a:spcBef>
                <a:defRPr/>
              </a:pPr>
              <a:r>
                <a:rPr lang="fr-FR" sz="788" b="1">
                  <a:solidFill>
                    <a:schemeClr val="bg1"/>
                  </a:solidFill>
                </a:rPr>
                <a:t>LITIGATION TEAM</a:t>
              </a:r>
            </a:p>
          </p:txBody>
        </p:sp>
        <p:sp>
          <p:nvSpPr>
            <p:cNvPr id="14" name="Rectangle 21"/>
            <p:cNvSpPr>
              <a:spLocks noChangeArrowheads="1"/>
            </p:cNvSpPr>
            <p:nvPr/>
          </p:nvSpPr>
          <p:spPr bwMode="auto">
            <a:xfrm>
              <a:off x="507339" y="5551856"/>
              <a:ext cx="9126934" cy="288999"/>
            </a:xfrm>
            <a:prstGeom prst="rect">
              <a:avLst/>
            </a:prstGeom>
            <a:solidFill>
              <a:srgbClr val="FF6600"/>
            </a:solidFill>
            <a:ln w="12700" algn="ctr">
              <a:noFill/>
              <a:miter lim="800000"/>
              <a:headEnd/>
              <a:tailEnd/>
            </a:ln>
            <a:effectLst/>
          </p:spPr>
          <p:txBody>
            <a:bodyPr lIns="0" tIns="0" rIns="0" bIns="0" anchor="ctr"/>
            <a:lstStyle/>
            <a:p>
              <a:pPr algn="ctr">
                <a:spcBef>
                  <a:spcPct val="20000"/>
                </a:spcBef>
                <a:defRPr/>
              </a:pPr>
              <a:r>
                <a:rPr lang="fr-FR" sz="788" b="1" dirty="0">
                  <a:solidFill>
                    <a:schemeClr val="bg1"/>
                  </a:solidFill>
                </a:rPr>
                <a:t>OVERINDEBTEDNESS</a:t>
              </a:r>
            </a:p>
          </p:txBody>
        </p:sp>
        <p:sp>
          <p:nvSpPr>
            <p:cNvPr id="15" name="AutoShape 23"/>
            <p:cNvSpPr>
              <a:spLocks noChangeArrowheads="1"/>
            </p:cNvSpPr>
            <p:nvPr/>
          </p:nvSpPr>
          <p:spPr bwMode="auto">
            <a:xfrm>
              <a:off x="2960981" y="4508602"/>
              <a:ext cx="1559547" cy="576410"/>
            </a:xfrm>
            <a:prstGeom prst="octagon">
              <a:avLst>
                <a:gd name="adj" fmla="val 29287"/>
              </a:avLst>
            </a:prstGeom>
            <a:solidFill>
              <a:srgbClr val="339966"/>
            </a:solidFill>
            <a:ln w="12700" algn="ctr">
              <a:solidFill>
                <a:schemeClr val="bg1"/>
              </a:solidFill>
              <a:miter lim="800000"/>
              <a:headEnd/>
              <a:tailEnd/>
            </a:ln>
            <a:effectLst/>
          </p:spPr>
          <p:txBody>
            <a:bodyPr wrap="none" lIns="0" tIns="0" rIns="0" bIns="0" anchor="ctr"/>
            <a:lstStyle/>
            <a:p>
              <a:pPr algn="ctr">
                <a:spcBef>
                  <a:spcPct val="20000"/>
                </a:spcBef>
                <a:defRPr/>
              </a:pPr>
              <a:r>
                <a:rPr lang="fr-FR" sz="788" b="1" dirty="0">
                  <a:solidFill>
                    <a:schemeClr val="bg1"/>
                  </a:solidFill>
                </a:rPr>
                <a:t>Scores and</a:t>
              </a:r>
              <a:br>
                <a:rPr lang="fr-FR" sz="788" b="1" dirty="0">
                  <a:solidFill>
                    <a:schemeClr val="bg1"/>
                  </a:solidFill>
                </a:rPr>
              </a:br>
              <a:r>
                <a:rPr lang="fr-FR" sz="788" b="1" dirty="0">
                  <a:solidFill>
                    <a:schemeClr val="bg1"/>
                  </a:solidFill>
                </a:rPr>
                <a:t>collection </a:t>
              </a:r>
              <a:r>
                <a:rPr lang="fr-FR" sz="788" b="1" dirty="0" err="1">
                  <a:solidFill>
                    <a:schemeClr val="bg1"/>
                  </a:solidFill>
                </a:rPr>
                <a:t>strategies</a:t>
              </a:r>
              <a:endParaRPr lang="fr-FR" sz="788" b="1" dirty="0">
                <a:solidFill>
                  <a:schemeClr val="bg1"/>
                </a:solidFill>
              </a:endParaRPr>
            </a:p>
          </p:txBody>
        </p:sp>
        <p:sp>
          <p:nvSpPr>
            <p:cNvPr id="16" name="Rectangle 24"/>
            <p:cNvSpPr>
              <a:spLocks noChangeArrowheads="1"/>
            </p:cNvSpPr>
            <p:nvPr/>
          </p:nvSpPr>
          <p:spPr bwMode="auto">
            <a:xfrm>
              <a:off x="2457626" y="5912309"/>
              <a:ext cx="7176647" cy="288999"/>
            </a:xfrm>
            <a:prstGeom prst="rect">
              <a:avLst/>
            </a:prstGeom>
            <a:solidFill>
              <a:schemeClr val="bg2"/>
            </a:solidFill>
            <a:ln w="12700" algn="ctr">
              <a:noFill/>
              <a:miter lim="800000"/>
              <a:headEnd/>
              <a:tailEnd/>
            </a:ln>
            <a:effectLst/>
          </p:spPr>
          <p:txBody>
            <a:bodyPr lIns="0" tIns="0" rIns="0" bIns="0" anchor="ctr"/>
            <a:lstStyle/>
            <a:p>
              <a:pPr algn="ctr">
                <a:spcBef>
                  <a:spcPct val="20000"/>
                </a:spcBef>
                <a:defRPr/>
              </a:pPr>
              <a:r>
                <a:rPr lang="fr-FR" sz="788" b="1" dirty="0">
                  <a:solidFill>
                    <a:schemeClr val="bg1"/>
                  </a:solidFill>
                </a:rPr>
                <a:t>SPECIALISED TREATMENTS (DECEASED, ADDRESS RESEARCH)</a:t>
              </a:r>
            </a:p>
          </p:txBody>
        </p:sp>
        <p:sp>
          <p:nvSpPr>
            <p:cNvPr id="17" name="AutoShape 2" descr="Dark upward diagonal"/>
            <p:cNvSpPr>
              <a:spLocks noChangeArrowheads="1"/>
            </p:cNvSpPr>
            <p:nvPr/>
          </p:nvSpPr>
          <p:spPr bwMode="auto">
            <a:xfrm>
              <a:off x="3873845" y="3933781"/>
              <a:ext cx="4368097" cy="501778"/>
            </a:xfrm>
            <a:prstGeom prst="chevron">
              <a:avLst>
                <a:gd name="adj" fmla="val 18919"/>
              </a:avLst>
            </a:prstGeom>
            <a:pattFill prst="dkUpDiag">
              <a:fgClr>
                <a:srgbClr val="339966"/>
              </a:fgClr>
              <a:bgClr>
                <a:srgbClr val="FFFFFF"/>
              </a:bgClr>
            </a:pattFill>
            <a:ln w="12700" algn="ctr">
              <a:noFill/>
              <a:miter lim="800000"/>
              <a:headEnd/>
              <a:tailEnd/>
            </a:ln>
            <a:effectLst/>
          </p:spPr>
          <p:txBody>
            <a:bodyPr wrap="none" lIns="0" tIns="0" rIns="0" bIns="0" anchor="ctr"/>
            <a:lstStyle/>
            <a:p>
              <a:pPr algn="ctr">
                <a:spcBef>
                  <a:spcPct val="20000"/>
                </a:spcBef>
                <a:defRPr/>
              </a:pPr>
              <a:endParaRPr lang="fr-FR" sz="788">
                <a:solidFill>
                  <a:schemeClr val="bg1"/>
                </a:solidFill>
              </a:endParaRPr>
            </a:p>
          </p:txBody>
        </p:sp>
        <p:sp>
          <p:nvSpPr>
            <p:cNvPr id="18" name="Line 4"/>
            <p:cNvSpPr>
              <a:spLocks noChangeShapeType="1"/>
            </p:cNvSpPr>
            <p:nvPr/>
          </p:nvSpPr>
          <p:spPr bwMode="auto">
            <a:xfrm>
              <a:off x="2372311" y="1979071"/>
              <a:ext cx="6825" cy="1954710"/>
            </a:xfrm>
            <a:prstGeom prst="line">
              <a:avLst/>
            </a:prstGeom>
            <a:noFill/>
            <a:ln w="9525">
              <a:solidFill>
                <a:srgbClr val="000000"/>
              </a:solidFill>
              <a:prstDash val="dash"/>
              <a:round/>
              <a:headEnd type="triangle" w="med" len="med"/>
              <a:tailEnd/>
            </a:ln>
            <a:effectLst/>
          </p:spPr>
          <p:txBody>
            <a:bodyPr lIns="0" tIns="0" rIns="0" bIns="0"/>
            <a:lstStyle/>
            <a:p>
              <a:pPr>
                <a:defRPr/>
              </a:pPr>
              <a:endParaRPr lang="fr-FR" sz="788"/>
            </a:p>
          </p:txBody>
        </p:sp>
        <p:sp>
          <p:nvSpPr>
            <p:cNvPr id="19" name="Rectangle 5"/>
            <p:cNvSpPr>
              <a:spLocks noChangeArrowheads="1"/>
            </p:cNvSpPr>
            <p:nvPr/>
          </p:nvSpPr>
          <p:spPr bwMode="auto">
            <a:xfrm>
              <a:off x="648960" y="1556688"/>
              <a:ext cx="1730176" cy="220718"/>
            </a:xfrm>
            <a:prstGeom prst="rect">
              <a:avLst/>
            </a:prstGeom>
            <a:solidFill>
              <a:srgbClr val="00CC66"/>
            </a:solidFill>
            <a:ln w="12700" algn="ctr">
              <a:noFill/>
              <a:miter lim="800000"/>
              <a:headEnd/>
              <a:tailEnd/>
            </a:ln>
            <a:effectLst/>
          </p:spPr>
          <p:txBody>
            <a:bodyPr wrap="none" lIns="0" tIns="0" rIns="0" bIns="0" anchor="ctr"/>
            <a:lstStyle/>
            <a:p>
              <a:pPr algn="ctr">
                <a:spcBef>
                  <a:spcPct val="20000"/>
                </a:spcBef>
                <a:defRPr/>
              </a:pPr>
              <a:r>
                <a:rPr lang="fr-FR" sz="788" b="1">
                  <a:solidFill>
                    <a:schemeClr val="bg1"/>
                  </a:solidFill>
                </a:rPr>
                <a:t>0</a:t>
              </a:r>
            </a:p>
          </p:txBody>
        </p:sp>
        <p:sp>
          <p:nvSpPr>
            <p:cNvPr id="20" name="Rectangle 6"/>
            <p:cNvSpPr>
              <a:spLocks noChangeArrowheads="1"/>
            </p:cNvSpPr>
            <p:nvPr/>
          </p:nvSpPr>
          <p:spPr bwMode="auto">
            <a:xfrm>
              <a:off x="2438857" y="1556688"/>
              <a:ext cx="1325785" cy="220718"/>
            </a:xfrm>
            <a:prstGeom prst="rect">
              <a:avLst/>
            </a:prstGeom>
            <a:solidFill>
              <a:srgbClr val="00CC66"/>
            </a:solidFill>
            <a:ln w="12700" algn="ctr">
              <a:noFill/>
              <a:miter lim="800000"/>
              <a:headEnd/>
              <a:tailEnd/>
            </a:ln>
            <a:effectLst/>
          </p:spPr>
          <p:txBody>
            <a:bodyPr wrap="none" lIns="0" tIns="0" rIns="0" bIns="0" anchor="ctr"/>
            <a:lstStyle/>
            <a:p>
              <a:pPr algn="ctr">
                <a:spcBef>
                  <a:spcPct val="20000"/>
                </a:spcBef>
                <a:defRPr/>
              </a:pPr>
              <a:r>
                <a:rPr lang="fr-FR" sz="788" b="1" dirty="0">
                  <a:solidFill>
                    <a:schemeClr val="bg1"/>
                  </a:solidFill>
                </a:rPr>
                <a:t>1-3</a:t>
              </a:r>
            </a:p>
          </p:txBody>
        </p:sp>
        <p:sp>
          <p:nvSpPr>
            <p:cNvPr id="21" name="Rectangle 7"/>
            <p:cNvSpPr>
              <a:spLocks noChangeArrowheads="1"/>
            </p:cNvSpPr>
            <p:nvPr/>
          </p:nvSpPr>
          <p:spPr bwMode="auto">
            <a:xfrm>
              <a:off x="3822656" y="1558276"/>
              <a:ext cx="1325786" cy="215955"/>
            </a:xfrm>
            <a:prstGeom prst="rect">
              <a:avLst/>
            </a:prstGeom>
            <a:solidFill>
              <a:srgbClr val="00CC66"/>
            </a:solidFill>
            <a:ln w="12700" algn="ctr">
              <a:noFill/>
              <a:miter lim="800000"/>
              <a:headEnd/>
              <a:tailEnd/>
            </a:ln>
            <a:effectLst/>
          </p:spPr>
          <p:txBody>
            <a:bodyPr wrap="none" lIns="0" tIns="0" rIns="0" bIns="0" anchor="ctr"/>
            <a:lstStyle/>
            <a:p>
              <a:pPr algn="ctr">
                <a:spcBef>
                  <a:spcPct val="20000"/>
                </a:spcBef>
                <a:defRPr/>
              </a:pPr>
              <a:r>
                <a:rPr lang="fr-FR" sz="788" b="1" dirty="0">
                  <a:solidFill>
                    <a:schemeClr val="bg1"/>
                  </a:solidFill>
                </a:rPr>
                <a:t>4-7</a:t>
              </a:r>
            </a:p>
          </p:txBody>
        </p:sp>
        <p:sp>
          <p:nvSpPr>
            <p:cNvPr id="22" name="Rectangle 8"/>
            <p:cNvSpPr>
              <a:spLocks noChangeArrowheads="1"/>
            </p:cNvSpPr>
            <p:nvPr/>
          </p:nvSpPr>
          <p:spPr bwMode="auto">
            <a:xfrm>
              <a:off x="6591962" y="1556688"/>
              <a:ext cx="3042311" cy="220718"/>
            </a:xfrm>
            <a:prstGeom prst="rect">
              <a:avLst/>
            </a:prstGeom>
            <a:solidFill>
              <a:srgbClr val="00CC66"/>
            </a:solidFill>
            <a:ln w="12700" algn="ctr">
              <a:noFill/>
              <a:miter lim="800000"/>
              <a:headEnd/>
              <a:tailEnd/>
            </a:ln>
            <a:effectLst/>
          </p:spPr>
          <p:txBody>
            <a:bodyPr wrap="none" lIns="0" tIns="0" rIns="0" bIns="0" anchor="ctr"/>
            <a:lstStyle/>
            <a:p>
              <a:pPr algn="ctr">
                <a:spcBef>
                  <a:spcPct val="20000"/>
                </a:spcBef>
                <a:defRPr/>
              </a:pPr>
              <a:r>
                <a:rPr lang="fr-FR" sz="788" b="1">
                  <a:solidFill>
                    <a:schemeClr val="bg1"/>
                  </a:solidFill>
                </a:rPr>
                <a:t>From 9</a:t>
              </a:r>
            </a:p>
          </p:txBody>
        </p:sp>
        <p:sp>
          <p:nvSpPr>
            <p:cNvPr id="23" name="Rectangle 9"/>
            <p:cNvSpPr>
              <a:spLocks noChangeArrowheads="1"/>
            </p:cNvSpPr>
            <p:nvPr/>
          </p:nvSpPr>
          <p:spPr bwMode="auto">
            <a:xfrm>
              <a:off x="631897" y="1232756"/>
              <a:ext cx="9002376" cy="287411"/>
            </a:xfrm>
            <a:prstGeom prst="rect">
              <a:avLst/>
            </a:prstGeom>
            <a:solidFill>
              <a:srgbClr val="339966"/>
            </a:solidFill>
            <a:ln w="12700" algn="ctr">
              <a:noFill/>
              <a:miter lim="800000"/>
              <a:headEnd/>
              <a:tailEnd/>
            </a:ln>
            <a:effectLst/>
          </p:spPr>
          <p:txBody>
            <a:bodyPr wrap="none" lIns="0" tIns="0" rIns="0" bIns="0" anchor="ctr"/>
            <a:lstStyle/>
            <a:p>
              <a:pPr algn="ctr">
                <a:spcBef>
                  <a:spcPct val="20000"/>
                </a:spcBef>
                <a:defRPr/>
              </a:pPr>
              <a:r>
                <a:rPr lang="fr-FR" sz="788" b="1" dirty="0" err="1">
                  <a:solidFill>
                    <a:schemeClr val="bg1"/>
                  </a:solidFill>
                </a:rPr>
                <a:t>Instalments</a:t>
              </a:r>
              <a:r>
                <a:rPr lang="fr-FR" sz="788" b="1" dirty="0">
                  <a:solidFill>
                    <a:schemeClr val="bg1"/>
                  </a:solidFill>
                </a:rPr>
                <a:t> in </a:t>
              </a:r>
              <a:r>
                <a:rPr lang="fr-FR" sz="788" b="1" dirty="0" err="1">
                  <a:solidFill>
                    <a:schemeClr val="bg1"/>
                  </a:solidFill>
                </a:rPr>
                <a:t>arrears</a:t>
              </a:r>
              <a:endParaRPr lang="fr-FR" sz="788" b="1" dirty="0">
                <a:solidFill>
                  <a:schemeClr val="bg1"/>
                </a:solidFill>
              </a:endParaRPr>
            </a:p>
          </p:txBody>
        </p:sp>
        <p:sp>
          <p:nvSpPr>
            <p:cNvPr id="24" name="AutoShape 10"/>
            <p:cNvSpPr>
              <a:spLocks noChangeArrowheads="1"/>
            </p:cNvSpPr>
            <p:nvPr/>
          </p:nvSpPr>
          <p:spPr bwMode="auto">
            <a:xfrm>
              <a:off x="648960" y="2002889"/>
              <a:ext cx="1689225" cy="497015"/>
            </a:xfrm>
            <a:prstGeom prst="chevron">
              <a:avLst>
                <a:gd name="adj" fmla="val 20863"/>
              </a:avLst>
            </a:prstGeom>
            <a:solidFill>
              <a:srgbClr val="339966"/>
            </a:solidFill>
            <a:ln w="12700" algn="ctr">
              <a:noFill/>
              <a:miter lim="800000"/>
              <a:headEnd/>
              <a:tailEnd/>
            </a:ln>
            <a:effectLst/>
          </p:spPr>
          <p:txBody>
            <a:bodyPr wrap="none" lIns="0" tIns="0" rIns="0" bIns="0" anchor="ctr"/>
            <a:lstStyle/>
            <a:p>
              <a:pPr algn="ctr">
                <a:spcBef>
                  <a:spcPct val="20000"/>
                </a:spcBef>
                <a:defRPr/>
              </a:pPr>
              <a:r>
                <a:rPr lang="fr-FR" sz="788" b="1" dirty="0">
                  <a:solidFill>
                    <a:schemeClr val="bg1"/>
                  </a:solidFill>
                </a:rPr>
                <a:t>     Customer </a:t>
              </a:r>
              <a:br>
                <a:rPr lang="fr-FR" sz="788" b="1" dirty="0">
                  <a:solidFill>
                    <a:schemeClr val="bg1"/>
                  </a:solidFill>
                </a:rPr>
              </a:br>
              <a:r>
                <a:rPr lang="fr-FR" sz="788" b="1" dirty="0">
                  <a:solidFill>
                    <a:schemeClr val="bg1"/>
                  </a:solidFill>
                </a:rPr>
                <a:t>Service</a:t>
              </a:r>
            </a:p>
          </p:txBody>
        </p:sp>
        <p:sp>
          <p:nvSpPr>
            <p:cNvPr id="25" name="AutoShape 11"/>
            <p:cNvSpPr>
              <a:spLocks noChangeArrowheads="1"/>
            </p:cNvSpPr>
            <p:nvPr/>
          </p:nvSpPr>
          <p:spPr bwMode="auto">
            <a:xfrm>
              <a:off x="2416675" y="2785726"/>
              <a:ext cx="1544191" cy="487486"/>
            </a:xfrm>
            <a:prstGeom prst="chevron">
              <a:avLst>
                <a:gd name="adj" fmla="val 18126"/>
              </a:avLst>
            </a:prstGeom>
            <a:solidFill>
              <a:srgbClr val="339966"/>
            </a:solidFill>
            <a:ln w="12700" algn="ctr">
              <a:noFill/>
              <a:miter lim="800000"/>
              <a:headEnd/>
              <a:tailEnd/>
            </a:ln>
            <a:effectLst/>
          </p:spPr>
          <p:txBody>
            <a:bodyPr wrap="none" lIns="0" tIns="0" rIns="0" bIns="0" anchor="ctr"/>
            <a:lstStyle/>
            <a:p>
              <a:pPr algn="ctr">
                <a:spcBef>
                  <a:spcPct val="20000"/>
                </a:spcBef>
                <a:defRPr/>
              </a:pPr>
              <a:r>
                <a:rPr lang="fr-FR" sz="788" b="1" dirty="0">
                  <a:solidFill>
                    <a:schemeClr val="bg1"/>
                  </a:solidFill>
                </a:rPr>
                <a:t>    Commercial</a:t>
              </a:r>
              <a:br>
                <a:rPr lang="fr-FR" sz="788" b="1" dirty="0">
                  <a:solidFill>
                    <a:schemeClr val="bg1"/>
                  </a:solidFill>
                </a:rPr>
              </a:br>
              <a:r>
                <a:rPr lang="fr-FR" sz="788" b="1" dirty="0">
                  <a:solidFill>
                    <a:schemeClr val="bg1"/>
                  </a:solidFill>
                </a:rPr>
                <a:t>Collection</a:t>
              </a:r>
            </a:p>
          </p:txBody>
        </p:sp>
        <p:sp>
          <p:nvSpPr>
            <p:cNvPr id="26" name="AutoShape 12"/>
            <p:cNvSpPr>
              <a:spLocks noChangeArrowheads="1"/>
            </p:cNvSpPr>
            <p:nvPr/>
          </p:nvSpPr>
          <p:spPr bwMode="auto">
            <a:xfrm>
              <a:off x="3848251" y="3382778"/>
              <a:ext cx="1356498" cy="477959"/>
            </a:xfrm>
            <a:prstGeom prst="chevron">
              <a:avLst>
                <a:gd name="adj" fmla="val 20594"/>
              </a:avLst>
            </a:prstGeom>
            <a:solidFill>
              <a:srgbClr val="339966"/>
            </a:solidFill>
            <a:ln w="12700" algn="ctr">
              <a:noFill/>
              <a:miter lim="800000"/>
              <a:headEnd/>
              <a:tailEnd/>
            </a:ln>
            <a:effectLst/>
          </p:spPr>
          <p:txBody>
            <a:bodyPr wrap="none" lIns="0" tIns="0" rIns="0" bIns="0" anchor="ctr"/>
            <a:lstStyle/>
            <a:p>
              <a:pPr algn="ctr">
                <a:spcBef>
                  <a:spcPct val="20000"/>
                </a:spcBef>
                <a:defRPr/>
              </a:pPr>
              <a:r>
                <a:rPr lang="fr-FR" sz="788" b="1" dirty="0">
                  <a:solidFill>
                    <a:schemeClr val="bg1"/>
                  </a:solidFill>
                </a:rPr>
                <a:t>    </a:t>
              </a:r>
              <a:r>
                <a:rPr lang="fr-FR" sz="788" b="1" dirty="0" err="1">
                  <a:solidFill>
                    <a:schemeClr val="bg1"/>
                  </a:solidFill>
                </a:rPr>
                <a:t>Pre-litigation</a:t>
              </a:r>
              <a:endParaRPr lang="fr-FR" sz="788" b="1" dirty="0">
                <a:solidFill>
                  <a:schemeClr val="bg1"/>
                </a:solidFill>
              </a:endParaRPr>
            </a:p>
            <a:p>
              <a:pPr algn="ctr">
                <a:spcBef>
                  <a:spcPct val="20000"/>
                </a:spcBef>
                <a:defRPr/>
              </a:pPr>
              <a:r>
                <a:rPr lang="fr-FR" sz="788" b="1" dirty="0">
                  <a:solidFill>
                    <a:schemeClr val="bg1"/>
                  </a:solidFill>
                </a:rPr>
                <a:t>Collection</a:t>
              </a:r>
            </a:p>
          </p:txBody>
        </p:sp>
        <p:sp>
          <p:nvSpPr>
            <p:cNvPr id="27" name="AutoShape 13"/>
            <p:cNvSpPr>
              <a:spLocks noChangeArrowheads="1"/>
            </p:cNvSpPr>
            <p:nvPr/>
          </p:nvSpPr>
          <p:spPr bwMode="auto">
            <a:xfrm>
              <a:off x="5121142" y="3933781"/>
              <a:ext cx="4368097" cy="501778"/>
            </a:xfrm>
            <a:prstGeom prst="chevron">
              <a:avLst>
                <a:gd name="adj" fmla="val 18919"/>
              </a:avLst>
            </a:prstGeom>
            <a:solidFill>
              <a:srgbClr val="339966"/>
            </a:solidFill>
            <a:ln w="12700" algn="ctr">
              <a:noFill/>
              <a:miter lim="800000"/>
              <a:headEnd/>
              <a:tailEnd/>
            </a:ln>
            <a:effectLst/>
          </p:spPr>
          <p:txBody>
            <a:bodyPr wrap="none" lIns="0" tIns="0" rIns="0" bIns="0" anchor="ctr"/>
            <a:lstStyle/>
            <a:p>
              <a:pPr algn="ctr">
                <a:spcBef>
                  <a:spcPct val="20000"/>
                </a:spcBef>
                <a:defRPr/>
              </a:pPr>
              <a:r>
                <a:rPr lang="fr-FR" sz="788" b="1">
                  <a:solidFill>
                    <a:schemeClr val="bg1"/>
                  </a:solidFill>
                </a:rPr>
                <a:t>Litigation</a:t>
              </a:r>
            </a:p>
          </p:txBody>
        </p:sp>
        <p:sp>
          <p:nvSpPr>
            <p:cNvPr id="28" name="Line 14"/>
            <p:cNvSpPr>
              <a:spLocks noChangeShapeType="1"/>
            </p:cNvSpPr>
            <p:nvPr/>
          </p:nvSpPr>
          <p:spPr bwMode="auto">
            <a:xfrm>
              <a:off x="8542249" y="1826632"/>
              <a:ext cx="0" cy="2107148"/>
            </a:xfrm>
            <a:prstGeom prst="line">
              <a:avLst/>
            </a:prstGeom>
            <a:noFill/>
            <a:ln w="9525">
              <a:solidFill>
                <a:srgbClr val="000000"/>
              </a:solidFill>
              <a:prstDash val="dash"/>
              <a:round/>
              <a:headEnd type="triangle" w="med" len="med"/>
              <a:tailEnd/>
            </a:ln>
            <a:effectLst/>
          </p:spPr>
          <p:txBody>
            <a:bodyPr lIns="0" tIns="0" rIns="0" bIns="0"/>
            <a:lstStyle/>
            <a:p>
              <a:pPr>
                <a:defRPr/>
              </a:pPr>
              <a:endParaRPr lang="fr-FR" sz="788"/>
            </a:p>
          </p:txBody>
        </p:sp>
        <p:sp>
          <p:nvSpPr>
            <p:cNvPr id="29" name="Text Box 15"/>
            <p:cNvSpPr txBox="1">
              <a:spLocks noChangeArrowheads="1"/>
            </p:cNvSpPr>
            <p:nvPr/>
          </p:nvSpPr>
          <p:spPr bwMode="auto">
            <a:xfrm>
              <a:off x="7873384" y="1826633"/>
              <a:ext cx="859969" cy="153927"/>
            </a:xfrm>
            <a:prstGeom prst="rect">
              <a:avLst/>
            </a:prstGeom>
            <a:noFill/>
            <a:ln w="12700" algn="ctr">
              <a:noFill/>
              <a:miter lim="800000"/>
              <a:headEnd/>
              <a:tailEnd/>
            </a:ln>
            <a:effectLst/>
          </p:spPr>
          <p:txBody>
            <a:bodyPr lIns="0" tIns="0" rIns="0" bIns="0">
              <a:spAutoFit/>
            </a:bodyPr>
            <a:lstStyle/>
            <a:p>
              <a:pPr>
                <a:spcBef>
                  <a:spcPct val="50000"/>
                </a:spcBef>
                <a:defRPr/>
              </a:pPr>
              <a:r>
                <a:rPr lang="fr-FR" sz="750" b="1" dirty="0" err="1"/>
                <a:t>Write</a:t>
              </a:r>
              <a:r>
                <a:rPr lang="fr-FR" sz="750" b="1" dirty="0"/>
                <a:t>-off</a:t>
              </a:r>
            </a:p>
          </p:txBody>
        </p:sp>
        <p:sp>
          <p:nvSpPr>
            <p:cNvPr id="30" name="Text Box 16"/>
            <p:cNvSpPr txBox="1">
              <a:spLocks noChangeArrowheads="1"/>
            </p:cNvSpPr>
            <p:nvPr/>
          </p:nvSpPr>
          <p:spPr bwMode="auto">
            <a:xfrm>
              <a:off x="2473676" y="1805989"/>
              <a:ext cx="1433282" cy="153927"/>
            </a:xfrm>
            <a:prstGeom prst="rect">
              <a:avLst/>
            </a:prstGeom>
            <a:noFill/>
            <a:ln w="12700" algn="ctr">
              <a:noFill/>
              <a:miter lim="800000"/>
              <a:headEnd/>
              <a:tailEnd/>
            </a:ln>
            <a:effectLst/>
          </p:spPr>
          <p:txBody>
            <a:bodyPr lIns="0" tIns="0" rIns="0" bIns="0">
              <a:spAutoFit/>
            </a:bodyPr>
            <a:lstStyle/>
            <a:p>
              <a:pPr>
                <a:spcBef>
                  <a:spcPct val="50000"/>
                </a:spcBef>
                <a:defRPr/>
              </a:pPr>
              <a:r>
                <a:rPr lang="fr-FR" sz="750" b="1" dirty="0" err="1"/>
                <a:t>Instalments</a:t>
              </a:r>
              <a:r>
                <a:rPr lang="fr-FR" sz="750" b="1" dirty="0"/>
                <a:t> </a:t>
              </a:r>
              <a:r>
                <a:rPr lang="fr-FR" sz="750" b="1" dirty="0" err="1"/>
                <a:t>unpaid</a:t>
              </a:r>
              <a:endParaRPr lang="fr-FR" sz="750" b="1" dirty="0"/>
            </a:p>
          </p:txBody>
        </p:sp>
        <p:sp>
          <p:nvSpPr>
            <p:cNvPr id="31" name="Text Box 17"/>
            <p:cNvSpPr txBox="1">
              <a:spLocks noChangeArrowheads="1"/>
            </p:cNvSpPr>
            <p:nvPr/>
          </p:nvSpPr>
          <p:spPr bwMode="auto">
            <a:xfrm>
              <a:off x="631899" y="1791698"/>
              <a:ext cx="1806958" cy="153927"/>
            </a:xfrm>
            <a:prstGeom prst="rect">
              <a:avLst/>
            </a:prstGeom>
            <a:noFill/>
            <a:ln w="12700" algn="ctr">
              <a:noFill/>
              <a:miter lim="800000"/>
              <a:headEnd/>
              <a:tailEnd/>
            </a:ln>
            <a:effectLst/>
          </p:spPr>
          <p:txBody>
            <a:bodyPr wrap="square" lIns="0" tIns="0" rIns="0" bIns="0">
              <a:spAutoFit/>
            </a:bodyPr>
            <a:lstStyle/>
            <a:p>
              <a:pPr>
                <a:spcBef>
                  <a:spcPct val="50000"/>
                </a:spcBef>
                <a:defRPr/>
              </a:pPr>
              <a:r>
                <a:rPr lang="fr-FR" sz="750" b="1" dirty="0" err="1"/>
                <a:t>Loan</a:t>
              </a:r>
              <a:r>
                <a:rPr lang="fr-FR" sz="750" b="1" dirty="0"/>
                <a:t> </a:t>
              </a:r>
              <a:r>
                <a:rPr lang="fr-FR" sz="750" b="1" dirty="0" err="1"/>
                <a:t>approval</a:t>
              </a:r>
              <a:r>
                <a:rPr lang="fr-FR" sz="750" b="1" dirty="0"/>
                <a:t> and </a:t>
              </a:r>
              <a:r>
                <a:rPr lang="fr-FR" sz="750" b="1" dirty="0" err="1"/>
                <a:t>pay-out</a:t>
              </a:r>
              <a:endParaRPr lang="fr-FR" sz="750" b="1" dirty="0"/>
            </a:p>
          </p:txBody>
        </p:sp>
        <p:sp>
          <p:nvSpPr>
            <p:cNvPr id="32" name="AutoShape 22"/>
            <p:cNvSpPr>
              <a:spLocks noChangeArrowheads="1"/>
            </p:cNvSpPr>
            <p:nvPr/>
          </p:nvSpPr>
          <p:spPr bwMode="auto">
            <a:xfrm>
              <a:off x="6279711" y="4508602"/>
              <a:ext cx="1559547" cy="576410"/>
            </a:xfrm>
            <a:prstGeom prst="octagon">
              <a:avLst>
                <a:gd name="adj" fmla="val 29287"/>
              </a:avLst>
            </a:prstGeom>
            <a:solidFill>
              <a:srgbClr val="339966"/>
            </a:solidFill>
            <a:ln w="12700" algn="ctr">
              <a:solidFill>
                <a:schemeClr val="bg1"/>
              </a:solidFill>
              <a:miter lim="800000"/>
              <a:headEnd/>
              <a:tailEnd/>
            </a:ln>
            <a:effectLst/>
          </p:spPr>
          <p:txBody>
            <a:bodyPr wrap="none" lIns="0" tIns="0" rIns="0" bIns="0" anchor="ctr"/>
            <a:lstStyle/>
            <a:p>
              <a:pPr algn="ctr">
                <a:spcBef>
                  <a:spcPct val="20000"/>
                </a:spcBef>
                <a:defRPr/>
              </a:pPr>
              <a:r>
                <a:rPr lang="fr-FR" sz="788" b="1" dirty="0" err="1">
                  <a:solidFill>
                    <a:schemeClr val="bg1"/>
                  </a:solidFill>
                </a:rPr>
                <a:t>Litigation</a:t>
              </a:r>
              <a:r>
                <a:rPr lang="fr-FR" sz="788" b="1" dirty="0">
                  <a:solidFill>
                    <a:schemeClr val="bg1"/>
                  </a:solidFill>
                </a:rPr>
                <a:t> </a:t>
              </a:r>
              <a:br>
                <a:rPr lang="fr-FR" sz="788" b="1" dirty="0">
                  <a:solidFill>
                    <a:schemeClr val="bg1"/>
                  </a:solidFill>
                </a:rPr>
              </a:br>
              <a:r>
                <a:rPr lang="fr-FR" sz="788" b="1" dirty="0">
                  <a:solidFill>
                    <a:schemeClr val="bg1"/>
                  </a:solidFill>
                </a:rPr>
                <a:t>collection </a:t>
              </a:r>
              <a:r>
                <a:rPr lang="fr-FR" sz="788" b="1" dirty="0" err="1">
                  <a:solidFill>
                    <a:schemeClr val="bg1"/>
                  </a:solidFill>
                </a:rPr>
                <a:t>strategies</a:t>
              </a:r>
              <a:endParaRPr lang="fr-FR" sz="788" b="1" dirty="0">
                <a:solidFill>
                  <a:schemeClr val="bg1"/>
                </a:solidFill>
              </a:endParaRPr>
            </a:p>
          </p:txBody>
        </p:sp>
        <p:sp>
          <p:nvSpPr>
            <p:cNvPr id="33" name="Text Box 26"/>
            <p:cNvSpPr txBox="1">
              <a:spLocks noChangeArrowheads="1"/>
            </p:cNvSpPr>
            <p:nvPr/>
          </p:nvSpPr>
          <p:spPr bwMode="auto">
            <a:xfrm>
              <a:off x="5264470" y="1826633"/>
              <a:ext cx="1366736" cy="307854"/>
            </a:xfrm>
            <a:prstGeom prst="rect">
              <a:avLst/>
            </a:prstGeom>
            <a:solidFill>
              <a:schemeClr val="bg1"/>
            </a:solidFill>
            <a:ln w="12700" algn="ctr">
              <a:noFill/>
              <a:miter lim="800000"/>
              <a:headEnd/>
              <a:tailEnd/>
            </a:ln>
            <a:effectLst/>
          </p:spPr>
          <p:txBody>
            <a:bodyPr lIns="54000" tIns="0" rIns="54000" bIns="0">
              <a:spAutoFit/>
            </a:bodyPr>
            <a:lstStyle/>
            <a:p>
              <a:pPr>
                <a:spcBef>
                  <a:spcPct val="50000"/>
                </a:spcBef>
                <a:defRPr/>
              </a:pPr>
              <a:r>
                <a:rPr lang="fr-FR" sz="750" b="1" dirty="0" err="1"/>
                <a:t>Loan</a:t>
              </a:r>
              <a:r>
                <a:rPr lang="fr-FR" sz="750" b="1" dirty="0"/>
                <a:t> </a:t>
              </a:r>
              <a:r>
                <a:rPr lang="fr-FR" sz="750" b="1" dirty="0" err="1"/>
                <a:t>acceleration</a:t>
              </a:r>
              <a:r>
                <a:rPr lang="fr-FR" sz="750" b="1" dirty="0"/>
                <a:t>*</a:t>
              </a:r>
            </a:p>
          </p:txBody>
        </p:sp>
        <p:sp>
          <p:nvSpPr>
            <p:cNvPr id="34" name="Rectangle 27"/>
            <p:cNvSpPr>
              <a:spLocks noChangeArrowheads="1"/>
            </p:cNvSpPr>
            <p:nvPr/>
          </p:nvSpPr>
          <p:spPr bwMode="auto">
            <a:xfrm>
              <a:off x="5206456" y="1558276"/>
              <a:ext cx="1327492" cy="215955"/>
            </a:xfrm>
            <a:prstGeom prst="rect">
              <a:avLst/>
            </a:prstGeom>
            <a:solidFill>
              <a:srgbClr val="00CC66"/>
            </a:solidFill>
            <a:ln w="12700" algn="ctr">
              <a:noFill/>
              <a:miter lim="800000"/>
              <a:headEnd/>
              <a:tailEnd/>
            </a:ln>
            <a:effectLst/>
          </p:spPr>
          <p:txBody>
            <a:bodyPr wrap="none" lIns="0" tIns="0" rIns="0" bIns="0" anchor="ctr"/>
            <a:lstStyle/>
            <a:p>
              <a:pPr algn="ctr">
                <a:spcBef>
                  <a:spcPct val="20000"/>
                </a:spcBef>
                <a:defRPr/>
              </a:pPr>
              <a:r>
                <a:rPr lang="fr-FR" sz="788" b="1" dirty="0">
                  <a:solidFill>
                    <a:schemeClr val="bg1"/>
                  </a:solidFill>
                </a:rPr>
                <a:t>7-8</a:t>
              </a:r>
            </a:p>
          </p:txBody>
        </p:sp>
      </p:grpSp>
    </p:spTree>
    <p:extLst>
      <p:ext uri="{BB962C8B-B14F-4D97-AF65-F5344CB8AC3E}">
        <p14:creationId xmlns:p14="http://schemas.microsoft.com/office/powerpoint/2010/main" val="15762260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solidFill>
                  <a:prstClr val="black"/>
                </a:solidFill>
              </a:rPr>
              <a:t>Collections – </a:t>
            </a:r>
            <a:r>
              <a:rPr lang="fr-FR" dirty="0" err="1">
                <a:solidFill>
                  <a:prstClr val="black"/>
                </a:solidFill>
              </a:rPr>
              <a:t>amicable</a:t>
            </a:r>
            <a:r>
              <a:rPr lang="fr-FR" dirty="0">
                <a:solidFill>
                  <a:prstClr val="black"/>
                </a:solidFill>
              </a:rPr>
              <a:t> </a:t>
            </a:r>
            <a:r>
              <a:rPr lang="fr-FR" dirty="0" err="1">
                <a:solidFill>
                  <a:prstClr val="black"/>
                </a:solidFill>
              </a:rPr>
              <a:t>recovery</a:t>
            </a:r>
            <a:endParaRPr lang="en-US" dirty="0">
              <a:solidFill>
                <a:prstClr val="black"/>
              </a:solidFill>
            </a:endParaRPr>
          </a:p>
        </p:txBody>
      </p:sp>
      <p:sp>
        <p:nvSpPr>
          <p:cNvPr id="3" name="Slide Number Placeholder 2"/>
          <p:cNvSpPr>
            <a:spLocks noGrp="1"/>
          </p:cNvSpPr>
          <p:nvPr>
            <p:ph type="sldNum" sz="quarter" idx="19"/>
          </p:nvPr>
        </p:nvSpPr>
        <p:spPr/>
        <p:txBody>
          <a:bodyPr/>
          <a:lstStyle/>
          <a:p>
            <a:fld id="{98BD2159-827C-4021-9B0E-DCD852BEB59E}" type="slidenum">
              <a:rPr lang="en-GB" smtClean="0"/>
              <a:pPr/>
              <a:t>44</a:t>
            </a:fld>
            <a:endParaRPr lang="en-GB" dirty="0"/>
          </a:p>
        </p:txBody>
      </p:sp>
      <p:sp>
        <p:nvSpPr>
          <p:cNvPr id="8" name="TextBox 10"/>
          <p:cNvSpPr txBox="1"/>
          <p:nvPr/>
        </p:nvSpPr>
        <p:spPr>
          <a:xfrm>
            <a:off x="437140" y="1239586"/>
            <a:ext cx="8014826" cy="2617640"/>
          </a:xfrm>
          <a:prstGeom prst="rect">
            <a:avLst/>
          </a:prstGeom>
          <a:noFill/>
          <a:ln w="25400">
            <a:noFill/>
          </a:ln>
        </p:spPr>
        <p:txBody>
          <a:bodyPr wrap="square" rtlCol="0" anchor="t">
            <a:spAutoFit/>
          </a:bodyPr>
          <a:lstStyle/>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Generally, accounts with 1 to 4 instalments in arrears until 05-2021, and with 1 to 3 instalments in arrear since that date</a:t>
            </a:r>
          </a:p>
          <a:p>
            <a:pPr marL="8554" lvl="3" algn="just" defTabSz="457189" eaLnBrk="0" fontAlgn="base" hangingPunct="0">
              <a:lnSpc>
                <a:spcPts val="1100"/>
              </a:lnSpc>
              <a:spcBef>
                <a:spcPct val="20000"/>
              </a:spcBef>
              <a:buClr>
                <a:srgbClr val="009B5F"/>
              </a:buClr>
              <a:buSzPct val="133000"/>
              <a:tabLst>
                <a:tab pos="803255" algn="l"/>
              </a:tabLst>
              <a:defRPr/>
            </a:pPr>
            <a:endParaRPr lang="en-US" sz="11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Combination of automatically generated letters and </a:t>
            </a:r>
            <a:r>
              <a:rPr lang="en-US" sz="1100" kern="0" dirty="0" err="1">
                <a:solidFill>
                  <a:prstClr val="black"/>
                </a:solidFill>
              </a:rPr>
              <a:t>personalised</a:t>
            </a:r>
            <a:r>
              <a:rPr lang="en-US" sz="1100" kern="0" dirty="0">
                <a:solidFill>
                  <a:prstClr val="black"/>
                </a:solidFill>
              </a:rPr>
              <a:t> calls to the customer by a collection agent</a:t>
            </a:r>
          </a:p>
          <a:p>
            <a:pPr marL="8554" lvl="3" algn="just" defTabSz="457189" eaLnBrk="0" fontAlgn="base" hangingPunct="0">
              <a:lnSpc>
                <a:spcPts val="1100"/>
              </a:lnSpc>
              <a:spcBef>
                <a:spcPct val="20000"/>
              </a:spcBef>
              <a:buClr>
                <a:srgbClr val="009B5F"/>
              </a:buClr>
              <a:buSzPct val="133000"/>
              <a:tabLst>
                <a:tab pos="803255" algn="l"/>
              </a:tabLst>
              <a:defRPr/>
            </a:pPr>
            <a:endParaRPr lang="en-US" sz="11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Objective is to allow customer to return to current status by:</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Spreading the payment of the arrears over a maximum period of 4 months</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100" kern="0" dirty="0">
              <a:solidFill>
                <a:prstClr val="black"/>
              </a:solidFill>
            </a:endParaRP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Deferring the payment of one or two consecutive monthly instalment(s) (allowed twice in any twelve months rolling period) subject to the arrears being cleared off; and  </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100" kern="0" dirty="0">
              <a:solidFill>
                <a:prstClr val="black"/>
              </a:solidFill>
            </a:endParaRP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Allowing a maturity extension in order to reduce the applicable monthly instalment</a:t>
            </a:r>
          </a:p>
          <a:p>
            <a:pPr marL="465754" lvl="4" algn="just" defTabSz="457189" eaLnBrk="0" fontAlgn="base" hangingPunct="0">
              <a:lnSpc>
                <a:spcPts val="1100"/>
              </a:lnSpc>
              <a:spcBef>
                <a:spcPct val="20000"/>
              </a:spcBef>
              <a:buClr>
                <a:srgbClr val="009B5F"/>
              </a:buClr>
              <a:buSzPct val="133000"/>
              <a:tabLst>
                <a:tab pos="803255" algn="l"/>
              </a:tabLst>
              <a:defRPr/>
            </a:pPr>
            <a:endParaRPr lang="en-US" sz="11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In order to have access to these options, the loan must be at least 6 months seasoned and not subject to any </a:t>
            </a:r>
            <a:r>
              <a:rPr lang="en-US" sz="1100" kern="0" dirty="0" err="1">
                <a:solidFill>
                  <a:prstClr val="black"/>
                </a:solidFill>
              </a:rPr>
              <a:t>overindebtedness</a:t>
            </a:r>
            <a:r>
              <a:rPr lang="en-US" sz="1100" kern="0" dirty="0">
                <a:solidFill>
                  <a:prstClr val="black"/>
                </a:solidFill>
              </a:rPr>
              <a:t> procedure</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200" kern="0" dirty="0">
              <a:solidFill>
                <a:prstClr val="black"/>
              </a:solidFill>
            </a:endParaRPr>
          </a:p>
        </p:txBody>
      </p:sp>
    </p:spTree>
    <p:extLst>
      <p:ext uri="{BB962C8B-B14F-4D97-AF65-F5344CB8AC3E}">
        <p14:creationId xmlns:p14="http://schemas.microsoft.com/office/powerpoint/2010/main" val="33435629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solidFill>
                  <a:prstClr val="black"/>
                </a:solidFill>
              </a:rPr>
              <a:t>Collections – Pre-</a:t>
            </a:r>
            <a:r>
              <a:rPr lang="fr-FR" dirty="0" err="1">
                <a:solidFill>
                  <a:prstClr val="black"/>
                </a:solidFill>
              </a:rPr>
              <a:t>litigation</a:t>
            </a:r>
            <a:endParaRPr lang="en-US" dirty="0">
              <a:solidFill>
                <a:prstClr val="black"/>
              </a:solidFill>
            </a:endParaRPr>
          </a:p>
        </p:txBody>
      </p:sp>
      <p:sp>
        <p:nvSpPr>
          <p:cNvPr id="3" name="Slide Number Placeholder 2"/>
          <p:cNvSpPr>
            <a:spLocks noGrp="1"/>
          </p:cNvSpPr>
          <p:nvPr>
            <p:ph type="sldNum" sz="quarter" idx="19"/>
          </p:nvPr>
        </p:nvSpPr>
        <p:spPr/>
        <p:txBody>
          <a:bodyPr/>
          <a:lstStyle/>
          <a:p>
            <a:fld id="{98BD2159-827C-4021-9B0E-DCD852BEB59E}" type="slidenum">
              <a:rPr lang="en-GB" smtClean="0"/>
              <a:pPr/>
              <a:t>45</a:t>
            </a:fld>
            <a:endParaRPr lang="en-GB" dirty="0"/>
          </a:p>
        </p:txBody>
      </p:sp>
      <p:sp>
        <p:nvSpPr>
          <p:cNvPr id="6" name="TextBox 10"/>
          <p:cNvSpPr txBox="1"/>
          <p:nvPr/>
        </p:nvSpPr>
        <p:spPr>
          <a:xfrm>
            <a:off x="504452" y="997708"/>
            <a:ext cx="8099798" cy="495777"/>
          </a:xfrm>
          <a:prstGeom prst="rect">
            <a:avLst/>
          </a:prstGeom>
          <a:noFill/>
          <a:ln w="25400">
            <a:noFill/>
          </a:ln>
        </p:spPr>
        <p:txBody>
          <a:bodyPr wrap="square" rtlCol="0">
            <a:spAutoFit/>
          </a:bodyPr>
          <a:lstStyle/>
          <a:p>
            <a:pPr marL="723893" lvl="3" indent="-180971" algn="just" defTabSz="457189" fontAlgn="base">
              <a:lnSpc>
                <a:spcPct val="117000"/>
              </a:lnSpc>
              <a:spcBef>
                <a:spcPts val="1200"/>
              </a:spcBef>
              <a:spcAft>
                <a:spcPts val="300"/>
              </a:spcAft>
              <a:buClr>
                <a:srgbClr val="009B5F"/>
              </a:buClr>
              <a:buSzPct val="133000"/>
              <a:buFont typeface="Wingdings" panose="05000000000000000000" pitchFamily="2" charset="2"/>
              <a:buChar char="§"/>
              <a:tabLst>
                <a:tab pos="803255" algn="l"/>
              </a:tabLst>
              <a:defRPr/>
            </a:pPr>
            <a:endParaRPr lang="en-GB" sz="800" dirty="0">
              <a:solidFill>
                <a:prstClr val="black"/>
              </a:solidFill>
              <a:latin typeface="Arial" panose="020B0604020202020204" pitchFamily="34" charset="0"/>
              <a:ea typeface="MS PGothic" pitchFamily="34" charset="-128"/>
              <a:cs typeface="Arial" panose="020B0604020202020204" pitchFamily="34" charset="0"/>
            </a:endParaRPr>
          </a:p>
          <a:p>
            <a:pPr marL="266693" lvl="2" indent="-180971" algn="just" defTabSz="457189" fontAlgn="base">
              <a:lnSpc>
                <a:spcPct val="117000"/>
              </a:lnSpc>
              <a:spcBef>
                <a:spcPts val="600"/>
              </a:spcBef>
              <a:spcAft>
                <a:spcPts val="600"/>
              </a:spcAft>
              <a:buClr>
                <a:srgbClr val="009B5F"/>
              </a:buClr>
              <a:buSzPct val="133000"/>
              <a:buFont typeface="Wingdings" panose="05000000000000000000" pitchFamily="2" charset="2"/>
              <a:buChar char="§"/>
              <a:tabLst>
                <a:tab pos="803255" algn="l"/>
              </a:tabLst>
              <a:defRPr/>
            </a:pPr>
            <a:endParaRPr lang="fr-FR" sz="800" dirty="0">
              <a:solidFill>
                <a:prstClr val="black"/>
              </a:solidFill>
              <a:latin typeface="Arial" panose="020B0604020202020204" pitchFamily="34" charset="0"/>
              <a:ea typeface="MS PGothic" pitchFamily="34" charset="-128"/>
              <a:cs typeface="Arial" panose="020B0604020202020204" pitchFamily="34" charset="0"/>
            </a:endParaRPr>
          </a:p>
        </p:txBody>
      </p:sp>
      <p:graphicFrame>
        <p:nvGraphicFramePr>
          <p:cNvPr id="8" name="Group 4"/>
          <p:cNvGraphicFramePr>
            <a:graphicFrameLocks noGrp="1"/>
          </p:cNvGraphicFramePr>
          <p:nvPr>
            <p:extLst>
              <p:ext uri="{D42A27DB-BD31-4B8C-83A1-F6EECF244321}">
                <p14:modId xmlns:p14="http://schemas.microsoft.com/office/powerpoint/2010/main" val="4270529834"/>
              </p:ext>
            </p:extLst>
          </p:nvPr>
        </p:nvGraphicFramePr>
        <p:xfrm>
          <a:off x="517607" y="809414"/>
          <a:ext cx="6436258" cy="3872509"/>
        </p:xfrm>
        <a:graphic>
          <a:graphicData uri="http://schemas.openxmlformats.org/drawingml/2006/table">
            <a:tbl>
              <a:tblPr/>
              <a:tblGrid>
                <a:gridCol w="6436258">
                  <a:extLst>
                    <a:ext uri="{9D8B030D-6E8A-4147-A177-3AD203B41FA5}">
                      <a16:colId xmlns:a16="http://schemas.microsoft.com/office/drawing/2014/main" val="20000"/>
                    </a:ext>
                  </a:extLst>
                </a:gridCol>
              </a:tblGrid>
              <a:tr h="55804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800" b="1" i="0" u="none" strike="noStrike" cap="none" normalizeH="0" baseline="0" dirty="0" err="1">
                          <a:ln>
                            <a:noFill/>
                          </a:ln>
                          <a:solidFill>
                            <a:schemeClr val="bg1"/>
                          </a:solidFill>
                          <a:effectLst/>
                          <a:latin typeface="Arial" charset="0"/>
                          <a:ea typeface="SimSun" pitchFamily="2" charset="-122"/>
                          <a:cs typeface="Times New Roman" pitchFamily="18" charset="0"/>
                        </a:rPr>
                        <a:t>Pre-litigation</a:t>
                      </a:r>
                      <a:endParaRPr kumimoji="0" lang="fr-FR" sz="800" b="1" i="0" u="none" strike="noStrike" cap="none" normalizeH="0" baseline="30000" dirty="0">
                        <a:ln>
                          <a:noFill/>
                        </a:ln>
                        <a:solidFill>
                          <a:schemeClr val="bg1"/>
                        </a:solidFill>
                        <a:effectLst/>
                        <a:latin typeface="Arial" charset="0"/>
                        <a:ea typeface="SimSun" pitchFamily="2" charset="-122"/>
                        <a:cs typeface="Times New Roman" pitchFamily="18" charset="0"/>
                      </a:endParaRPr>
                    </a:p>
                  </a:txBody>
                  <a:tcPr marL="99050" marR="99050" marT="45728" marB="45728" anchor="ctr"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solidFill>
                      <a:srgbClr val="006448"/>
                    </a:solidFill>
                  </a:tcPr>
                </a:tc>
                <a:extLst>
                  <a:ext uri="{0D108BD9-81ED-4DB2-BD59-A6C34878D82A}">
                    <a16:rowId xmlns:a16="http://schemas.microsoft.com/office/drawing/2014/main" val="10000"/>
                  </a:ext>
                </a:extLst>
              </a:tr>
              <a:tr h="4658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000" marR="0" lvl="3" indent="-171446" algn="just" defTabSz="457189" rtl="0" eaLnBrk="0" fontAlgn="base" latinLnBrk="0" hangingPunct="0">
                        <a:lnSpc>
                          <a:spcPts val="1100"/>
                        </a:lnSpc>
                        <a:spcBef>
                          <a:spcPct val="20000"/>
                        </a:spcBef>
                        <a:spcAft>
                          <a:spcPct val="0"/>
                        </a:spcAft>
                        <a:buClr>
                          <a:srgbClr val="009B5F"/>
                        </a:buClr>
                        <a:buSzPct val="133000"/>
                        <a:buFont typeface="Wingdings" panose="05000000000000000000" pitchFamily="2" charset="2"/>
                        <a:buChar char="§"/>
                        <a:tabLst>
                          <a:tab pos="803255" algn="l"/>
                        </a:tabLst>
                        <a:defRPr/>
                      </a:pPr>
                      <a:r>
                        <a:rPr lang="en-US" sz="1000" kern="0" dirty="0">
                          <a:solidFill>
                            <a:prstClr val="black"/>
                          </a:solidFill>
                          <a:latin typeface="+mn-lt"/>
                          <a:ea typeface="+mn-ea"/>
                          <a:cs typeface="+mn-cs"/>
                        </a:rPr>
                        <a:t>Accounts with more than 4 instalments in arrears until 05-2021 and more than 3 instalments in arrears since that date.</a:t>
                      </a:r>
                      <a:endParaRPr lang="fr-FR" sz="1000" kern="0" dirty="0">
                        <a:solidFill>
                          <a:prstClr val="black"/>
                        </a:solidFill>
                        <a:latin typeface="+mn-lt"/>
                        <a:ea typeface="+mn-ea"/>
                        <a:cs typeface="+mn-cs"/>
                      </a:endParaRPr>
                    </a:p>
                  </a:txBody>
                  <a:tcPr marL="99050" marR="99050" marT="45728" marB="45728" anchor="ctr"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0470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000" marR="0" lvl="3" indent="-171446" algn="just" defTabSz="457189" rtl="0" eaLnBrk="0" fontAlgn="base" latinLnBrk="0" hangingPunct="0">
                        <a:lnSpc>
                          <a:spcPts val="1100"/>
                        </a:lnSpc>
                        <a:spcBef>
                          <a:spcPct val="20000"/>
                        </a:spcBef>
                        <a:spcAft>
                          <a:spcPct val="0"/>
                        </a:spcAft>
                        <a:buClr>
                          <a:srgbClr val="009B5F"/>
                        </a:buClr>
                        <a:buSzPct val="133000"/>
                        <a:buFont typeface="Wingdings" panose="05000000000000000000" pitchFamily="2" charset="2"/>
                        <a:buChar char="§"/>
                        <a:tabLst>
                          <a:tab pos="803255" algn="l"/>
                        </a:tabLst>
                        <a:defRPr/>
                      </a:pPr>
                      <a:r>
                        <a:rPr lang="fr-FR" sz="1000" kern="0" dirty="0">
                          <a:solidFill>
                            <a:prstClr val="black"/>
                          </a:solidFill>
                          <a:latin typeface="+mn-lt"/>
                          <a:ea typeface="+mn-ea"/>
                          <a:cs typeface="+mn-cs"/>
                        </a:rPr>
                        <a:t>Objective: </a:t>
                      </a:r>
                      <a:r>
                        <a:rPr lang="fr-FR" sz="1000" kern="0" dirty="0" err="1">
                          <a:solidFill>
                            <a:prstClr val="black"/>
                          </a:solidFill>
                          <a:latin typeface="+mn-lt"/>
                          <a:ea typeface="+mn-ea"/>
                          <a:cs typeface="+mn-cs"/>
                        </a:rPr>
                        <a:t>Recover</a:t>
                      </a:r>
                      <a:r>
                        <a:rPr lang="fr-FR" sz="1000" kern="0" dirty="0">
                          <a:solidFill>
                            <a:prstClr val="black"/>
                          </a:solidFill>
                          <a:latin typeface="+mn-lt"/>
                          <a:ea typeface="+mn-ea"/>
                          <a:cs typeface="+mn-cs"/>
                        </a:rPr>
                        <a:t> </a:t>
                      </a:r>
                      <a:r>
                        <a:rPr lang="fr-FR" sz="1000" kern="0" dirty="0" err="1">
                          <a:solidFill>
                            <a:prstClr val="black"/>
                          </a:solidFill>
                          <a:latin typeface="+mn-lt"/>
                          <a:ea typeface="+mn-ea"/>
                          <a:cs typeface="+mn-cs"/>
                        </a:rPr>
                        <a:t>late</a:t>
                      </a:r>
                      <a:r>
                        <a:rPr lang="fr-FR" sz="1000" kern="0" dirty="0">
                          <a:solidFill>
                            <a:prstClr val="black"/>
                          </a:solidFill>
                          <a:latin typeface="+mn-lt"/>
                          <a:ea typeface="+mn-ea"/>
                          <a:cs typeface="+mn-cs"/>
                        </a:rPr>
                        <a:t> </a:t>
                      </a:r>
                      <a:r>
                        <a:rPr lang="fr-FR" sz="1000" kern="0" dirty="0" err="1">
                          <a:solidFill>
                            <a:prstClr val="black"/>
                          </a:solidFill>
                          <a:latin typeface="+mn-lt"/>
                          <a:ea typeface="+mn-ea"/>
                          <a:cs typeface="+mn-cs"/>
                        </a:rPr>
                        <a:t>payments</a:t>
                      </a:r>
                      <a:r>
                        <a:rPr lang="fr-FR" sz="1000" kern="0" dirty="0">
                          <a:solidFill>
                            <a:prstClr val="black"/>
                          </a:solidFill>
                          <a:latin typeface="+mn-lt"/>
                          <a:ea typeface="+mn-ea"/>
                          <a:cs typeface="+mn-cs"/>
                        </a:rPr>
                        <a:t> and </a:t>
                      </a:r>
                      <a:r>
                        <a:rPr lang="fr-FR" sz="1000" kern="0" dirty="0" err="1">
                          <a:solidFill>
                            <a:prstClr val="black"/>
                          </a:solidFill>
                          <a:latin typeface="+mn-lt"/>
                          <a:ea typeface="+mn-ea"/>
                          <a:cs typeface="+mn-cs"/>
                        </a:rPr>
                        <a:t>limit</a:t>
                      </a:r>
                      <a:r>
                        <a:rPr lang="fr-FR" sz="1000" kern="0" dirty="0">
                          <a:solidFill>
                            <a:prstClr val="black"/>
                          </a:solidFill>
                          <a:latin typeface="+mn-lt"/>
                          <a:ea typeface="+mn-ea"/>
                          <a:cs typeface="+mn-cs"/>
                        </a:rPr>
                        <a:t> the entry in </a:t>
                      </a:r>
                      <a:r>
                        <a:rPr lang="fr-FR" sz="1000" kern="0" dirty="0" err="1">
                          <a:solidFill>
                            <a:prstClr val="black"/>
                          </a:solidFill>
                          <a:latin typeface="+mn-lt"/>
                          <a:ea typeface="+mn-ea"/>
                          <a:cs typeface="+mn-cs"/>
                        </a:rPr>
                        <a:t>litigation</a:t>
                      </a:r>
                      <a:r>
                        <a:rPr lang="fr-FR" sz="1000" kern="0" dirty="0">
                          <a:solidFill>
                            <a:prstClr val="black"/>
                          </a:solidFill>
                          <a:latin typeface="+mn-lt"/>
                          <a:ea typeface="+mn-ea"/>
                          <a:cs typeface="+mn-cs"/>
                        </a:rPr>
                        <a:t> process.</a:t>
                      </a:r>
                    </a:p>
                  </a:txBody>
                  <a:tcPr marL="99050" marR="99050" marT="45728" marB="45728" anchor="ctr"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6757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000" marR="0" lvl="3" indent="-171446" algn="just" defTabSz="457189" rtl="0" eaLnBrk="0" fontAlgn="base" latinLnBrk="0" hangingPunct="0">
                        <a:lnSpc>
                          <a:spcPts val="1100"/>
                        </a:lnSpc>
                        <a:spcBef>
                          <a:spcPct val="20000"/>
                        </a:spcBef>
                        <a:spcAft>
                          <a:spcPct val="0"/>
                        </a:spcAft>
                        <a:buClr>
                          <a:srgbClr val="009B5F"/>
                        </a:buClr>
                        <a:buSzPct val="133000"/>
                        <a:buFont typeface="Wingdings" panose="05000000000000000000" pitchFamily="2" charset="2"/>
                        <a:buChar char="§"/>
                        <a:tabLst>
                          <a:tab pos="803255" algn="l"/>
                        </a:tabLst>
                        <a:defRPr/>
                      </a:pPr>
                      <a:r>
                        <a:rPr lang="en-US" sz="1000" kern="0" dirty="0">
                          <a:solidFill>
                            <a:prstClr val="black"/>
                          </a:solidFill>
                          <a:latin typeface="+mn-lt"/>
                          <a:ea typeface="+mn-ea"/>
                          <a:cs typeface="+mn-cs"/>
                        </a:rPr>
                        <a:t>Depending on the circumstances, appointment of a bailiff </a:t>
                      </a:r>
                    </a:p>
                  </a:txBody>
                  <a:tcPr marL="99050" marR="99050" marT="45728" marB="45728" anchor="ctr"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658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000" marR="0" lvl="3" indent="-171446" algn="just" defTabSz="457189" rtl="0" eaLnBrk="0" fontAlgn="base" latinLnBrk="0" hangingPunct="0">
                        <a:lnSpc>
                          <a:spcPts val="1100"/>
                        </a:lnSpc>
                        <a:spcBef>
                          <a:spcPct val="20000"/>
                        </a:spcBef>
                        <a:spcAft>
                          <a:spcPct val="0"/>
                        </a:spcAft>
                        <a:buClr>
                          <a:srgbClr val="009B5F"/>
                        </a:buClr>
                        <a:buSzPct val="133000"/>
                        <a:buFont typeface="Wingdings" panose="05000000000000000000" pitchFamily="2" charset="2"/>
                        <a:buChar char="§"/>
                        <a:tabLst>
                          <a:tab pos="803255" algn="l"/>
                        </a:tabLst>
                        <a:defRPr/>
                      </a:pPr>
                      <a:r>
                        <a:rPr lang="en-US" sz="1000" kern="0" dirty="0">
                          <a:solidFill>
                            <a:prstClr val="black"/>
                          </a:solidFill>
                          <a:latin typeface="+mn-lt"/>
                          <a:ea typeface="+mn-ea"/>
                          <a:cs typeface="+mn-cs"/>
                        </a:rPr>
                        <a:t>Country-wide coverage: network of 14 bailiffs, working in close cooperation with CA CF</a:t>
                      </a:r>
                      <a:endParaRPr lang="fr-FR" sz="1000" kern="0" dirty="0">
                        <a:solidFill>
                          <a:prstClr val="black"/>
                        </a:solidFill>
                        <a:latin typeface="+mn-lt"/>
                        <a:ea typeface="+mn-ea"/>
                        <a:cs typeface="+mn-cs"/>
                      </a:endParaRPr>
                    </a:p>
                  </a:txBody>
                  <a:tcPr marL="99050" marR="99050" marT="45728" marB="45728" anchor="ctr"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6757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000" marR="0" lvl="3" indent="-171446" algn="just" defTabSz="457189" rtl="0" eaLnBrk="0" fontAlgn="base" latinLnBrk="0" hangingPunct="0">
                        <a:lnSpc>
                          <a:spcPts val="1100"/>
                        </a:lnSpc>
                        <a:spcBef>
                          <a:spcPct val="20000"/>
                        </a:spcBef>
                        <a:spcAft>
                          <a:spcPct val="0"/>
                        </a:spcAft>
                        <a:buClr>
                          <a:srgbClr val="009B5F"/>
                        </a:buClr>
                        <a:buSzPct val="133000"/>
                        <a:buFont typeface="Wingdings" panose="05000000000000000000" pitchFamily="2" charset="2"/>
                        <a:buChar char="§"/>
                        <a:tabLst>
                          <a:tab pos="803255" algn="l"/>
                        </a:tabLst>
                        <a:defRPr/>
                      </a:pPr>
                      <a:r>
                        <a:rPr lang="en-US" sz="1000" kern="0" dirty="0">
                          <a:solidFill>
                            <a:prstClr val="black"/>
                          </a:solidFill>
                          <a:latin typeface="+mn-lt"/>
                          <a:ea typeface="+mn-ea"/>
                          <a:cs typeface="+mn-cs"/>
                        </a:rPr>
                        <a:t>Contacts &amp; meetings :</a:t>
                      </a:r>
                    </a:p>
                  </a:txBody>
                  <a:tcPr marL="99050" marR="99050" marT="45728" marB="45728" anchor="ctr"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84282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542923" lvl="3" indent="-180971" algn="just" defTabSz="457189" fontAlgn="base">
                        <a:lnSpc>
                          <a:spcPct val="90000"/>
                        </a:lnSpc>
                        <a:spcBef>
                          <a:spcPts val="300"/>
                        </a:spcBef>
                        <a:spcAft>
                          <a:spcPts val="300"/>
                        </a:spcAft>
                        <a:buClr>
                          <a:srgbClr val="009B5F"/>
                        </a:buClr>
                        <a:buSzPct val="133000"/>
                        <a:buFont typeface="Wingdings" panose="05000000000000000000" pitchFamily="2" charset="2"/>
                        <a:buChar char="§"/>
                        <a:tabLst>
                          <a:tab pos="803255" algn="l"/>
                        </a:tabLst>
                        <a:defRPr/>
                      </a:pPr>
                      <a:r>
                        <a:rPr lang="en-US" sz="1000" b="0" dirty="0">
                          <a:solidFill>
                            <a:prstClr val="black"/>
                          </a:solidFill>
                          <a:latin typeface="Arial" panose="020B0604020202020204" pitchFamily="34" charset="0"/>
                          <a:ea typeface="MS PGothic" pitchFamily="34" charset="-128"/>
                          <a:cs typeface="Arial" panose="020B0604020202020204" pitchFamily="34" charset="0"/>
                        </a:rPr>
                        <a:t>Inquiry about the situation of the debtors in order to find a solution to remedy the situation </a:t>
                      </a:r>
                    </a:p>
                    <a:p>
                      <a:pPr marL="542923" lvl="3" indent="-180971" algn="just" defTabSz="457189" fontAlgn="base">
                        <a:lnSpc>
                          <a:spcPct val="90000"/>
                        </a:lnSpc>
                        <a:spcBef>
                          <a:spcPts val="300"/>
                        </a:spcBef>
                        <a:spcAft>
                          <a:spcPts val="300"/>
                        </a:spcAft>
                        <a:buClr>
                          <a:srgbClr val="009B5F"/>
                        </a:buClr>
                        <a:buSzPct val="133000"/>
                        <a:buFont typeface="Wingdings" panose="05000000000000000000" pitchFamily="2" charset="2"/>
                        <a:buChar char="§"/>
                        <a:tabLst>
                          <a:tab pos="803255" algn="l"/>
                        </a:tabLst>
                        <a:defRPr/>
                      </a:pPr>
                      <a:r>
                        <a:rPr lang="en-US" sz="1000" b="0" dirty="0">
                          <a:solidFill>
                            <a:prstClr val="black"/>
                          </a:solidFill>
                          <a:latin typeface="Arial" panose="020B0604020202020204" pitchFamily="34" charset="0"/>
                          <a:ea typeface="MS PGothic" pitchFamily="34" charset="-128"/>
                          <a:cs typeface="Arial" panose="020B0604020202020204" pitchFamily="34" charset="0"/>
                        </a:rPr>
                        <a:t>Explanation of the judicial procedure that might be proceeded with, should the amicable phase fail </a:t>
                      </a:r>
                    </a:p>
                  </a:txBody>
                  <a:tcPr marL="99050" marR="99050" marT="45728" marB="45728" anchor="ctr" horzOverflow="overflow">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0576286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solidFill>
                  <a:prstClr val="black"/>
                </a:solidFill>
              </a:rPr>
              <a:t>Collections – </a:t>
            </a:r>
            <a:r>
              <a:rPr lang="fr-FR" dirty="0" err="1">
                <a:solidFill>
                  <a:prstClr val="black"/>
                </a:solidFill>
              </a:rPr>
              <a:t>overindebtedness</a:t>
            </a:r>
            <a:endParaRPr lang="en-US" dirty="0">
              <a:solidFill>
                <a:prstClr val="black"/>
              </a:solidFill>
            </a:endParaRPr>
          </a:p>
        </p:txBody>
      </p:sp>
      <p:sp>
        <p:nvSpPr>
          <p:cNvPr id="3" name="Slide Number Placeholder 2"/>
          <p:cNvSpPr>
            <a:spLocks noGrp="1"/>
          </p:cNvSpPr>
          <p:nvPr>
            <p:ph type="sldNum" sz="quarter" idx="19"/>
          </p:nvPr>
        </p:nvSpPr>
        <p:spPr/>
        <p:txBody>
          <a:bodyPr/>
          <a:lstStyle/>
          <a:p>
            <a:fld id="{98BD2159-827C-4021-9B0E-DCD852BEB59E}" type="slidenum">
              <a:rPr lang="en-GB" smtClean="0"/>
              <a:pPr/>
              <a:t>46</a:t>
            </a:fld>
            <a:endParaRPr lang="en-GB" dirty="0"/>
          </a:p>
        </p:txBody>
      </p:sp>
      <p:sp>
        <p:nvSpPr>
          <p:cNvPr id="7" name="TextBox 10"/>
          <p:cNvSpPr txBox="1"/>
          <p:nvPr/>
        </p:nvSpPr>
        <p:spPr>
          <a:xfrm>
            <a:off x="415552" y="3489499"/>
            <a:ext cx="8099798" cy="819520"/>
          </a:xfrm>
          <a:prstGeom prst="rect">
            <a:avLst/>
          </a:prstGeom>
          <a:noFill/>
          <a:ln w="25400">
            <a:noFill/>
          </a:ln>
        </p:spPr>
        <p:txBody>
          <a:bodyPr wrap="square" rtlCol="0">
            <a:spAutoFit/>
          </a:bodyPr>
          <a:lstStyle/>
          <a:p>
            <a:pPr marL="257172" lvl="2" indent="-171450" algn="just" defTabSz="457189" fontAlgn="base">
              <a:lnSpc>
                <a:spcPct val="117000"/>
              </a:lnSpc>
              <a:spcBef>
                <a:spcPts val="300"/>
              </a:spcBef>
              <a:spcAft>
                <a:spcPts val="300"/>
              </a:spcAft>
              <a:buClr>
                <a:srgbClr val="009B5F"/>
              </a:buClr>
              <a:buSzPct val="133000"/>
              <a:buFont typeface="Wingdings" panose="05000000000000000000" pitchFamily="2" charset="2"/>
              <a:buChar char="§"/>
              <a:tabLst>
                <a:tab pos="803255" algn="l"/>
              </a:tabLst>
              <a:defRPr/>
            </a:pPr>
            <a:endParaRPr lang="en-US" sz="800" dirty="0">
              <a:solidFill>
                <a:prstClr val="black"/>
              </a:solidFill>
              <a:latin typeface="Arial" panose="020B0604020202020204" pitchFamily="34" charset="0"/>
              <a:ea typeface="MS PGothic" pitchFamily="34" charset="-128"/>
              <a:cs typeface="Arial" panose="020B0604020202020204" pitchFamily="34" charset="0"/>
            </a:endParaRPr>
          </a:p>
          <a:p>
            <a:pPr marL="723893" lvl="3" indent="-180971" algn="just" defTabSz="457189" fontAlgn="base">
              <a:lnSpc>
                <a:spcPct val="117000"/>
              </a:lnSpc>
              <a:spcBef>
                <a:spcPts val="1200"/>
              </a:spcBef>
              <a:spcAft>
                <a:spcPts val="300"/>
              </a:spcAft>
              <a:buClr>
                <a:srgbClr val="009B5F"/>
              </a:buClr>
              <a:buSzPct val="133000"/>
              <a:buFont typeface="Wingdings" panose="05000000000000000000" pitchFamily="2" charset="2"/>
              <a:buChar char="§"/>
              <a:tabLst>
                <a:tab pos="803255" algn="l"/>
              </a:tabLst>
              <a:defRPr/>
            </a:pPr>
            <a:endParaRPr lang="en-GB" sz="800" dirty="0">
              <a:solidFill>
                <a:prstClr val="black"/>
              </a:solidFill>
              <a:latin typeface="Arial" panose="020B0604020202020204" pitchFamily="34" charset="0"/>
              <a:ea typeface="MS PGothic" pitchFamily="34" charset="-128"/>
              <a:cs typeface="Arial" panose="020B0604020202020204" pitchFamily="34" charset="0"/>
            </a:endParaRPr>
          </a:p>
          <a:p>
            <a:pPr marL="266693" lvl="2" indent="-180971" algn="just" defTabSz="457189" fontAlgn="base">
              <a:lnSpc>
                <a:spcPct val="117000"/>
              </a:lnSpc>
              <a:spcBef>
                <a:spcPts val="600"/>
              </a:spcBef>
              <a:spcAft>
                <a:spcPts val="600"/>
              </a:spcAft>
              <a:buClr>
                <a:srgbClr val="009B5F"/>
              </a:buClr>
              <a:buSzPct val="133000"/>
              <a:buFont typeface="Wingdings" panose="05000000000000000000" pitchFamily="2" charset="2"/>
              <a:buChar char="§"/>
              <a:tabLst>
                <a:tab pos="803255" algn="l"/>
              </a:tabLst>
              <a:defRPr/>
            </a:pPr>
            <a:endParaRPr lang="fr-FR" sz="800"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8" name="TextBox 10"/>
          <p:cNvSpPr txBox="1"/>
          <p:nvPr/>
        </p:nvSpPr>
        <p:spPr>
          <a:xfrm>
            <a:off x="517987" y="863193"/>
            <a:ext cx="7931069" cy="4747325"/>
          </a:xfrm>
          <a:prstGeom prst="rect">
            <a:avLst/>
          </a:prstGeom>
          <a:noFill/>
          <a:ln w="25400">
            <a:noFill/>
          </a:ln>
        </p:spPr>
        <p:txBody>
          <a:bodyPr wrap="square" rtlCol="0" anchor="t">
            <a:spAutoFit/>
          </a:bodyPr>
          <a:lstStyle/>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Debtors that have filed with the </a:t>
            </a:r>
            <a:r>
              <a:rPr lang="en-US" sz="1100" kern="0" dirty="0" err="1">
                <a:solidFill>
                  <a:prstClr val="black"/>
                </a:solidFill>
              </a:rPr>
              <a:t>Overindebtedness</a:t>
            </a:r>
            <a:r>
              <a:rPr lang="en-US" sz="1100" kern="0" dirty="0">
                <a:solidFill>
                  <a:prstClr val="black"/>
                </a:solidFill>
              </a:rPr>
              <a:t> Commission of Banque de France are managed by a dedicated platform at CACF (19 specialists)</a:t>
            </a:r>
          </a:p>
          <a:p>
            <a:pPr marL="8554" lvl="3" algn="just" defTabSz="457189" eaLnBrk="0" fontAlgn="base" hangingPunct="0">
              <a:lnSpc>
                <a:spcPts val="1100"/>
              </a:lnSpc>
              <a:spcBef>
                <a:spcPct val="20000"/>
              </a:spcBef>
              <a:buClr>
                <a:srgbClr val="009B5F"/>
              </a:buClr>
              <a:buSzPct val="133000"/>
              <a:tabLst>
                <a:tab pos="803255" algn="l"/>
              </a:tabLst>
              <a:defRPr/>
            </a:pPr>
            <a:endParaRPr lang="en-US" sz="11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Since July 1st 2010, amicable recovery is not authorized anymore (except for mortgage loans). For consumer loans, mutual agreement is replaced by a conciliation phase in which the Banque de France imposes its measures and CACF has 30 days to contest. </a:t>
            </a:r>
          </a:p>
          <a:p>
            <a:pPr marL="8554" lvl="3" algn="just" defTabSz="457189" eaLnBrk="0" fontAlgn="base" hangingPunct="0">
              <a:lnSpc>
                <a:spcPts val="1100"/>
              </a:lnSpc>
              <a:spcBef>
                <a:spcPct val="20000"/>
              </a:spcBef>
              <a:buClr>
                <a:srgbClr val="009B5F"/>
              </a:buClr>
              <a:buSzPct val="133000"/>
              <a:tabLst>
                <a:tab pos="803255" algn="l"/>
              </a:tabLst>
              <a:defRPr/>
            </a:pPr>
            <a:endParaRPr lang="en-US" sz="11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During the conciliation phase, the debtor and creditors attempt to reach an agreement which may include:</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Rescheduling part or whole of the debts, such rescheduling not exceeding 7 years</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Moratorium with a limit of 24 months</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Reduction in the interest rate and if necessary of the principal balance</a:t>
            </a:r>
          </a:p>
          <a:p>
            <a:pPr marL="465754" lvl="4" algn="just" defTabSz="457189" eaLnBrk="0" fontAlgn="base" hangingPunct="0">
              <a:lnSpc>
                <a:spcPts val="1100"/>
              </a:lnSpc>
              <a:spcBef>
                <a:spcPct val="20000"/>
              </a:spcBef>
              <a:buClr>
                <a:srgbClr val="009B5F"/>
              </a:buClr>
              <a:buSzPct val="133000"/>
              <a:tabLst>
                <a:tab pos="803255" algn="l"/>
              </a:tabLst>
              <a:defRPr/>
            </a:pPr>
            <a:endParaRPr lang="en-US" sz="11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 If the conciliation phase fails, the Commission may impose the terms of the restructuring to all creditors</a:t>
            </a:r>
          </a:p>
          <a:p>
            <a:pPr marL="8554" lvl="3" algn="just" defTabSz="457189" eaLnBrk="0" fontAlgn="base" hangingPunct="0">
              <a:lnSpc>
                <a:spcPts val="1100"/>
              </a:lnSpc>
              <a:spcBef>
                <a:spcPct val="20000"/>
              </a:spcBef>
              <a:buClr>
                <a:srgbClr val="009B5F"/>
              </a:buClr>
              <a:buSzPct val="133000"/>
              <a:tabLst>
                <a:tab pos="803255" algn="l"/>
              </a:tabLst>
              <a:defRPr/>
            </a:pPr>
            <a:endParaRPr lang="en-US" sz="11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Where the debtor situation is deemed irremediably compromised, the Commission can recommend to proceed to the personal bankruptcy (</a:t>
            </a:r>
            <a:r>
              <a:rPr lang="en-US" sz="1100" kern="0" dirty="0" err="1">
                <a:solidFill>
                  <a:prstClr val="black"/>
                </a:solidFill>
              </a:rPr>
              <a:t>Procédure</a:t>
            </a:r>
            <a:r>
              <a:rPr lang="en-US" sz="1100" kern="0" dirty="0">
                <a:solidFill>
                  <a:prstClr val="black"/>
                </a:solidFill>
              </a:rPr>
              <a:t> de </a:t>
            </a:r>
            <a:r>
              <a:rPr lang="en-US" sz="1100" kern="0" dirty="0" err="1">
                <a:solidFill>
                  <a:prstClr val="black"/>
                </a:solidFill>
              </a:rPr>
              <a:t>Rétablissement</a:t>
            </a:r>
            <a:r>
              <a:rPr lang="en-US" sz="1100" kern="0" dirty="0">
                <a:solidFill>
                  <a:prstClr val="black"/>
                </a:solidFill>
              </a:rPr>
              <a:t> Personnel) (</a:t>
            </a:r>
            <a:r>
              <a:rPr lang="en-US" sz="1100" kern="0" dirty="0" err="1">
                <a:solidFill>
                  <a:prstClr val="black"/>
                </a:solidFill>
              </a:rPr>
              <a:t>Borloo</a:t>
            </a:r>
            <a:r>
              <a:rPr lang="en-US" sz="1100" kern="0" dirty="0">
                <a:solidFill>
                  <a:prstClr val="black"/>
                </a:solidFill>
              </a:rPr>
              <a:t> Law) </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Judicial liquidation of the debtor's assets</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Twelve months disposal period</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Proceeds distributed to creditors in accordance with their ranking</a:t>
            </a:r>
          </a:p>
          <a:p>
            <a:pPr marL="465754" lvl="4" algn="just" defTabSz="457189" eaLnBrk="0" fontAlgn="base" hangingPunct="0">
              <a:lnSpc>
                <a:spcPts val="1100"/>
              </a:lnSpc>
              <a:spcBef>
                <a:spcPct val="20000"/>
              </a:spcBef>
              <a:buClr>
                <a:srgbClr val="009B5F"/>
              </a:buClr>
              <a:buSzPct val="133000"/>
              <a:tabLst>
                <a:tab pos="803255" algn="l"/>
              </a:tabLst>
              <a:defRPr/>
            </a:pPr>
            <a:endParaRPr lang="en-US" sz="11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Personal bankruptcies are registered in a public register for five years</a:t>
            </a:r>
          </a:p>
          <a:p>
            <a:pPr marL="8554" lvl="3" algn="just" defTabSz="457189" eaLnBrk="0" fontAlgn="base" hangingPunct="0">
              <a:lnSpc>
                <a:spcPts val="1100"/>
              </a:lnSpc>
              <a:spcBef>
                <a:spcPct val="20000"/>
              </a:spcBef>
              <a:buClr>
                <a:srgbClr val="009B5F"/>
              </a:buClr>
              <a:buSzPct val="133000"/>
              <a:tabLst>
                <a:tab pos="803255" algn="l"/>
              </a:tabLst>
              <a:defRPr/>
            </a:pPr>
            <a:endParaRPr lang="en-US" sz="11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100" kern="0" dirty="0">
                <a:solidFill>
                  <a:prstClr val="black"/>
                </a:solidFill>
              </a:rPr>
              <a:t>March 2019: implementation of e-</a:t>
            </a:r>
            <a:r>
              <a:rPr lang="en-US" sz="1100" kern="0" dirty="0" err="1">
                <a:solidFill>
                  <a:prstClr val="black"/>
                </a:solidFill>
              </a:rPr>
              <a:t>suren</a:t>
            </a:r>
            <a:r>
              <a:rPr lang="en-US" sz="1100" kern="0" dirty="0">
                <a:solidFill>
                  <a:prstClr val="black"/>
                </a:solidFill>
              </a:rPr>
              <a:t>: </a:t>
            </a:r>
            <a:r>
              <a:rPr lang="en-US" sz="1100" kern="0" dirty="0" err="1">
                <a:solidFill>
                  <a:prstClr val="black"/>
                </a:solidFill>
              </a:rPr>
              <a:t>overindebtness</a:t>
            </a:r>
            <a:r>
              <a:rPr lang="en-US" sz="1100" kern="0" dirty="0">
                <a:solidFill>
                  <a:prstClr val="black"/>
                </a:solidFill>
              </a:rPr>
              <a:t> workflow management tool: dematerialization of data exchange with the Banque de France</a:t>
            </a:r>
          </a:p>
          <a:p>
            <a:pPr marL="465754" lvl="4" algn="just" defTabSz="457189" eaLnBrk="0" fontAlgn="base" hangingPunct="0">
              <a:lnSpc>
                <a:spcPts val="1100"/>
              </a:lnSpc>
              <a:spcBef>
                <a:spcPct val="20000"/>
              </a:spcBef>
              <a:buClr>
                <a:srgbClr val="009B5F"/>
              </a:buClr>
              <a:buSzPct val="133000"/>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p:txBody>
      </p:sp>
    </p:spTree>
    <p:extLst>
      <p:ext uri="{BB962C8B-B14F-4D97-AF65-F5344CB8AC3E}">
        <p14:creationId xmlns:p14="http://schemas.microsoft.com/office/powerpoint/2010/main" val="23527212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solidFill>
                  <a:schemeClr val="tx1"/>
                </a:solidFill>
              </a:rPr>
              <a:t>Support Customer Agency</a:t>
            </a:r>
          </a:p>
        </p:txBody>
      </p:sp>
      <p:sp>
        <p:nvSpPr>
          <p:cNvPr id="3" name="Espace réservé du numéro de diapositive 2"/>
          <p:cNvSpPr>
            <a:spLocks noGrp="1"/>
          </p:cNvSpPr>
          <p:nvPr>
            <p:ph type="sldNum" sz="quarter" idx="19"/>
          </p:nvPr>
        </p:nvSpPr>
        <p:spPr/>
        <p:txBody>
          <a:bodyPr/>
          <a:lstStyle/>
          <a:p>
            <a:fld id="{98BD2159-827C-4021-9B0E-DCD852BEB59E}" type="slidenum">
              <a:rPr lang="en-GB" smtClean="0"/>
              <a:pPr/>
              <a:t>47</a:t>
            </a:fld>
            <a:endParaRPr lang="en-GB" dirty="0"/>
          </a:p>
        </p:txBody>
      </p:sp>
      <p:grpSp>
        <p:nvGrpSpPr>
          <p:cNvPr id="4" name="Groupe 6"/>
          <p:cNvGrpSpPr>
            <a:grpSpLocks/>
          </p:cNvGrpSpPr>
          <p:nvPr/>
        </p:nvGrpSpPr>
        <p:grpSpPr bwMode="auto">
          <a:xfrm>
            <a:off x="517608" y="1986632"/>
            <a:ext cx="7224163" cy="3079151"/>
            <a:chOff x="704528" y="2977343"/>
            <a:chExt cx="8685674" cy="3529185"/>
          </a:xfrm>
        </p:grpSpPr>
        <p:grpSp>
          <p:nvGrpSpPr>
            <p:cNvPr id="5" name="Group 17"/>
            <p:cNvGrpSpPr>
              <a:grpSpLocks/>
            </p:cNvGrpSpPr>
            <p:nvPr/>
          </p:nvGrpSpPr>
          <p:grpSpPr bwMode="auto">
            <a:xfrm>
              <a:off x="884548" y="3772878"/>
              <a:ext cx="1908212" cy="2716462"/>
              <a:chOff x="961057" y="3437860"/>
              <a:chExt cx="1836204" cy="2922998"/>
            </a:xfrm>
          </p:grpSpPr>
          <p:sp>
            <p:nvSpPr>
              <p:cNvPr id="45" name="Rounded Rectangle 11"/>
              <p:cNvSpPr/>
              <p:nvPr/>
            </p:nvSpPr>
            <p:spPr>
              <a:xfrm>
                <a:off x="961325" y="3437396"/>
                <a:ext cx="1835328" cy="2923178"/>
              </a:xfrm>
              <a:prstGeom prst="roundRect">
                <a:avLst/>
              </a:prstGeom>
              <a:solidFill>
                <a:schemeClr val="bg1">
                  <a:lumMod val="8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a:p>
            </p:txBody>
          </p:sp>
          <p:sp>
            <p:nvSpPr>
              <p:cNvPr id="46" name="Rectangle 45"/>
              <p:cNvSpPr/>
              <p:nvPr/>
            </p:nvSpPr>
            <p:spPr>
              <a:xfrm>
                <a:off x="1129086" y="3730026"/>
                <a:ext cx="1476865" cy="278547"/>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Sale </a:t>
                </a:r>
              </a:p>
            </p:txBody>
          </p:sp>
          <p:sp>
            <p:nvSpPr>
              <p:cNvPr id="47" name="Rectangle 46"/>
              <p:cNvSpPr/>
              <p:nvPr/>
            </p:nvSpPr>
            <p:spPr>
              <a:xfrm>
                <a:off x="1129086" y="4210442"/>
                <a:ext cx="1476865" cy="507018"/>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Customer Relationship </a:t>
                </a:r>
              </a:p>
            </p:txBody>
          </p:sp>
          <p:sp>
            <p:nvSpPr>
              <p:cNvPr id="48" name="Rectangle 47"/>
              <p:cNvSpPr/>
              <p:nvPr/>
            </p:nvSpPr>
            <p:spPr>
              <a:xfrm>
                <a:off x="1129086" y="4917763"/>
                <a:ext cx="1476865" cy="508582"/>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Collection </a:t>
                </a:r>
                <a:br>
                  <a:rPr lang="en-GB" sz="900" b="1" dirty="0">
                    <a:solidFill>
                      <a:schemeClr val="tx1"/>
                    </a:solidFill>
                  </a:rPr>
                </a:br>
                <a:r>
                  <a:rPr lang="en-GB" sz="900" b="1" dirty="0">
                    <a:solidFill>
                      <a:schemeClr val="tx1"/>
                    </a:solidFill>
                  </a:rPr>
                  <a:t>(Amicable)</a:t>
                </a:r>
              </a:p>
            </p:txBody>
          </p:sp>
          <p:sp>
            <p:nvSpPr>
              <p:cNvPr id="49" name="Rectangle 48"/>
              <p:cNvSpPr/>
              <p:nvPr/>
            </p:nvSpPr>
            <p:spPr>
              <a:xfrm>
                <a:off x="1129086" y="5626649"/>
                <a:ext cx="1476865" cy="405302"/>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err="1">
                    <a:solidFill>
                      <a:schemeClr val="tx1"/>
                    </a:solidFill>
                  </a:rPr>
                  <a:t>Overindebtedness</a:t>
                </a:r>
                <a:endParaRPr lang="en-GB" sz="900" b="1" dirty="0">
                  <a:solidFill>
                    <a:schemeClr val="tx1"/>
                  </a:solidFill>
                </a:endParaRPr>
              </a:p>
            </p:txBody>
          </p:sp>
        </p:grpSp>
        <p:grpSp>
          <p:nvGrpSpPr>
            <p:cNvPr id="6" name="Group 22"/>
            <p:cNvGrpSpPr>
              <a:grpSpLocks/>
            </p:cNvGrpSpPr>
            <p:nvPr/>
          </p:nvGrpSpPr>
          <p:grpSpPr bwMode="auto">
            <a:xfrm>
              <a:off x="7409411" y="3669810"/>
              <a:ext cx="1980791" cy="2727680"/>
              <a:chOff x="7509283" y="3429000"/>
              <a:chExt cx="2209344" cy="2801807"/>
            </a:xfrm>
          </p:grpSpPr>
          <p:sp>
            <p:nvSpPr>
              <p:cNvPr id="41" name="Rectangle 40"/>
              <p:cNvSpPr/>
              <p:nvPr/>
            </p:nvSpPr>
            <p:spPr>
              <a:xfrm>
                <a:off x="7689311" y="3824227"/>
                <a:ext cx="1909651" cy="279344"/>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CRESUS Association</a:t>
                </a:r>
              </a:p>
            </p:txBody>
          </p:sp>
          <p:sp>
            <p:nvSpPr>
              <p:cNvPr id="42" name="Rectangle 41"/>
              <p:cNvSpPr/>
              <p:nvPr/>
            </p:nvSpPr>
            <p:spPr>
              <a:xfrm>
                <a:off x="7689311" y="4233534"/>
                <a:ext cx="1909651" cy="1223439"/>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Point </a:t>
                </a:r>
                <a:r>
                  <a:rPr lang="en-GB" sz="900" b="1" dirty="0" err="1">
                    <a:solidFill>
                      <a:schemeClr val="tx1"/>
                    </a:solidFill>
                  </a:rPr>
                  <a:t>Passerelle</a:t>
                </a:r>
                <a:r>
                  <a:rPr lang="en-GB" sz="900" b="1" dirty="0">
                    <a:solidFill>
                      <a:schemeClr val="tx1"/>
                    </a:solidFill>
                  </a:rPr>
                  <a:t> </a:t>
                </a:r>
                <a:br>
                  <a:rPr lang="en-GB" sz="900" b="1" dirty="0">
                    <a:solidFill>
                      <a:schemeClr val="tx1"/>
                    </a:solidFill>
                  </a:rPr>
                </a:br>
                <a:r>
                  <a:rPr lang="en-GB" sz="900" b="1" dirty="0">
                    <a:solidFill>
                      <a:schemeClr val="tx1"/>
                    </a:solidFill>
                  </a:rPr>
                  <a:t>(Charente, </a:t>
                </a:r>
                <a:r>
                  <a:rPr lang="en-GB" sz="900" b="1" dirty="0" err="1">
                    <a:solidFill>
                      <a:schemeClr val="tx1"/>
                    </a:solidFill>
                  </a:rPr>
                  <a:t>Perigord</a:t>
                </a:r>
                <a:r>
                  <a:rPr lang="en-GB" sz="900" b="1" dirty="0">
                    <a:solidFill>
                      <a:schemeClr val="tx1"/>
                    </a:solidFill>
                  </a:rPr>
                  <a:t>, Nord de France, Champagne, Bourgogne, Charente Maritimes, </a:t>
                </a:r>
                <a:r>
                  <a:rPr lang="en-GB" sz="900" b="1" dirty="0" err="1">
                    <a:solidFill>
                      <a:schemeClr val="tx1"/>
                    </a:solidFill>
                  </a:rPr>
                  <a:t>Deux</a:t>
                </a:r>
                <a:r>
                  <a:rPr lang="en-GB" sz="900" b="1" dirty="0">
                    <a:solidFill>
                      <a:schemeClr val="tx1"/>
                    </a:solidFill>
                  </a:rPr>
                  <a:t> Sevres) </a:t>
                </a:r>
              </a:p>
            </p:txBody>
          </p:sp>
          <p:sp>
            <p:nvSpPr>
              <p:cNvPr id="43" name="Rectangle 42"/>
              <p:cNvSpPr/>
              <p:nvPr/>
            </p:nvSpPr>
            <p:spPr>
              <a:xfrm>
                <a:off x="7689311" y="5607849"/>
                <a:ext cx="1909651" cy="507899"/>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Partners Finances / BC Finances </a:t>
                </a:r>
              </a:p>
            </p:txBody>
          </p:sp>
          <p:sp>
            <p:nvSpPr>
              <p:cNvPr id="44" name="Rectangle 43"/>
              <p:cNvSpPr/>
              <p:nvPr/>
            </p:nvSpPr>
            <p:spPr>
              <a:xfrm>
                <a:off x="7509814" y="3428364"/>
                <a:ext cx="2208813" cy="2802407"/>
              </a:xfrm>
              <a:prstGeom prst="rect">
                <a:avLst/>
              </a:prstGeom>
              <a:noFill/>
              <a:ln>
                <a:solidFill>
                  <a:schemeClr val="accent5">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GB" sz="900" b="1" dirty="0">
                    <a:solidFill>
                      <a:schemeClr val="tx1"/>
                    </a:solidFill>
                  </a:rPr>
                  <a:t>Partners / External players </a:t>
                </a:r>
                <a:endParaRPr lang="fr-FR" sz="900" b="1" dirty="0">
                  <a:solidFill>
                    <a:schemeClr val="tx1"/>
                  </a:solidFill>
                </a:endParaRPr>
              </a:p>
            </p:txBody>
          </p:sp>
        </p:grpSp>
        <p:grpSp>
          <p:nvGrpSpPr>
            <p:cNvPr id="7" name="Group 26"/>
            <p:cNvGrpSpPr>
              <a:grpSpLocks/>
            </p:cNvGrpSpPr>
            <p:nvPr/>
          </p:nvGrpSpPr>
          <p:grpSpPr bwMode="auto">
            <a:xfrm>
              <a:off x="3800872" y="3669810"/>
              <a:ext cx="2592288" cy="2769034"/>
              <a:chOff x="3345648" y="3188174"/>
              <a:chExt cx="2592288" cy="2833114"/>
            </a:xfrm>
          </p:grpSpPr>
          <p:grpSp>
            <p:nvGrpSpPr>
              <p:cNvPr id="32" name="Group 10"/>
              <p:cNvGrpSpPr>
                <a:grpSpLocks/>
              </p:cNvGrpSpPr>
              <p:nvPr/>
            </p:nvGrpSpPr>
            <p:grpSpPr bwMode="auto">
              <a:xfrm>
                <a:off x="3345648" y="3188174"/>
                <a:ext cx="2592288" cy="2833114"/>
                <a:chOff x="4124908" y="3429000"/>
                <a:chExt cx="3060340" cy="3024336"/>
              </a:xfrm>
            </p:grpSpPr>
            <p:sp>
              <p:nvSpPr>
                <p:cNvPr id="36" name="Rectangle 35"/>
                <p:cNvSpPr/>
                <p:nvPr/>
              </p:nvSpPr>
              <p:spPr>
                <a:xfrm>
                  <a:off x="4124957" y="3428324"/>
                  <a:ext cx="3060872" cy="3024282"/>
                </a:xfrm>
                <a:prstGeom prst="rect">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br>
                    <a:rPr lang="en-GB" sz="500" b="1" dirty="0">
                      <a:cs typeface="Arial" panose="020B0604020202020204" pitchFamily="34" charset="0"/>
                    </a:rPr>
                  </a:br>
                  <a:r>
                    <a:rPr lang="en-GB" sz="1100" b="1" dirty="0">
                      <a:cs typeface="Arial" panose="020B0604020202020204" pitchFamily="34" charset="0"/>
                    </a:rPr>
                    <a:t>Support Customer Agency </a:t>
                  </a:r>
                  <a:endParaRPr lang="fr-FR" sz="1100" b="1" dirty="0">
                    <a:cs typeface="Arial" panose="020B0604020202020204" pitchFamily="34" charset="0"/>
                  </a:endParaRPr>
                </a:p>
              </p:txBody>
            </p:sp>
            <p:sp>
              <p:nvSpPr>
                <p:cNvPr id="37" name="Rectangle 36"/>
                <p:cNvSpPr/>
                <p:nvPr/>
              </p:nvSpPr>
              <p:spPr>
                <a:xfrm>
                  <a:off x="4413453" y="3777768"/>
                  <a:ext cx="2513784" cy="430452"/>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1. Customer call and evaluation financial situation </a:t>
                  </a:r>
                  <a:endParaRPr lang="fr-FR" sz="900" b="1" dirty="0">
                    <a:solidFill>
                      <a:schemeClr val="tx1"/>
                    </a:solidFill>
                  </a:endParaRPr>
                </a:p>
              </p:txBody>
            </p:sp>
            <p:sp>
              <p:nvSpPr>
                <p:cNvPr id="38" name="Rectangle 37"/>
                <p:cNvSpPr/>
                <p:nvPr/>
              </p:nvSpPr>
              <p:spPr>
                <a:xfrm>
                  <a:off x="4420489" y="4400414"/>
                  <a:ext cx="2513784" cy="459043"/>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2. Proposal of adapted solutions </a:t>
                  </a:r>
                  <a:endParaRPr lang="fr-FR" sz="900" b="1" dirty="0">
                    <a:solidFill>
                      <a:schemeClr val="tx1"/>
                    </a:solidFill>
                  </a:endParaRPr>
                </a:p>
              </p:txBody>
            </p:sp>
            <p:sp>
              <p:nvSpPr>
                <p:cNvPr id="39" name="Rectangle 38"/>
                <p:cNvSpPr/>
                <p:nvPr/>
              </p:nvSpPr>
              <p:spPr>
                <a:xfrm>
                  <a:off x="4445117" y="4997646"/>
                  <a:ext cx="2513784" cy="802134"/>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3. Immediate implementation of the simple solutions or the transfer to the unit </a:t>
                  </a:r>
                  <a:r>
                    <a:rPr lang="en-GB" sz="900" b="1" dirty="0" err="1">
                      <a:solidFill>
                        <a:schemeClr val="tx1"/>
                      </a:solidFill>
                    </a:rPr>
                    <a:t>adhoc</a:t>
                  </a:r>
                  <a:r>
                    <a:rPr lang="en-GB" sz="900" b="1" dirty="0">
                      <a:solidFill>
                        <a:schemeClr val="tx1"/>
                      </a:solidFill>
                    </a:rPr>
                    <a:t> (</a:t>
                  </a:r>
                  <a:r>
                    <a:rPr lang="en-GB" sz="900" b="1" dirty="0" err="1">
                      <a:solidFill>
                        <a:schemeClr val="tx1"/>
                      </a:solidFill>
                    </a:rPr>
                    <a:t>int</a:t>
                  </a:r>
                  <a:r>
                    <a:rPr lang="en-GB" sz="900" b="1" dirty="0">
                      <a:solidFill>
                        <a:schemeClr val="tx1"/>
                      </a:solidFill>
                    </a:rPr>
                    <a:t>/</a:t>
                  </a:r>
                  <a:r>
                    <a:rPr lang="en-GB" sz="900" b="1" dirty="0" err="1">
                      <a:solidFill>
                        <a:schemeClr val="tx1"/>
                      </a:solidFill>
                    </a:rPr>
                    <a:t>ext</a:t>
                  </a:r>
                  <a:r>
                    <a:rPr lang="en-GB" sz="900" b="1" dirty="0">
                      <a:solidFill>
                        <a:schemeClr val="tx1"/>
                      </a:solidFill>
                    </a:rPr>
                    <a:t>) for the </a:t>
                  </a:r>
                  <a:r>
                    <a:rPr lang="en-GB" sz="900" b="1" dirty="0" err="1">
                      <a:solidFill>
                        <a:schemeClr val="tx1"/>
                      </a:solidFill>
                    </a:rPr>
                    <a:t>otbher</a:t>
                  </a:r>
                  <a:r>
                    <a:rPr lang="en-GB" sz="900" b="1" dirty="0">
                      <a:solidFill>
                        <a:schemeClr val="tx1"/>
                      </a:solidFill>
                    </a:rPr>
                    <a:t> cases </a:t>
                  </a:r>
                  <a:endParaRPr lang="fr-FR" sz="900" b="1" dirty="0">
                    <a:solidFill>
                      <a:schemeClr val="tx1"/>
                    </a:solidFill>
                  </a:endParaRPr>
                </a:p>
              </p:txBody>
            </p:sp>
            <p:sp>
              <p:nvSpPr>
                <p:cNvPr id="40" name="Rectangle 39"/>
                <p:cNvSpPr/>
                <p:nvPr/>
              </p:nvSpPr>
              <p:spPr>
                <a:xfrm>
                  <a:off x="4432803" y="6028508"/>
                  <a:ext cx="2513786" cy="360563"/>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3. Monitoring of efficiency </a:t>
                  </a:r>
                  <a:endParaRPr lang="fr-FR" sz="900" b="1" dirty="0">
                    <a:solidFill>
                      <a:schemeClr val="tx1"/>
                    </a:solidFill>
                  </a:endParaRPr>
                </a:p>
              </p:txBody>
            </p:sp>
          </p:grpSp>
          <p:sp>
            <p:nvSpPr>
              <p:cNvPr id="33" name="Down Arrow 23"/>
              <p:cNvSpPr/>
              <p:nvPr/>
            </p:nvSpPr>
            <p:spPr>
              <a:xfrm>
                <a:off x="4336592" y="3876463"/>
                <a:ext cx="575171" cy="221705"/>
              </a:xfrm>
              <a:prstGeom prst="downArrow">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600"/>
              </a:p>
            </p:txBody>
          </p:sp>
          <p:sp>
            <p:nvSpPr>
              <p:cNvPr id="34" name="Down Arrow 24"/>
              <p:cNvSpPr/>
              <p:nvPr/>
            </p:nvSpPr>
            <p:spPr>
              <a:xfrm>
                <a:off x="4336592" y="4507356"/>
                <a:ext cx="575171" cy="260391"/>
              </a:xfrm>
              <a:prstGeom prst="downArrow">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600"/>
              </a:p>
            </p:txBody>
          </p:sp>
          <p:sp>
            <p:nvSpPr>
              <p:cNvPr id="35" name="Down Arrow 25"/>
              <p:cNvSpPr/>
              <p:nvPr/>
            </p:nvSpPr>
            <p:spPr>
              <a:xfrm>
                <a:off x="4336592" y="5382272"/>
                <a:ext cx="575171" cy="302054"/>
              </a:xfrm>
              <a:prstGeom prst="downArrow">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600"/>
              </a:p>
            </p:txBody>
          </p:sp>
        </p:grpSp>
        <p:sp>
          <p:nvSpPr>
            <p:cNvPr id="8" name="Rectangle 7"/>
            <p:cNvSpPr/>
            <p:nvPr/>
          </p:nvSpPr>
          <p:spPr>
            <a:xfrm>
              <a:off x="4171943" y="2977343"/>
              <a:ext cx="1825348" cy="287951"/>
            </a:xfrm>
            <a:prstGeom prst="rect">
              <a:avLst/>
            </a:prstGeom>
            <a:ln>
              <a:solidFill>
                <a:schemeClr val="accent5">
                  <a:lumMod val="50000"/>
                </a:schemeClr>
              </a:solidFill>
              <a:prstDash val="solid"/>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GB" sz="1000" b="1" dirty="0">
                  <a:solidFill>
                    <a:schemeClr val="tx1"/>
                  </a:solidFill>
                </a:rPr>
                <a:t>CUSTOMER</a:t>
              </a:r>
              <a:endParaRPr lang="fr-FR" sz="1000" b="1" dirty="0">
                <a:solidFill>
                  <a:schemeClr val="tx1"/>
                </a:solidFill>
              </a:endParaRPr>
            </a:p>
          </p:txBody>
        </p:sp>
        <p:sp>
          <p:nvSpPr>
            <p:cNvPr id="9" name="Oval 36"/>
            <p:cNvSpPr/>
            <p:nvPr/>
          </p:nvSpPr>
          <p:spPr>
            <a:xfrm>
              <a:off x="3988664" y="5929171"/>
              <a:ext cx="216061" cy="244322"/>
            </a:xfrm>
            <a:prstGeom prst="ellipse">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400" b="1" dirty="0"/>
                <a:t>3</a:t>
              </a:r>
              <a:endParaRPr lang="fr-FR" sz="1400" b="1" dirty="0"/>
            </a:p>
          </p:txBody>
        </p:sp>
        <p:grpSp>
          <p:nvGrpSpPr>
            <p:cNvPr id="10" name="Group 42"/>
            <p:cNvGrpSpPr>
              <a:grpSpLocks/>
            </p:cNvGrpSpPr>
            <p:nvPr/>
          </p:nvGrpSpPr>
          <p:grpSpPr bwMode="auto">
            <a:xfrm>
              <a:off x="6501171" y="5393065"/>
              <a:ext cx="908241" cy="455363"/>
              <a:chOff x="7942506" y="7181987"/>
              <a:chExt cx="759474" cy="602589"/>
            </a:xfrm>
          </p:grpSpPr>
          <p:sp>
            <p:nvSpPr>
              <p:cNvPr id="30" name="Down Arrow 43"/>
              <p:cNvSpPr>
                <a:spLocks noChangeArrowheads="1"/>
              </p:cNvSpPr>
              <p:nvPr/>
            </p:nvSpPr>
            <p:spPr bwMode="auto">
              <a:xfrm rot="5400000" flipV="1">
                <a:off x="8021161" y="7102437"/>
                <a:ext cx="602367" cy="760066"/>
              </a:xfrm>
              <a:prstGeom prst="downArrow">
                <a:avLst>
                  <a:gd name="adj1" fmla="val 50000"/>
                  <a:gd name="adj2" fmla="val 50001"/>
                </a:avLst>
              </a:prstGeom>
              <a:solidFill>
                <a:schemeClr val="bg1"/>
              </a:solidFill>
              <a:ln w="25400" algn="ctr">
                <a:solidFill>
                  <a:schemeClr val="accent5">
                    <a:lumMod val="50000"/>
                  </a:schemeClr>
                </a:solidFill>
                <a:miter lim="800000"/>
                <a:headEnd/>
                <a:tailEnd/>
              </a:ln>
            </p:spPr>
            <p:txBody>
              <a:bodyPr vert="eaVert" anchor="ctr"/>
              <a:lstStyle/>
              <a:p>
                <a:pPr algn="ctr">
                  <a:defRPr/>
                </a:pPr>
                <a:endParaRPr lang="fr-FR" dirty="0">
                  <a:latin typeface="+mn-lt"/>
                  <a:ea typeface="+mn-ea"/>
                  <a:cs typeface="+mn-cs"/>
                </a:endParaRPr>
              </a:p>
            </p:txBody>
          </p:sp>
          <p:sp>
            <p:nvSpPr>
              <p:cNvPr id="31" name="Oval 44"/>
              <p:cNvSpPr/>
              <p:nvPr/>
            </p:nvSpPr>
            <p:spPr>
              <a:xfrm>
                <a:off x="8105538" y="7360264"/>
                <a:ext cx="216806" cy="255959"/>
              </a:xfrm>
              <a:prstGeom prst="ellipse">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50" b="1" dirty="0"/>
                  <a:t>2</a:t>
                </a:r>
                <a:endParaRPr lang="fr-FR" sz="1050" b="1" dirty="0"/>
              </a:p>
            </p:txBody>
          </p:sp>
        </p:grpSp>
        <p:grpSp>
          <p:nvGrpSpPr>
            <p:cNvPr id="11" name="Group 56"/>
            <p:cNvGrpSpPr>
              <a:grpSpLocks/>
            </p:cNvGrpSpPr>
            <p:nvPr/>
          </p:nvGrpSpPr>
          <p:grpSpPr bwMode="auto">
            <a:xfrm>
              <a:off x="3800872" y="3630639"/>
              <a:ext cx="2592288" cy="2786693"/>
              <a:chOff x="3800872" y="3702645"/>
              <a:chExt cx="2592288" cy="2786693"/>
            </a:xfrm>
          </p:grpSpPr>
          <p:grpSp>
            <p:nvGrpSpPr>
              <p:cNvPr id="19" name="Group 45"/>
              <p:cNvGrpSpPr>
                <a:grpSpLocks/>
              </p:cNvGrpSpPr>
              <p:nvPr/>
            </p:nvGrpSpPr>
            <p:grpSpPr bwMode="auto">
              <a:xfrm>
                <a:off x="3800872" y="3702645"/>
                <a:ext cx="2592288" cy="2786693"/>
                <a:chOff x="3345648" y="3188173"/>
                <a:chExt cx="2592288" cy="2851182"/>
              </a:xfrm>
            </p:grpSpPr>
            <p:grpSp>
              <p:nvGrpSpPr>
                <p:cNvPr id="21" name="Group 46"/>
                <p:cNvGrpSpPr>
                  <a:grpSpLocks/>
                </p:cNvGrpSpPr>
                <p:nvPr/>
              </p:nvGrpSpPr>
              <p:grpSpPr bwMode="auto">
                <a:xfrm>
                  <a:off x="3345648" y="3188173"/>
                  <a:ext cx="2592288" cy="2851182"/>
                  <a:chOff x="4124908" y="3429000"/>
                  <a:chExt cx="3060340" cy="3043624"/>
                </a:xfrm>
              </p:grpSpPr>
              <p:sp>
                <p:nvSpPr>
                  <p:cNvPr id="25" name="Rectangle 24"/>
                  <p:cNvSpPr/>
                  <p:nvPr/>
                </p:nvSpPr>
                <p:spPr>
                  <a:xfrm>
                    <a:off x="4124957" y="3428221"/>
                    <a:ext cx="3060872" cy="3044932"/>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br>
                      <a:rPr lang="en-GB" sz="500" b="1" dirty="0">
                        <a:cs typeface="Arial" panose="020B0604020202020204" pitchFamily="34" charset="0"/>
                      </a:rPr>
                    </a:br>
                    <a:r>
                      <a:rPr lang="en-GB" sz="1100" b="1" dirty="0">
                        <a:cs typeface="Arial" panose="020B0604020202020204" pitchFamily="34" charset="0"/>
                      </a:rPr>
                      <a:t>Support Customer Agency </a:t>
                    </a:r>
                    <a:endParaRPr lang="fr-FR" sz="1100" b="1" dirty="0">
                      <a:cs typeface="Arial" panose="020B0604020202020204" pitchFamily="34" charset="0"/>
                    </a:endParaRPr>
                  </a:p>
                </p:txBody>
              </p:sp>
              <p:sp>
                <p:nvSpPr>
                  <p:cNvPr id="26" name="Rectangle 25"/>
                  <p:cNvSpPr/>
                  <p:nvPr/>
                </p:nvSpPr>
                <p:spPr>
                  <a:xfrm>
                    <a:off x="4413453" y="3776076"/>
                    <a:ext cx="2513784" cy="43204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1. Customer call and evaluation financial situation </a:t>
                    </a:r>
                    <a:endParaRPr lang="fr-FR" sz="900" b="1" dirty="0">
                      <a:solidFill>
                        <a:schemeClr val="tx1"/>
                      </a:solidFill>
                    </a:endParaRPr>
                  </a:p>
                </p:txBody>
              </p:sp>
              <p:sp>
                <p:nvSpPr>
                  <p:cNvPr id="27" name="Rectangle 26"/>
                  <p:cNvSpPr/>
                  <p:nvPr/>
                </p:nvSpPr>
                <p:spPr>
                  <a:xfrm>
                    <a:off x="4420489" y="4398723"/>
                    <a:ext cx="2513784" cy="460631"/>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2. Proposal of adapted solutions </a:t>
                    </a:r>
                    <a:endParaRPr lang="fr-FR" sz="900" b="1" dirty="0">
                      <a:solidFill>
                        <a:schemeClr val="tx1"/>
                      </a:solidFill>
                    </a:endParaRPr>
                  </a:p>
                </p:txBody>
              </p:sp>
              <p:sp>
                <p:nvSpPr>
                  <p:cNvPr id="28" name="Rectangle 27"/>
                  <p:cNvSpPr/>
                  <p:nvPr/>
                </p:nvSpPr>
                <p:spPr>
                  <a:xfrm>
                    <a:off x="4445117" y="4999132"/>
                    <a:ext cx="2513784" cy="803722"/>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3. Immediate implementation of the simple solutions or the transfer to the unit </a:t>
                    </a:r>
                    <a:r>
                      <a:rPr lang="en-GB" sz="900" b="1" dirty="0" err="1">
                        <a:solidFill>
                          <a:schemeClr val="tx1"/>
                        </a:solidFill>
                      </a:rPr>
                      <a:t>adhoc</a:t>
                    </a:r>
                    <a:r>
                      <a:rPr lang="en-GB" sz="900" b="1" dirty="0">
                        <a:solidFill>
                          <a:schemeClr val="tx1"/>
                        </a:solidFill>
                      </a:rPr>
                      <a:t> (</a:t>
                    </a:r>
                    <a:r>
                      <a:rPr lang="en-GB" sz="900" b="1" dirty="0" err="1">
                        <a:solidFill>
                          <a:schemeClr val="tx1"/>
                        </a:solidFill>
                      </a:rPr>
                      <a:t>int</a:t>
                    </a:r>
                    <a:r>
                      <a:rPr lang="en-GB" sz="900" b="1" dirty="0">
                        <a:solidFill>
                          <a:schemeClr val="tx1"/>
                        </a:solidFill>
                      </a:rPr>
                      <a:t>/</a:t>
                    </a:r>
                    <a:r>
                      <a:rPr lang="en-GB" sz="900" b="1" dirty="0" err="1">
                        <a:solidFill>
                          <a:schemeClr val="tx1"/>
                        </a:solidFill>
                      </a:rPr>
                      <a:t>ext</a:t>
                    </a:r>
                    <a:r>
                      <a:rPr lang="en-GB" sz="900" b="1" dirty="0">
                        <a:solidFill>
                          <a:schemeClr val="tx1"/>
                        </a:solidFill>
                      </a:rPr>
                      <a:t>) for the other cases </a:t>
                    </a:r>
                    <a:endParaRPr lang="fr-FR" sz="900" b="1" dirty="0">
                      <a:solidFill>
                        <a:schemeClr val="tx1"/>
                      </a:solidFill>
                    </a:endParaRPr>
                  </a:p>
                </p:txBody>
              </p:sp>
              <p:sp>
                <p:nvSpPr>
                  <p:cNvPr id="29" name="Rectangle 28"/>
                  <p:cNvSpPr/>
                  <p:nvPr/>
                </p:nvSpPr>
                <p:spPr>
                  <a:xfrm>
                    <a:off x="4432803" y="6031582"/>
                    <a:ext cx="2513786" cy="360564"/>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chemeClr val="tx1"/>
                        </a:solidFill>
                      </a:rPr>
                      <a:t>3. Monitoring of efficiency </a:t>
                    </a:r>
                    <a:endParaRPr lang="fr-FR" sz="900" b="1" dirty="0">
                      <a:solidFill>
                        <a:schemeClr val="tx1"/>
                      </a:solidFill>
                    </a:endParaRPr>
                  </a:p>
                </p:txBody>
              </p:sp>
            </p:grpSp>
            <p:sp>
              <p:nvSpPr>
                <p:cNvPr id="22" name="Down Arrow 47"/>
                <p:cNvSpPr/>
                <p:nvPr/>
              </p:nvSpPr>
              <p:spPr>
                <a:xfrm>
                  <a:off x="4336592" y="3876365"/>
                  <a:ext cx="575171" cy="220217"/>
                </a:xfrm>
                <a:prstGeom prst="downArrow">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600"/>
                </a:p>
              </p:txBody>
            </p:sp>
            <p:sp>
              <p:nvSpPr>
                <p:cNvPr id="23" name="Down Arrow 48"/>
                <p:cNvSpPr/>
                <p:nvPr/>
              </p:nvSpPr>
              <p:spPr>
                <a:xfrm>
                  <a:off x="4336592" y="4507257"/>
                  <a:ext cx="575171" cy="261880"/>
                </a:xfrm>
                <a:prstGeom prst="downArrow">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600"/>
                </a:p>
              </p:txBody>
            </p:sp>
            <p:sp>
              <p:nvSpPr>
                <p:cNvPr id="24" name="Down Arrow 49"/>
                <p:cNvSpPr/>
                <p:nvPr/>
              </p:nvSpPr>
              <p:spPr>
                <a:xfrm>
                  <a:off x="4336592" y="5383663"/>
                  <a:ext cx="575171" cy="302054"/>
                </a:xfrm>
                <a:prstGeom prst="downArrow">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600"/>
                </a:p>
              </p:txBody>
            </p:sp>
          </p:grpSp>
          <p:sp>
            <p:nvSpPr>
              <p:cNvPr id="20" name="Oval 55"/>
              <p:cNvSpPr/>
              <p:nvPr/>
            </p:nvSpPr>
            <p:spPr>
              <a:xfrm>
                <a:off x="3988663" y="5963366"/>
                <a:ext cx="216061" cy="244322"/>
              </a:xfrm>
              <a:prstGeom prst="ellipse">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dirty="0"/>
                  <a:t>3</a:t>
                </a:r>
                <a:endParaRPr lang="fr-FR" sz="1200" b="1" dirty="0"/>
              </a:p>
            </p:txBody>
          </p:sp>
        </p:grpSp>
        <p:grpSp>
          <p:nvGrpSpPr>
            <p:cNvPr id="12" name="Group 35"/>
            <p:cNvGrpSpPr>
              <a:grpSpLocks/>
            </p:cNvGrpSpPr>
            <p:nvPr/>
          </p:nvGrpSpPr>
          <p:grpSpPr bwMode="auto">
            <a:xfrm>
              <a:off x="2567940" y="5265204"/>
              <a:ext cx="1484960" cy="455363"/>
              <a:chOff x="2801966" y="3978741"/>
              <a:chExt cx="1241728" cy="602589"/>
            </a:xfrm>
          </p:grpSpPr>
          <p:sp>
            <p:nvSpPr>
              <p:cNvPr id="17" name="Down Arrow 32"/>
              <p:cNvSpPr>
                <a:spLocks noChangeArrowheads="1"/>
              </p:cNvSpPr>
              <p:nvPr/>
            </p:nvSpPr>
            <p:spPr bwMode="auto">
              <a:xfrm rot="16200000" flipV="1">
                <a:off x="3120898" y="3659519"/>
                <a:ext cx="604292" cy="1241025"/>
              </a:xfrm>
              <a:prstGeom prst="downArrow">
                <a:avLst>
                  <a:gd name="adj1" fmla="val 50000"/>
                  <a:gd name="adj2" fmla="val 50004"/>
                </a:avLst>
              </a:prstGeom>
              <a:solidFill>
                <a:schemeClr val="bg1"/>
              </a:solidFill>
              <a:ln w="25400" algn="ctr">
                <a:solidFill>
                  <a:schemeClr val="accent5">
                    <a:lumMod val="50000"/>
                  </a:schemeClr>
                </a:solidFill>
                <a:miter lim="800000"/>
                <a:headEnd/>
                <a:tailEnd/>
              </a:ln>
            </p:spPr>
            <p:txBody>
              <a:bodyPr rot="10800000" vert="eaVert" anchor="ctr"/>
              <a:lstStyle/>
              <a:p>
                <a:pPr algn="ctr">
                  <a:defRPr/>
                </a:pPr>
                <a:endParaRPr lang="fr-FR" dirty="0">
                  <a:latin typeface="+mn-lt"/>
                  <a:ea typeface="+mn-ea"/>
                  <a:cs typeface="+mn-cs"/>
                </a:endParaRPr>
              </a:p>
            </p:txBody>
          </p:sp>
          <p:sp>
            <p:nvSpPr>
              <p:cNvPr id="18" name="Oval 34"/>
              <p:cNvSpPr/>
              <p:nvPr/>
            </p:nvSpPr>
            <p:spPr>
              <a:xfrm>
                <a:off x="3314642" y="4149165"/>
                <a:ext cx="216806" cy="257883"/>
              </a:xfrm>
              <a:prstGeom prst="ellipse">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50" b="1" dirty="0"/>
                  <a:t>2</a:t>
                </a:r>
                <a:endParaRPr lang="fr-FR" sz="1050" b="1" dirty="0"/>
              </a:p>
            </p:txBody>
          </p:sp>
        </p:grpSp>
        <p:sp>
          <p:nvSpPr>
            <p:cNvPr id="13" name="Rectangle 12"/>
            <p:cNvSpPr/>
            <p:nvPr/>
          </p:nvSpPr>
          <p:spPr>
            <a:xfrm>
              <a:off x="704528" y="3500492"/>
              <a:ext cx="5796410" cy="3006036"/>
            </a:xfrm>
            <a:prstGeom prst="rect">
              <a:avLst/>
            </a:prstGeom>
            <a:noFill/>
            <a:ln>
              <a:solidFill>
                <a:schemeClr val="accent5">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GB" sz="1100" b="1" dirty="0" err="1">
                  <a:solidFill>
                    <a:schemeClr val="tx1"/>
                  </a:solidFill>
                </a:rPr>
                <a:t>Crédit</a:t>
              </a:r>
              <a:r>
                <a:rPr lang="en-GB" sz="1100" b="1" dirty="0">
                  <a:solidFill>
                    <a:schemeClr val="tx1"/>
                  </a:solidFill>
                </a:rPr>
                <a:t> </a:t>
              </a:r>
              <a:r>
                <a:rPr lang="en-GB" sz="1100" b="1" dirty="0" err="1">
                  <a:solidFill>
                    <a:schemeClr val="tx1"/>
                  </a:solidFill>
                </a:rPr>
                <a:t>Agricole</a:t>
              </a:r>
              <a:r>
                <a:rPr lang="en-GB" sz="1100" b="1" dirty="0">
                  <a:solidFill>
                    <a:schemeClr val="tx1"/>
                  </a:solidFill>
                </a:rPr>
                <a:t> Consumer Finance</a:t>
              </a:r>
              <a:endParaRPr lang="fr-FR" sz="1100" b="1" dirty="0">
                <a:solidFill>
                  <a:schemeClr val="tx1"/>
                </a:solidFill>
              </a:endParaRPr>
            </a:p>
          </p:txBody>
        </p:sp>
        <p:grpSp>
          <p:nvGrpSpPr>
            <p:cNvPr id="14" name="Group 30"/>
            <p:cNvGrpSpPr>
              <a:grpSpLocks/>
            </p:cNvGrpSpPr>
            <p:nvPr/>
          </p:nvGrpSpPr>
          <p:grpSpPr bwMode="auto">
            <a:xfrm>
              <a:off x="4717292" y="3212976"/>
              <a:ext cx="709325" cy="552909"/>
              <a:chOff x="4832636" y="3200126"/>
              <a:chExt cx="709325" cy="552909"/>
            </a:xfrm>
          </p:grpSpPr>
          <p:sp>
            <p:nvSpPr>
              <p:cNvPr id="15" name="Down Arrow 27"/>
              <p:cNvSpPr>
                <a:spLocks noChangeArrowheads="1"/>
              </p:cNvSpPr>
              <p:nvPr/>
            </p:nvSpPr>
            <p:spPr bwMode="auto">
              <a:xfrm flipV="1">
                <a:off x="4832656" y="3199691"/>
                <a:ext cx="709278" cy="552633"/>
              </a:xfrm>
              <a:prstGeom prst="downArrow">
                <a:avLst>
                  <a:gd name="adj1" fmla="val 50000"/>
                  <a:gd name="adj2" fmla="val 34616"/>
                </a:avLst>
              </a:prstGeom>
              <a:solidFill>
                <a:schemeClr val="bg1"/>
              </a:solidFill>
              <a:ln w="25400" algn="ctr">
                <a:solidFill>
                  <a:schemeClr val="accent5">
                    <a:lumMod val="50000"/>
                  </a:schemeClr>
                </a:solidFill>
                <a:miter lim="800000"/>
                <a:headEnd/>
                <a:tailEnd/>
              </a:ln>
            </p:spPr>
            <p:txBody>
              <a:bodyPr rot="10800000" anchor="ctr"/>
              <a:lstStyle/>
              <a:p>
                <a:pPr algn="ctr">
                  <a:defRPr/>
                </a:pPr>
                <a:endParaRPr lang="fr-FR" dirty="0">
                  <a:latin typeface="+mn-lt"/>
                  <a:ea typeface="+mn-ea"/>
                  <a:cs typeface="+mn-cs"/>
                </a:endParaRPr>
              </a:p>
            </p:txBody>
          </p:sp>
          <p:sp>
            <p:nvSpPr>
              <p:cNvPr id="16" name="Oval 29"/>
              <p:cNvSpPr/>
              <p:nvPr/>
            </p:nvSpPr>
            <p:spPr>
              <a:xfrm>
                <a:off x="5080009" y="3356755"/>
                <a:ext cx="214572" cy="235596"/>
              </a:xfrm>
              <a:prstGeom prst="ellipse">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dirty="0"/>
                  <a:t>1</a:t>
                </a:r>
                <a:endParaRPr lang="fr-FR" sz="1200" b="1" dirty="0"/>
              </a:p>
            </p:txBody>
          </p:sp>
        </p:grpSp>
      </p:grpSp>
      <p:sp>
        <p:nvSpPr>
          <p:cNvPr id="50" name="Rectangle 49"/>
          <p:cNvSpPr/>
          <p:nvPr/>
        </p:nvSpPr>
        <p:spPr>
          <a:xfrm>
            <a:off x="327640" y="629056"/>
            <a:ext cx="8377677" cy="1313116"/>
          </a:xfrm>
          <a:prstGeom prst="rect">
            <a:avLst/>
          </a:prstGeom>
        </p:spPr>
        <p:txBody>
          <a:bodyPr wrap="square">
            <a:spAutoFit/>
          </a:bodyPr>
          <a:lstStyle/>
          <a:p>
            <a:pPr algn="just">
              <a:lnSpc>
                <a:spcPct val="150000"/>
              </a:lnSpc>
              <a:defRPr/>
            </a:pPr>
            <a:r>
              <a:rPr lang="en-US" sz="900" kern="0" dirty="0">
                <a:ea typeface="ＭＳ Ｐゴシック"/>
              </a:rPr>
              <a:t>This agency is used when there are  signals of  fragility (given by </a:t>
            </a:r>
            <a:r>
              <a:rPr lang="en-US" sz="900" kern="0" dirty="0" err="1">
                <a:ea typeface="ＭＳ Ｐゴシック"/>
              </a:rPr>
              <a:t>underwritting</a:t>
            </a:r>
            <a:r>
              <a:rPr lang="en-US" sz="900" kern="0" dirty="0">
                <a:ea typeface="ＭＳ Ｐゴシック"/>
              </a:rPr>
              <a:t> department) as change of personal situation, decrease of the income, close to the pension, refusal of credit…</a:t>
            </a:r>
          </a:p>
          <a:p>
            <a:pPr lvl="1" algn="just">
              <a:lnSpc>
                <a:spcPct val="150000"/>
              </a:lnSpc>
              <a:buFont typeface="+mj-lt"/>
              <a:buAutoNum type="arabicPeriod"/>
              <a:defRPr/>
            </a:pPr>
            <a:r>
              <a:rPr lang="en-US" sz="900" kern="0" dirty="0">
                <a:ea typeface="ＭＳ Ｐゴシック"/>
              </a:rPr>
              <a:t>Contact with the customers by CACF: Outbound calls (extension to inbound calls under consideration).</a:t>
            </a:r>
          </a:p>
          <a:p>
            <a:pPr lvl="1" algn="just">
              <a:lnSpc>
                <a:spcPct val="150000"/>
              </a:lnSpc>
              <a:buFont typeface="Wingdings" pitchFamily="2" charset="2"/>
              <a:buAutoNum type="arabicPeriod"/>
              <a:defRPr/>
            </a:pPr>
            <a:r>
              <a:rPr lang="en-US" sz="900" kern="0" dirty="0">
                <a:ea typeface="ＭＳ Ｐゴシック"/>
              </a:rPr>
              <a:t>After the </a:t>
            </a:r>
            <a:r>
              <a:rPr lang="en-US" sz="900" kern="0" dirty="0" err="1">
                <a:ea typeface="ＭＳ Ｐゴシック"/>
              </a:rPr>
              <a:t>personalised</a:t>
            </a:r>
            <a:r>
              <a:rPr lang="en-US" sz="900" kern="0" dirty="0">
                <a:ea typeface="ＭＳ Ｐゴシック"/>
              </a:rPr>
              <a:t> balance sheet assessment, introduction of the solution or orientation of the customer towards the concerned service (department) or the external structure for implementation of the solution. </a:t>
            </a:r>
          </a:p>
          <a:p>
            <a:pPr lvl="1" algn="just">
              <a:lnSpc>
                <a:spcPct val="150000"/>
              </a:lnSpc>
              <a:buFont typeface="Wingdings" pitchFamily="2" charset="2"/>
              <a:buAutoNum type="arabicPeriod"/>
              <a:defRPr/>
            </a:pPr>
            <a:r>
              <a:rPr lang="en-US" sz="900" kern="0" dirty="0">
                <a:ea typeface="ＭＳ Ｐゴシック"/>
              </a:rPr>
              <a:t>Measure of the set up device (plan) and the adaptation of the solutions, the measure of the short-term, medium-term and long-term results (incomes).</a:t>
            </a:r>
          </a:p>
        </p:txBody>
      </p:sp>
    </p:spTree>
    <p:extLst>
      <p:ext uri="{BB962C8B-B14F-4D97-AF65-F5344CB8AC3E}">
        <p14:creationId xmlns:p14="http://schemas.microsoft.com/office/powerpoint/2010/main" val="14012738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solidFill>
                  <a:schemeClr val="tx1"/>
                </a:solidFill>
              </a:rPr>
              <a:t>Duties of the litigation teams</a:t>
            </a:r>
            <a:endParaRPr lang="fr-FR" dirty="0">
              <a:solidFill>
                <a:schemeClr val="tx1"/>
              </a:solidFill>
            </a:endParaRPr>
          </a:p>
        </p:txBody>
      </p:sp>
      <p:sp>
        <p:nvSpPr>
          <p:cNvPr id="3" name="Espace réservé du numéro de diapositive 2"/>
          <p:cNvSpPr>
            <a:spLocks noGrp="1"/>
          </p:cNvSpPr>
          <p:nvPr>
            <p:ph type="sldNum" sz="quarter" idx="19"/>
          </p:nvPr>
        </p:nvSpPr>
        <p:spPr/>
        <p:txBody>
          <a:bodyPr/>
          <a:lstStyle/>
          <a:p>
            <a:fld id="{98BD2159-827C-4021-9B0E-DCD852BEB59E}" type="slidenum">
              <a:rPr lang="en-GB" smtClean="0"/>
              <a:pPr/>
              <a:t>48</a:t>
            </a:fld>
            <a:endParaRPr lang="en-GB" dirty="0"/>
          </a:p>
        </p:txBody>
      </p:sp>
      <p:sp>
        <p:nvSpPr>
          <p:cNvPr id="4" name="TextBox 10"/>
          <p:cNvSpPr txBox="1"/>
          <p:nvPr/>
        </p:nvSpPr>
        <p:spPr>
          <a:xfrm>
            <a:off x="425572" y="1397286"/>
            <a:ext cx="8089778" cy="3793218"/>
          </a:xfrm>
          <a:prstGeom prst="rect">
            <a:avLst/>
          </a:prstGeom>
          <a:noFill/>
          <a:ln w="25400">
            <a:noFill/>
          </a:ln>
        </p:spPr>
        <p:txBody>
          <a:bodyPr wrap="square" rtlCol="0" anchor="t">
            <a:spAutoFit/>
          </a:bodyPr>
          <a:lstStyle/>
          <a:p>
            <a:pPr marL="180000" lvl="3" indent="-171446"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The litigation or judicial recovery process begins when all commercial and pre-litigation collection strategies have failed. </a:t>
            </a:r>
          </a:p>
          <a:p>
            <a:pPr marL="180000" lvl="3" indent="-171446"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Loan acceleration (</a:t>
            </a:r>
            <a:r>
              <a:rPr lang="en-US" sz="1000" kern="0" dirty="0" err="1">
                <a:solidFill>
                  <a:prstClr val="black"/>
                </a:solidFill>
              </a:rPr>
              <a:t>déchéance</a:t>
            </a:r>
            <a:r>
              <a:rPr lang="en-US" sz="1000" kern="0" dirty="0">
                <a:solidFill>
                  <a:prstClr val="black"/>
                </a:solidFill>
              </a:rPr>
              <a:t> du </a:t>
            </a:r>
            <a:r>
              <a:rPr lang="en-US" sz="1000" kern="0" dirty="0" err="1">
                <a:solidFill>
                  <a:prstClr val="black"/>
                </a:solidFill>
              </a:rPr>
              <a:t>terme</a:t>
            </a:r>
            <a:r>
              <a:rPr lang="en-US" sz="1000" kern="0" dirty="0">
                <a:solidFill>
                  <a:prstClr val="black"/>
                </a:solidFill>
              </a:rPr>
              <a:t>) is pronounced at the beginning of the litigation process</a:t>
            </a:r>
          </a:p>
          <a:p>
            <a:pPr marL="180000" lvl="3" indent="-171446"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br>
              <a:rPr lang="en-US" sz="1000" kern="0" dirty="0">
                <a:solidFill>
                  <a:prstClr val="black"/>
                </a:solidFill>
              </a:rPr>
            </a:b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From the entry into the litigation process, the processes deployed must follow three basic rules: </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Maximize the level of recoveries</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Minimize the costs incurred in the process</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Minimize losses</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 Litigation process is managed as a service :</a:t>
            </a:r>
          </a:p>
          <a:p>
            <a:pPr marL="637200" lvl="4"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CACF (whatever customer brand, </a:t>
            </a:r>
            <a:r>
              <a:rPr lang="en-US" sz="1000" kern="0" dirty="0" err="1">
                <a:solidFill>
                  <a:prstClr val="black"/>
                </a:solidFill>
              </a:rPr>
              <a:t>Sofinco</a:t>
            </a:r>
            <a:r>
              <a:rPr lang="en-US" sz="1000" kern="0" dirty="0">
                <a:solidFill>
                  <a:prstClr val="black"/>
                </a:solidFill>
              </a:rPr>
              <a:t> or </a:t>
            </a:r>
            <a:r>
              <a:rPr lang="en-US" sz="1000" kern="0" dirty="0" err="1">
                <a:solidFill>
                  <a:prstClr val="black"/>
                </a:solidFill>
              </a:rPr>
              <a:t>Finaref</a:t>
            </a:r>
            <a:r>
              <a:rPr lang="en-US" sz="1000" kern="0" dirty="0">
                <a:solidFill>
                  <a:prstClr val="black"/>
                </a:solidFill>
              </a:rPr>
              <a:t>), </a:t>
            </a:r>
          </a:p>
          <a:p>
            <a:pPr marL="8554" lvl="3" algn="just" defTabSz="457189" eaLnBrk="0" fontAlgn="base" hangingPunct="0">
              <a:lnSpc>
                <a:spcPts val="1100"/>
              </a:lnSpc>
              <a:spcBef>
                <a:spcPct val="20000"/>
              </a:spcBef>
              <a:buClr>
                <a:srgbClr val="009B5F"/>
              </a:buClr>
              <a:buSzPct val="133000"/>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  Process is entirely managed through a </a:t>
            </a:r>
            <a:r>
              <a:rPr lang="en-US" sz="1000" kern="0" dirty="0" err="1">
                <a:solidFill>
                  <a:prstClr val="black"/>
                </a:solidFill>
              </a:rPr>
              <a:t>specialised</a:t>
            </a:r>
            <a:r>
              <a:rPr lang="en-US" sz="1000" kern="0" dirty="0">
                <a:solidFill>
                  <a:prstClr val="black"/>
                </a:solidFill>
              </a:rPr>
              <a:t> and dedicated software (IMX), in a similar way for all client companies</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latin typeface="+mn-lt"/>
                <a:ea typeface="+mn-ea"/>
                <a:cs typeface="+mn-cs"/>
                <a:sym typeface="Wingdings 2"/>
              </a:rPr>
              <a:t>Enforcement relying on a network of around 357 bailiffs and 10 solicitors</a:t>
            </a:r>
            <a:endParaRPr lang="en-US" sz="1000" kern="0" dirty="0">
              <a:solidFill>
                <a:prstClr val="black"/>
              </a:solidFill>
            </a:endParaRPr>
          </a:p>
          <a:p>
            <a:pPr marL="8554" lvl="3" algn="just" defTabSz="457189" eaLnBrk="0" fontAlgn="base" hangingPunct="0">
              <a:lnSpc>
                <a:spcPts val="1100"/>
              </a:lnSpc>
              <a:spcBef>
                <a:spcPct val="20000"/>
              </a:spcBef>
              <a:buClr>
                <a:srgbClr val="009B5F"/>
              </a:buClr>
              <a:buSzPct val="133000"/>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In parallel, attempts to reach an amicable settlement plan are still continued</a:t>
            </a:r>
          </a:p>
          <a:p>
            <a:pPr marL="8554" lvl="3" algn="just" defTabSz="457189" eaLnBrk="0" fontAlgn="base" hangingPunct="0">
              <a:lnSpc>
                <a:spcPts val="1100"/>
              </a:lnSpc>
              <a:spcBef>
                <a:spcPct val="20000"/>
              </a:spcBef>
              <a:buClr>
                <a:srgbClr val="009B5F"/>
              </a:buClr>
              <a:buSzPct val="133000"/>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r>
              <a:rPr lang="en-US" sz="1000" kern="0" dirty="0">
                <a:solidFill>
                  <a:prstClr val="black"/>
                </a:solidFill>
              </a:rPr>
              <a:t>Write-off only when no amicable settlement has been reached and all available legal remedies have been exhausted</a:t>
            </a: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1000" kern="0" dirty="0">
              <a:solidFill>
                <a:prstClr val="black"/>
              </a:solidFill>
            </a:endParaRPr>
          </a:p>
          <a:p>
            <a:pPr marL="180000" lvl="3" indent="-171446" algn="just" defTabSz="457189" eaLnBrk="0" fontAlgn="base" hangingPunct="0">
              <a:lnSpc>
                <a:spcPts val="1100"/>
              </a:lnSpc>
              <a:spcBef>
                <a:spcPct val="20000"/>
              </a:spcBef>
              <a:buClr>
                <a:srgbClr val="009B5F"/>
              </a:buClr>
              <a:buSzPct val="133000"/>
              <a:buFont typeface="Wingdings" panose="05000000000000000000" pitchFamily="2" charset="2"/>
              <a:buChar char="§"/>
              <a:tabLst>
                <a:tab pos="803255" algn="l"/>
              </a:tabLst>
              <a:defRPr/>
            </a:pPr>
            <a:endParaRPr lang="en-US" sz="800" kern="0" dirty="0">
              <a:solidFill>
                <a:prstClr val="black"/>
              </a:solidFill>
            </a:endParaRPr>
          </a:p>
        </p:txBody>
      </p:sp>
    </p:spTree>
    <p:extLst>
      <p:ext uri="{BB962C8B-B14F-4D97-AF65-F5344CB8AC3E}">
        <p14:creationId xmlns:p14="http://schemas.microsoft.com/office/powerpoint/2010/main" val="5959315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17608" y="173626"/>
            <a:ext cx="7997742" cy="501732"/>
          </a:xfrm>
        </p:spPr>
        <p:txBody>
          <a:bodyPr/>
          <a:lstStyle/>
          <a:p>
            <a:r>
              <a:rPr lang="fr-FR" dirty="0">
                <a:solidFill>
                  <a:schemeClr val="tx1"/>
                </a:solidFill>
              </a:rPr>
              <a:t>Litigation process</a:t>
            </a:r>
          </a:p>
        </p:txBody>
      </p:sp>
      <p:sp>
        <p:nvSpPr>
          <p:cNvPr id="3" name="Espace réservé du numéro de diapositive 2"/>
          <p:cNvSpPr>
            <a:spLocks noGrp="1"/>
          </p:cNvSpPr>
          <p:nvPr>
            <p:ph type="sldNum" sz="quarter" idx="19"/>
          </p:nvPr>
        </p:nvSpPr>
        <p:spPr>
          <a:xfrm>
            <a:off x="8618954" y="4754611"/>
            <a:ext cx="525046" cy="304373"/>
          </a:xfrm>
        </p:spPr>
        <p:txBody>
          <a:bodyPr/>
          <a:lstStyle/>
          <a:p>
            <a:fld id="{98BD2159-827C-4021-9B0E-DCD852BEB59E}" type="slidenum">
              <a:rPr lang="en-GB" smtClean="0"/>
              <a:pPr/>
              <a:t>49</a:t>
            </a:fld>
            <a:endParaRPr lang="en-GB" dirty="0"/>
          </a:p>
        </p:txBody>
      </p:sp>
      <p:sp>
        <p:nvSpPr>
          <p:cNvPr id="4" name="Rectangle 3"/>
          <p:cNvSpPr>
            <a:spLocks noChangeArrowheads="1"/>
          </p:cNvSpPr>
          <p:nvPr/>
        </p:nvSpPr>
        <p:spPr bwMode="gray">
          <a:xfrm>
            <a:off x="3716194" y="675358"/>
            <a:ext cx="3265488" cy="549275"/>
          </a:xfrm>
          <a:prstGeom prst="rect">
            <a:avLst/>
          </a:prstGeom>
          <a:solidFill>
            <a:srgbClr val="C5E232"/>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dirty="0" err="1"/>
              <a:t>Bailiff</a:t>
            </a:r>
            <a:r>
              <a:rPr lang="fr-FR" sz="900" b="1" dirty="0"/>
              <a:t> – </a:t>
            </a:r>
            <a:r>
              <a:rPr lang="fr-FR" sz="900" b="1" dirty="0" err="1"/>
              <a:t>process</a:t>
            </a:r>
            <a:r>
              <a:rPr lang="fr-FR" sz="900" b="1" dirty="0"/>
              <a:t> to </a:t>
            </a:r>
            <a:r>
              <a:rPr lang="fr-FR" sz="900" b="1" dirty="0" err="1"/>
              <a:t>obtain</a:t>
            </a:r>
            <a:r>
              <a:rPr lang="fr-FR" sz="900" b="1" dirty="0"/>
              <a:t> </a:t>
            </a:r>
            <a:r>
              <a:rPr lang="fr-FR" sz="900" b="1" dirty="0" err="1"/>
              <a:t>writ</a:t>
            </a:r>
            <a:r>
              <a:rPr lang="fr-FR" sz="900" b="1" dirty="0"/>
              <a:t> of </a:t>
            </a:r>
            <a:r>
              <a:rPr lang="fr-FR" sz="900" b="1" dirty="0" err="1"/>
              <a:t>execution</a:t>
            </a:r>
            <a:endParaRPr lang="fr-FR" sz="900" b="1" dirty="0"/>
          </a:p>
          <a:p>
            <a:pPr algn="ctr">
              <a:lnSpc>
                <a:spcPct val="90000"/>
              </a:lnSpc>
              <a:spcBef>
                <a:spcPct val="10000"/>
              </a:spcBef>
              <a:buClr>
                <a:srgbClr val="00975A"/>
              </a:buClr>
              <a:buFont typeface="Wingdings" pitchFamily="2" charset="2"/>
              <a:buNone/>
            </a:pPr>
            <a:r>
              <a:rPr lang="fr-FR" sz="900" b="1" dirty="0"/>
              <a:t>&amp; </a:t>
            </a:r>
            <a:r>
              <a:rPr lang="fr-FR" sz="900" b="1" dirty="0" err="1"/>
              <a:t>execution</a:t>
            </a:r>
            <a:r>
              <a:rPr lang="fr-FR" sz="900" b="1" dirty="0"/>
              <a:t> of court </a:t>
            </a:r>
            <a:r>
              <a:rPr lang="fr-FR" sz="900" b="1" dirty="0" err="1"/>
              <a:t>order</a:t>
            </a:r>
            <a:endParaRPr lang="fr-FR" sz="900" b="1" dirty="0"/>
          </a:p>
          <a:p>
            <a:pPr algn="ctr">
              <a:lnSpc>
                <a:spcPct val="90000"/>
              </a:lnSpc>
              <a:spcBef>
                <a:spcPct val="10000"/>
              </a:spcBef>
              <a:buClr>
                <a:srgbClr val="00975A"/>
              </a:buClr>
              <a:buFont typeface="Wingdings" pitchFamily="2" charset="2"/>
              <a:buNone/>
            </a:pPr>
            <a:r>
              <a:rPr lang="fr-FR" sz="900" b="1" i="1" dirty="0"/>
              <a:t>BRC </a:t>
            </a:r>
            <a:endParaRPr lang="fr-FR" sz="900" b="1" dirty="0"/>
          </a:p>
        </p:txBody>
      </p:sp>
      <p:sp>
        <p:nvSpPr>
          <p:cNvPr id="5" name="Rectangle 4"/>
          <p:cNvSpPr>
            <a:spLocks noChangeArrowheads="1"/>
          </p:cNvSpPr>
          <p:nvPr/>
        </p:nvSpPr>
        <p:spPr bwMode="gray">
          <a:xfrm>
            <a:off x="3738419" y="1586583"/>
            <a:ext cx="850900" cy="496887"/>
          </a:xfrm>
          <a:prstGeom prst="rect">
            <a:avLst/>
          </a:prstGeom>
          <a:solidFill>
            <a:srgbClr val="7AB92D"/>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dirty="0">
                <a:solidFill>
                  <a:schemeClr val="bg1"/>
                </a:solidFill>
              </a:rPr>
              <a:t>Legal </a:t>
            </a:r>
            <a:r>
              <a:rPr lang="fr-FR" sz="900" b="1" dirty="0" err="1">
                <a:solidFill>
                  <a:schemeClr val="bg1"/>
                </a:solidFill>
              </a:rPr>
              <a:t>Proceedings</a:t>
            </a:r>
            <a:r>
              <a:rPr lang="fr-FR" sz="900" b="1" dirty="0">
                <a:solidFill>
                  <a:schemeClr val="bg1"/>
                </a:solidFill>
              </a:rPr>
              <a:t> UJE </a:t>
            </a:r>
            <a:r>
              <a:rPr lang="fr-FR" sz="900" b="1" i="1" dirty="0">
                <a:solidFill>
                  <a:schemeClr val="bg1"/>
                </a:solidFill>
              </a:rPr>
              <a:t> </a:t>
            </a:r>
          </a:p>
        </p:txBody>
      </p:sp>
      <p:sp>
        <p:nvSpPr>
          <p:cNvPr id="6" name="Rectangle 5"/>
          <p:cNvSpPr>
            <a:spLocks noChangeArrowheads="1"/>
          </p:cNvSpPr>
          <p:nvPr/>
        </p:nvSpPr>
        <p:spPr bwMode="gray">
          <a:xfrm>
            <a:off x="4689332" y="1586583"/>
            <a:ext cx="989012" cy="512762"/>
          </a:xfrm>
          <a:prstGeom prst="rect">
            <a:avLst/>
          </a:prstGeom>
          <a:solidFill>
            <a:srgbClr val="7AB92D"/>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a:solidFill>
                  <a:schemeClr val="bg1"/>
                </a:solidFill>
              </a:rPr>
              <a:t>Lawyer / Appeal </a:t>
            </a:r>
          </a:p>
          <a:p>
            <a:pPr algn="ctr">
              <a:lnSpc>
                <a:spcPct val="90000"/>
              </a:lnSpc>
              <a:spcBef>
                <a:spcPct val="10000"/>
              </a:spcBef>
              <a:buClr>
                <a:srgbClr val="00975A"/>
              </a:buClr>
              <a:buFont typeface="Wingdings" pitchFamily="2" charset="2"/>
              <a:buNone/>
            </a:pPr>
            <a:r>
              <a:rPr lang="fr-FR" sz="900" b="1" i="1">
                <a:solidFill>
                  <a:schemeClr val="bg1"/>
                </a:solidFill>
              </a:rPr>
              <a:t>UJE / UJR </a:t>
            </a:r>
          </a:p>
        </p:txBody>
      </p:sp>
      <p:sp>
        <p:nvSpPr>
          <p:cNvPr id="7" name="Rectangle 6"/>
          <p:cNvSpPr>
            <a:spLocks noChangeArrowheads="1"/>
          </p:cNvSpPr>
          <p:nvPr/>
        </p:nvSpPr>
        <p:spPr bwMode="gray">
          <a:xfrm>
            <a:off x="3740007" y="2127920"/>
            <a:ext cx="1919287" cy="466725"/>
          </a:xfrm>
          <a:prstGeom prst="rect">
            <a:avLst/>
          </a:prstGeom>
          <a:solidFill>
            <a:srgbClr val="7AB92D"/>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i="1" dirty="0">
                <a:solidFill>
                  <a:schemeClr val="bg1"/>
                </a:solidFill>
              </a:rPr>
              <a:t>Process to </a:t>
            </a:r>
            <a:r>
              <a:rPr lang="fr-FR" sz="900" b="1" i="1" dirty="0" err="1">
                <a:solidFill>
                  <a:schemeClr val="bg1"/>
                </a:solidFill>
              </a:rPr>
              <a:t>obtain</a:t>
            </a:r>
            <a:r>
              <a:rPr lang="fr-FR" sz="900" b="1" i="1" dirty="0">
                <a:solidFill>
                  <a:schemeClr val="bg1"/>
                </a:solidFill>
              </a:rPr>
              <a:t> Court </a:t>
            </a:r>
            <a:r>
              <a:rPr lang="fr-FR" sz="900" b="1" i="1" dirty="0" err="1">
                <a:solidFill>
                  <a:schemeClr val="bg1"/>
                </a:solidFill>
              </a:rPr>
              <a:t>order</a:t>
            </a:r>
            <a:endParaRPr lang="fr-FR" sz="900" b="1" i="1" dirty="0">
              <a:solidFill>
                <a:schemeClr val="bg1"/>
              </a:solidFill>
            </a:endParaRPr>
          </a:p>
          <a:p>
            <a:pPr algn="ctr">
              <a:lnSpc>
                <a:spcPct val="90000"/>
              </a:lnSpc>
              <a:spcBef>
                <a:spcPct val="10000"/>
              </a:spcBef>
              <a:buClr>
                <a:srgbClr val="00975A"/>
              </a:buClr>
              <a:buFont typeface="Wingdings" pitchFamily="2" charset="2"/>
              <a:buNone/>
            </a:pPr>
            <a:r>
              <a:rPr lang="fr-FR" sz="900" b="1" i="1" dirty="0" err="1">
                <a:solidFill>
                  <a:schemeClr val="bg1"/>
                </a:solidFill>
              </a:rPr>
              <a:t>internally</a:t>
            </a:r>
            <a:endParaRPr lang="fr-FR" sz="900" b="1" dirty="0">
              <a:solidFill>
                <a:schemeClr val="bg1"/>
              </a:solidFill>
            </a:endParaRPr>
          </a:p>
          <a:p>
            <a:pPr algn="ctr">
              <a:lnSpc>
                <a:spcPct val="90000"/>
              </a:lnSpc>
              <a:spcBef>
                <a:spcPct val="10000"/>
              </a:spcBef>
              <a:buClr>
                <a:srgbClr val="00975A"/>
              </a:buClr>
              <a:buFont typeface="Wingdings" pitchFamily="2" charset="2"/>
              <a:buNone/>
            </a:pPr>
            <a:r>
              <a:rPr lang="fr-FR" sz="900" b="1" i="1" dirty="0">
                <a:solidFill>
                  <a:schemeClr val="bg1"/>
                </a:solidFill>
              </a:rPr>
              <a:t>UJR </a:t>
            </a:r>
          </a:p>
        </p:txBody>
      </p:sp>
      <p:sp>
        <p:nvSpPr>
          <p:cNvPr id="8" name="Rectangle 7"/>
          <p:cNvSpPr>
            <a:spLocks noChangeArrowheads="1"/>
          </p:cNvSpPr>
          <p:nvPr/>
        </p:nvSpPr>
        <p:spPr bwMode="gray">
          <a:xfrm>
            <a:off x="3738419" y="2794670"/>
            <a:ext cx="835025" cy="592138"/>
          </a:xfrm>
          <a:prstGeom prst="rect">
            <a:avLst/>
          </a:prstGeom>
          <a:solidFill>
            <a:srgbClr val="00975A"/>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dirty="0">
                <a:solidFill>
                  <a:schemeClr val="bg1"/>
                </a:solidFill>
              </a:rPr>
              <a:t>Call center </a:t>
            </a:r>
          </a:p>
        </p:txBody>
      </p:sp>
      <p:sp>
        <p:nvSpPr>
          <p:cNvPr id="9" name="Rectangle 8"/>
          <p:cNvSpPr>
            <a:spLocks noChangeArrowheads="1"/>
          </p:cNvSpPr>
          <p:nvPr/>
        </p:nvSpPr>
        <p:spPr bwMode="gray">
          <a:xfrm>
            <a:off x="4841732" y="2794670"/>
            <a:ext cx="836612" cy="592138"/>
          </a:xfrm>
          <a:prstGeom prst="rect">
            <a:avLst/>
          </a:prstGeom>
          <a:solidFill>
            <a:srgbClr val="00975A"/>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dirty="0" err="1">
                <a:solidFill>
                  <a:schemeClr val="bg1"/>
                </a:solidFill>
              </a:rPr>
              <a:t>Amicable</a:t>
            </a:r>
            <a:r>
              <a:rPr lang="fr-FR" sz="900" b="1" dirty="0">
                <a:solidFill>
                  <a:schemeClr val="bg1"/>
                </a:solidFill>
              </a:rPr>
              <a:t> </a:t>
            </a:r>
            <a:r>
              <a:rPr lang="fr-FR" sz="900" b="1" dirty="0" err="1">
                <a:solidFill>
                  <a:schemeClr val="bg1"/>
                </a:solidFill>
              </a:rPr>
              <a:t>bailiff</a:t>
            </a:r>
            <a:r>
              <a:rPr lang="fr-FR" sz="900" b="1" dirty="0">
                <a:solidFill>
                  <a:schemeClr val="bg1"/>
                </a:solidFill>
              </a:rPr>
              <a:t>, </a:t>
            </a:r>
            <a:r>
              <a:rPr lang="fr-FR" sz="900" b="1" dirty="0" err="1">
                <a:solidFill>
                  <a:schemeClr val="bg1"/>
                </a:solidFill>
              </a:rPr>
              <a:t>then</a:t>
            </a:r>
            <a:r>
              <a:rPr lang="fr-FR" sz="900" b="1" dirty="0">
                <a:solidFill>
                  <a:schemeClr val="bg1"/>
                </a:solidFill>
              </a:rPr>
              <a:t> </a:t>
            </a:r>
            <a:r>
              <a:rPr lang="fr-FR" sz="900" b="1" dirty="0" err="1">
                <a:solidFill>
                  <a:schemeClr val="bg1"/>
                </a:solidFill>
              </a:rPr>
              <a:t>recovery</a:t>
            </a:r>
            <a:r>
              <a:rPr lang="fr-FR" sz="900" b="1" dirty="0">
                <a:solidFill>
                  <a:schemeClr val="bg1"/>
                </a:solidFill>
              </a:rPr>
              <a:t> </a:t>
            </a:r>
            <a:r>
              <a:rPr lang="fr-FR" sz="900" b="1" dirty="0" err="1">
                <a:solidFill>
                  <a:schemeClr val="bg1"/>
                </a:solidFill>
              </a:rPr>
              <a:t>agency</a:t>
            </a:r>
            <a:r>
              <a:rPr lang="fr-FR" sz="900" b="1" dirty="0">
                <a:solidFill>
                  <a:schemeClr val="bg1"/>
                </a:solidFill>
              </a:rPr>
              <a:t> </a:t>
            </a:r>
          </a:p>
        </p:txBody>
      </p:sp>
      <p:sp>
        <p:nvSpPr>
          <p:cNvPr id="10" name="Oval 9"/>
          <p:cNvSpPr>
            <a:spLocks noChangeArrowheads="1"/>
          </p:cNvSpPr>
          <p:nvPr/>
        </p:nvSpPr>
        <p:spPr bwMode="gray">
          <a:xfrm>
            <a:off x="5932344" y="1586583"/>
            <a:ext cx="1443038" cy="1208087"/>
          </a:xfrm>
          <a:prstGeom prst="ellipse">
            <a:avLst/>
          </a:prstGeom>
          <a:noFill/>
          <a:ln w="28575" algn="ctr">
            <a:solidFill>
              <a:srgbClr val="C0C0C0"/>
            </a:solidFill>
            <a:round/>
            <a:headEnd/>
            <a:tailEnd/>
          </a:ln>
        </p:spPr>
        <p:txBody>
          <a:bodyPr lIns="108000" tIns="72000" rIns="72000" bIns="72000" anchor="ctr"/>
          <a:lstStyle/>
          <a:p>
            <a:pPr algn="ctr">
              <a:lnSpc>
                <a:spcPct val="90000"/>
              </a:lnSpc>
              <a:spcBef>
                <a:spcPct val="10000"/>
              </a:spcBef>
              <a:buClr>
                <a:srgbClr val="00975A"/>
              </a:buClr>
              <a:buFont typeface="Wingdings" pitchFamily="2" charset="2"/>
              <a:buNone/>
            </a:pPr>
            <a:r>
              <a:rPr lang="fr-FR" sz="900" dirty="0"/>
              <a:t>End of Court process and no agreement in place</a:t>
            </a:r>
          </a:p>
        </p:txBody>
      </p:sp>
      <p:sp>
        <p:nvSpPr>
          <p:cNvPr id="11" name="Rectangle 10"/>
          <p:cNvSpPr>
            <a:spLocks noChangeArrowheads="1"/>
          </p:cNvSpPr>
          <p:nvPr/>
        </p:nvSpPr>
        <p:spPr bwMode="gray">
          <a:xfrm>
            <a:off x="3766994" y="4477575"/>
            <a:ext cx="1893888" cy="342900"/>
          </a:xfrm>
          <a:prstGeom prst="rect">
            <a:avLst/>
          </a:prstGeom>
          <a:solidFill>
            <a:srgbClr val="00975A"/>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dirty="0" err="1">
                <a:solidFill>
                  <a:schemeClr val="bg1"/>
                </a:solidFill>
              </a:rPr>
              <a:t>Economic</a:t>
            </a:r>
            <a:r>
              <a:rPr lang="fr-FR" sz="900" b="1" dirty="0">
                <a:solidFill>
                  <a:schemeClr val="bg1"/>
                </a:solidFill>
              </a:rPr>
              <a:t> </a:t>
            </a:r>
            <a:r>
              <a:rPr lang="fr-FR" sz="900" b="1" dirty="0" err="1">
                <a:solidFill>
                  <a:schemeClr val="bg1"/>
                </a:solidFill>
              </a:rPr>
              <a:t>process</a:t>
            </a:r>
            <a:r>
              <a:rPr lang="fr-FR" sz="900" b="1" dirty="0">
                <a:solidFill>
                  <a:schemeClr val="bg1"/>
                </a:solidFill>
              </a:rPr>
              <a:t> </a:t>
            </a:r>
          </a:p>
          <a:p>
            <a:pPr algn="ctr">
              <a:lnSpc>
                <a:spcPct val="90000"/>
              </a:lnSpc>
              <a:spcBef>
                <a:spcPct val="10000"/>
              </a:spcBef>
              <a:buClr>
                <a:srgbClr val="00975A"/>
              </a:buClr>
              <a:buFont typeface="Wingdings" pitchFamily="2" charset="2"/>
              <a:buNone/>
            </a:pPr>
            <a:r>
              <a:rPr lang="fr-FR" sz="900" b="1" dirty="0">
                <a:solidFill>
                  <a:schemeClr val="bg1"/>
                </a:solidFill>
              </a:rPr>
              <a:t>email + phone </a:t>
            </a:r>
          </a:p>
        </p:txBody>
      </p:sp>
      <p:sp>
        <p:nvSpPr>
          <p:cNvPr id="12" name="Oval 11"/>
          <p:cNvSpPr>
            <a:spLocks noChangeArrowheads="1"/>
          </p:cNvSpPr>
          <p:nvPr/>
        </p:nvSpPr>
        <p:spPr bwMode="gray">
          <a:xfrm>
            <a:off x="969819" y="1894558"/>
            <a:ext cx="1146175" cy="985837"/>
          </a:xfrm>
          <a:prstGeom prst="ellipse">
            <a:avLst/>
          </a:prstGeom>
          <a:noFill/>
          <a:ln w="25400" algn="ctr">
            <a:solidFill>
              <a:srgbClr val="C0C0C0"/>
            </a:solidFill>
            <a:round/>
            <a:headEnd/>
            <a:tailEnd/>
          </a:ln>
        </p:spPr>
        <p:txBody>
          <a:bodyPr lIns="0" tIns="72000" rIns="0" bIns="72000" anchor="ctr"/>
          <a:lstStyle/>
          <a:p>
            <a:pPr algn="ctr">
              <a:lnSpc>
                <a:spcPct val="90000"/>
              </a:lnSpc>
              <a:spcBef>
                <a:spcPct val="10000"/>
              </a:spcBef>
              <a:buClr>
                <a:srgbClr val="00975A"/>
              </a:buClr>
              <a:buFont typeface="Wingdings" pitchFamily="2" charset="2"/>
              <a:buNone/>
            </a:pPr>
            <a:r>
              <a:rPr lang="fr-FR" sz="900" b="1" dirty="0"/>
              <a:t>Segmentation </a:t>
            </a:r>
          </a:p>
        </p:txBody>
      </p:sp>
      <p:cxnSp>
        <p:nvCxnSpPr>
          <p:cNvPr id="13" name="AutoShape 12"/>
          <p:cNvCxnSpPr>
            <a:cxnSpLocks noChangeShapeType="1"/>
            <a:stCxn id="7" idx="3"/>
            <a:endCxn id="10" idx="2"/>
          </p:cNvCxnSpPr>
          <p:nvPr/>
        </p:nvCxnSpPr>
        <p:spPr bwMode="auto">
          <a:xfrm flipV="1">
            <a:off x="5659294" y="2191420"/>
            <a:ext cx="273050" cy="169863"/>
          </a:xfrm>
          <a:prstGeom prst="bentConnector3">
            <a:avLst>
              <a:gd name="adj1" fmla="val 50000"/>
            </a:avLst>
          </a:prstGeom>
          <a:noFill/>
          <a:ln w="3175">
            <a:solidFill>
              <a:schemeClr val="bg2"/>
            </a:solidFill>
            <a:miter lim="800000"/>
            <a:headEnd/>
            <a:tailEnd type="triangle" w="med" len="med"/>
          </a:ln>
        </p:spPr>
      </p:cxnSp>
      <p:cxnSp>
        <p:nvCxnSpPr>
          <p:cNvPr id="14" name="AutoShape 13"/>
          <p:cNvCxnSpPr>
            <a:cxnSpLocks noChangeShapeType="1"/>
            <a:stCxn id="9" idx="3"/>
            <a:endCxn id="10" idx="3"/>
          </p:cNvCxnSpPr>
          <p:nvPr/>
        </p:nvCxnSpPr>
        <p:spPr bwMode="auto">
          <a:xfrm flipV="1">
            <a:off x="5678344" y="2618458"/>
            <a:ext cx="465138" cy="471487"/>
          </a:xfrm>
          <a:prstGeom prst="bentConnector2">
            <a:avLst/>
          </a:prstGeom>
          <a:noFill/>
          <a:ln w="3175">
            <a:solidFill>
              <a:schemeClr val="bg2"/>
            </a:solidFill>
            <a:miter lim="800000"/>
            <a:headEnd/>
            <a:tailEnd type="triangle" w="med" len="med"/>
          </a:ln>
        </p:spPr>
      </p:cxnSp>
      <p:cxnSp>
        <p:nvCxnSpPr>
          <p:cNvPr id="15" name="AutoShape 14"/>
          <p:cNvCxnSpPr>
            <a:cxnSpLocks noChangeShapeType="1"/>
          </p:cNvCxnSpPr>
          <p:nvPr/>
        </p:nvCxnSpPr>
        <p:spPr bwMode="auto">
          <a:xfrm flipV="1">
            <a:off x="5713269" y="2552625"/>
            <a:ext cx="2055693" cy="1519983"/>
          </a:xfrm>
          <a:prstGeom prst="bentConnector2">
            <a:avLst/>
          </a:prstGeom>
          <a:noFill/>
          <a:ln w="3175">
            <a:solidFill>
              <a:schemeClr val="bg2"/>
            </a:solidFill>
            <a:miter lim="800000"/>
            <a:headEnd/>
            <a:tailEnd type="triangle" w="med" len="med"/>
          </a:ln>
        </p:spPr>
      </p:cxnSp>
      <p:sp>
        <p:nvSpPr>
          <p:cNvPr id="16" name="Rectangle 15"/>
          <p:cNvSpPr>
            <a:spLocks noChangeArrowheads="1"/>
          </p:cNvSpPr>
          <p:nvPr/>
        </p:nvSpPr>
        <p:spPr bwMode="gray">
          <a:xfrm>
            <a:off x="3738419" y="3818608"/>
            <a:ext cx="835025" cy="576262"/>
          </a:xfrm>
          <a:prstGeom prst="rect">
            <a:avLst/>
          </a:prstGeom>
          <a:solidFill>
            <a:srgbClr val="00975A"/>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a:solidFill>
                  <a:schemeClr val="bg1"/>
                </a:solidFill>
              </a:rPr>
              <a:t>Call center </a:t>
            </a:r>
          </a:p>
        </p:txBody>
      </p:sp>
      <p:sp>
        <p:nvSpPr>
          <p:cNvPr id="17" name="Rectangle 16"/>
          <p:cNvSpPr>
            <a:spLocks noChangeArrowheads="1"/>
          </p:cNvSpPr>
          <p:nvPr/>
        </p:nvSpPr>
        <p:spPr bwMode="gray">
          <a:xfrm>
            <a:off x="4841732" y="3818608"/>
            <a:ext cx="836612" cy="576262"/>
          </a:xfrm>
          <a:prstGeom prst="rect">
            <a:avLst/>
          </a:prstGeom>
          <a:solidFill>
            <a:srgbClr val="00975A"/>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dirty="0" err="1">
                <a:solidFill>
                  <a:schemeClr val="bg1"/>
                </a:solidFill>
              </a:rPr>
              <a:t>Amicable</a:t>
            </a:r>
            <a:r>
              <a:rPr lang="fr-FR" sz="900" b="1" dirty="0">
                <a:solidFill>
                  <a:schemeClr val="bg1"/>
                </a:solidFill>
              </a:rPr>
              <a:t> </a:t>
            </a:r>
            <a:r>
              <a:rPr lang="fr-FR" sz="900" b="1" dirty="0" err="1">
                <a:solidFill>
                  <a:schemeClr val="bg1"/>
                </a:solidFill>
              </a:rPr>
              <a:t>bailiff</a:t>
            </a:r>
            <a:r>
              <a:rPr lang="fr-FR" sz="900" b="1" dirty="0">
                <a:solidFill>
                  <a:schemeClr val="bg1"/>
                </a:solidFill>
              </a:rPr>
              <a:t>, </a:t>
            </a:r>
            <a:r>
              <a:rPr lang="fr-FR" sz="900" b="1" dirty="0" err="1">
                <a:solidFill>
                  <a:schemeClr val="bg1"/>
                </a:solidFill>
              </a:rPr>
              <a:t>then</a:t>
            </a:r>
            <a:r>
              <a:rPr lang="fr-FR" sz="900" b="1" dirty="0">
                <a:solidFill>
                  <a:schemeClr val="bg1"/>
                </a:solidFill>
              </a:rPr>
              <a:t> </a:t>
            </a:r>
            <a:r>
              <a:rPr lang="fr-FR" sz="900" b="1" dirty="0" err="1">
                <a:solidFill>
                  <a:schemeClr val="bg1"/>
                </a:solidFill>
              </a:rPr>
              <a:t>recovery</a:t>
            </a:r>
            <a:r>
              <a:rPr lang="fr-FR" sz="900" b="1" dirty="0">
                <a:solidFill>
                  <a:schemeClr val="bg1"/>
                </a:solidFill>
              </a:rPr>
              <a:t> Agency. </a:t>
            </a:r>
          </a:p>
        </p:txBody>
      </p:sp>
      <p:cxnSp>
        <p:nvCxnSpPr>
          <p:cNvPr id="18" name="AutoShape 17"/>
          <p:cNvCxnSpPr>
            <a:cxnSpLocks noChangeShapeType="1"/>
          </p:cNvCxnSpPr>
          <p:nvPr/>
        </p:nvCxnSpPr>
        <p:spPr bwMode="auto">
          <a:xfrm flipV="1">
            <a:off x="5660882" y="2552625"/>
            <a:ext cx="2108080" cy="2191495"/>
          </a:xfrm>
          <a:prstGeom prst="bentConnector2">
            <a:avLst/>
          </a:prstGeom>
          <a:noFill/>
          <a:ln w="3175">
            <a:solidFill>
              <a:schemeClr val="bg2"/>
            </a:solidFill>
            <a:miter lim="800000"/>
            <a:headEnd/>
            <a:tailEnd type="triangle" w="med" len="med"/>
          </a:ln>
        </p:spPr>
      </p:cxnSp>
      <p:cxnSp>
        <p:nvCxnSpPr>
          <p:cNvPr id="19" name="AutoShape 18"/>
          <p:cNvCxnSpPr>
            <a:cxnSpLocks noChangeShapeType="1"/>
            <a:stCxn id="12" idx="6"/>
            <a:endCxn id="7" idx="1"/>
          </p:cNvCxnSpPr>
          <p:nvPr/>
        </p:nvCxnSpPr>
        <p:spPr bwMode="auto">
          <a:xfrm flipV="1">
            <a:off x="2115994" y="2361283"/>
            <a:ext cx="1624013" cy="26194"/>
          </a:xfrm>
          <a:prstGeom prst="bentConnector3">
            <a:avLst>
              <a:gd name="adj1" fmla="val 50000"/>
            </a:avLst>
          </a:prstGeom>
          <a:noFill/>
          <a:ln w="3175">
            <a:solidFill>
              <a:schemeClr val="bg2"/>
            </a:solidFill>
            <a:miter lim="800000"/>
            <a:headEnd/>
            <a:tailEnd type="triangle" w="med" len="med"/>
          </a:ln>
        </p:spPr>
      </p:cxnSp>
      <p:cxnSp>
        <p:nvCxnSpPr>
          <p:cNvPr id="20" name="AutoShape 19"/>
          <p:cNvCxnSpPr>
            <a:cxnSpLocks noChangeShapeType="1"/>
            <a:stCxn id="12" idx="6"/>
            <a:endCxn id="8" idx="1"/>
          </p:cNvCxnSpPr>
          <p:nvPr/>
        </p:nvCxnSpPr>
        <p:spPr bwMode="auto">
          <a:xfrm>
            <a:off x="2115994" y="2387477"/>
            <a:ext cx="1622425" cy="703262"/>
          </a:xfrm>
          <a:prstGeom prst="bentConnector3">
            <a:avLst>
              <a:gd name="adj1" fmla="val 50000"/>
            </a:avLst>
          </a:prstGeom>
          <a:noFill/>
          <a:ln w="3175">
            <a:solidFill>
              <a:schemeClr val="bg2"/>
            </a:solidFill>
            <a:miter lim="800000"/>
            <a:headEnd/>
            <a:tailEnd type="triangle" w="med" len="med"/>
          </a:ln>
        </p:spPr>
      </p:cxnSp>
      <p:cxnSp>
        <p:nvCxnSpPr>
          <p:cNvPr id="21" name="AutoShape 20"/>
          <p:cNvCxnSpPr>
            <a:cxnSpLocks noChangeShapeType="1"/>
            <a:stCxn id="8" idx="3"/>
            <a:endCxn id="9" idx="1"/>
          </p:cNvCxnSpPr>
          <p:nvPr/>
        </p:nvCxnSpPr>
        <p:spPr bwMode="auto">
          <a:xfrm flipV="1">
            <a:off x="4573444" y="3089945"/>
            <a:ext cx="268288" cy="0"/>
          </a:xfrm>
          <a:prstGeom prst="bentConnector3">
            <a:avLst>
              <a:gd name="adj1" fmla="val 50000"/>
            </a:avLst>
          </a:prstGeom>
          <a:noFill/>
          <a:ln w="3175">
            <a:solidFill>
              <a:schemeClr val="bg2"/>
            </a:solidFill>
            <a:miter lim="800000"/>
            <a:headEnd/>
            <a:tailEnd type="triangle" w="med" len="med"/>
          </a:ln>
        </p:spPr>
      </p:cxnSp>
      <p:cxnSp>
        <p:nvCxnSpPr>
          <p:cNvPr id="22" name="AutoShape 21"/>
          <p:cNvCxnSpPr>
            <a:cxnSpLocks noChangeShapeType="1"/>
            <a:stCxn id="12" idx="4"/>
          </p:cNvCxnSpPr>
          <p:nvPr/>
        </p:nvCxnSpPr>
        <p:spPr bwMode="auto">
          <a:xfrm rot="16200000" flipH="1">
            <a:off x="1723088" y="2700213"/>
            <a:ext cx="1863725" cy="2224087"/>
          </a:xfrm>
          <a:prstGeom prst="bentConnector2">
            <a:avLst/>
          </a:prstGeom>
          <a:noFill/>
          <a:ln w="3175">
            <a:solidFill>
              <a:schemeClr val="bg2"/>
            </a:solidFill>
            <a:miter lim="800000"/>
            <a:headEnd/>
            <a:tailEnd type="triangle" w="med" len="med"/>
          </a:ln>
        </p:spPr>
      </p:cxnSp>
      <p:cxnSp>
        <p:nvCxnSpPr>
          <p:cNvPr id="23" name="AutoShape 22"/>
          <p:cNvCxnSpPr>
            <a:cxnSpLocks noChangeShapeType="1"/>
            <a:stCxn id="12" idx="5"/>
            <a:endCxn id="16" idx="1"/>
          </p:cNvCxnSpPr>
          <p:nvPr/>
        </p:nvCxnSpPr>
        <p:spPr bwMode="auto">
          <a:xfrm rot="16200000" flipH="1">
            <a:off x="2157922" y="2526242"/>
            <a:ext cx="1370716" cy="1790278"/>
          </a:xfrm>
          <a:prstGeom prst="bentConnector2">
            <a:avLst/>
          </a:prstGeom>
          <a:noFill/>
          <a:ln w="3175">
            <a:solidFill>
              <a:schemeClr val="bg2"/>
            </a:solidFill>
            <a:miter lim="800000"/>
            <a:headEnd/>
            <a:tailEnd type="triangle" w="med" len="med"/>
          </a:ln>
        </p:spPr>
      </p:cxnSp>
      <p:cxnSp>
        <p:nvCxnSpPr>
          <p:cNvPr id="24" name="AutoShape 23"/>
          <p:cNvCxnSpPr>
            <a:cxnSpLocks noChangeShapeType="1"/>
            <a:stCxn id="12" idx="7"/>
            <a:endCxn id="4" idx="1"/>
          </p:cNvCxnSpPr>
          <p:nvPr/>
        </p:nvCxnSpPr>
        <p:spPr bwMode="auto">
          <a:xfrm rot="5400000" flipH="1" flipV="1">
            <a:off x="2287700" y="610437"/>
            <a:ext cx="1088934" cy="1768053"/>
          </a:xfrm>
          <a:prstGeom prst="bentConnector2">
            <a:avLst/>
          </a:prstGeom>
          <a:noFill/>
          <a:ln w="3175">
            <a:solidFill>
              <a:schemeClr val="bg2"/>
            </a:solidFill>
            <a:miter lim="800000"/>
            <a:headEnd/>
            <a:tailEnd type="triangle" w="med" len="med"/>
          </a:ln>
        </p:spPr>
      </p:cxnSp>
      <p:sp>
        <p:nvSpPr>
          <p:cNvPr id="25" name="Text Box 24"/>
          <p:cNvSpPr txBox="1">
            <a:spLocks noChangeArrowheads="1"/>
          </p:cNvSpPr>
          <p:nvPr/>
        </p:nvSpPr>
        <p:spPr bwMode="auto">
          <a:xfrm>
            <a:off x="2117582" y="537308"/>
            <a:ext cx="2371725" cy="438150"/>
          </a:xfrm>
          <a:prstGeom prst="rect">
            <a:avLst/>
          </a:prstGeom>
          <a:noFill/>
          <a:ln w="9525">
            <a:noFill/>
            <a:miter lim="800000"/>
            <a:headEnd/>
            <a:tailEnd/>
          </a:ln>
        </p:spPr>
        <p:txBody>
          <a:bodyPr lIns="18000" tIns="10800" rIns="18000" bIns="10800">
            <a:spAutoFit/>
          </a:bodyPr>
          <a:lstStyle/>
          <a:p>
            <a:pPr eaLnBrk="0" hangingPunct="0"/>
            <a:r>
              <a:rPr lang="fr-FR" sz="900" i="1" dirty="0" err="1"/>
              <a:t>Debt</a:t>
            </a:r>
            <a:r>
              <a:rPr lang="fr-FR" sz="900" i="1" dirty="0"/>
              <a:t> &gt; €2,000 and </a:t>
            </a:r>
            <a:r>
              <a:rPr lang="fr-FR" sz="900" i="1" dirty="0" err="1"/>
              <a:t>performing</a:t>
            </a:r>
            <a:r>
              <a:rPr lang="fr-FR" sz="900" i="1" dirty="0"/>
              <a:t> </a:t>
            </a:r>
          </a:p>
          <a:p>
            <a:pPr eaLnBrk="0" hangingPunct="0"/>
            <a:r>
              <a:rPr lang="fr-FR" sz="900" i="1" dirty="0" err="1"/>
              <a:t>bailiffs</a:t>
            </a:r>
            <a:r>
              <a:rPr lang="fr-FR" sz="900" i="1" dirty="0"/>
              <a:t>, </a:t>
            </a:r>
          </a:p>
          <a:p>
            <a:pPr eaLnBrk="0" hangingPunct="0"/>
            <a:r>
              <a:rPr lang="fr-FR" sz="900" i="1" dirty="0"/>
              <a:t>Or automobile files</a:t>
            </a:r>
          </a:p>
        </p:txBody>
      </p:sp>
      <p:sp>
        <p:nvSpPr>
          <p:cNvPr id="26" name="Text Box 25"/>
          <p:cNvSpPr txBox="1">
            <a:spLocks noChangeArrowheads="1"/>
          </p:cNvSpPr>
          <p:nvPr/>
        </p:nvSpPr>
        <p:spPr bwMode="auto">
          <a:xfrm>
            <a:off x="2150919" y="2026320"/>
            <a:ext cx="1531938" cy="298450"/>
          </a:xfrm>
          <a:prstGeom prst="rect">
            <a:avLst/>
          </a:prstGeom>
          <a:noFill/>
          <a:ln w="9525">
            <a:noFill/>
            <a:miter lim="800000"/>
            <a:headEnd/>
            <a:tailEnd/>
          </a:ln>
        </p:spPr>
        <p:txBody>
          <a:bodyPr lIns="18000" tIns="10800" rIns="18000" bIns="10800">
            <a:spAutoFit/>
          </a:bodyPr>
          <a:lstStyle/>
          <a:p>
            <a:pPr eaLnBrk="0" hangingPunct="0"/>
            <a:r>
              <a:rPr lang="fr-FR" sz="900" i="1" dirty="0" err="1"/>
              <a:t>Debt</a:t>
            </a:r>
            <a:r>
              <a:rPr lang="fr-FR" sz="900" i="1" dirty="0"/>
              <a:t> &lt; €2,000 or not </a:t>
            </a:r>
            <a:r>
              <a:rPr lang="fr-FR" sz="900" i="1" dirty="0" err="1"/>
              <a:t>performing</a:t>
            </a:r>
            <a:r>
              <a:rPr lang="fr-FR" sz="900" i="1" dirty="0"/>
              <a:t> </a:t>
            </a:r>
            <a:r>
              <a:rPr lang="fr-FR" sz="900" i="1" dirty="0" err="1"/>
              <a:t>bailiffs</a:t>
            </a:r>
            <a:r>
              <a:rPr lang="fr-FR" sz="900" i="1" dirty="0"/>
              <a:t> </a:t>
            </a:r>
          </a:p>
        </p:txBody>
      </p:sp>
      <p:sp>
        <p:nvSpPr>
          <p:cNvPr id="27" name="Text Box 26"/>
          <p:cNvSpPr txBox="1">
            <a:spLocks noChangeArrowheads="1"/>
          </p:cNvSpPr>
          <p:nvPr/>
        </p:nvSpPr>
        <p:spPr bwMode="auto">
          <a:xfrm>
            <a:off x="2136632" y="3913858"/>
            <a:ext cx="1533525" cy="160337"/>
          </a:xfrm>
          <a:prstGeom prst="rect">
            <a:avLst/>
          </a:prstGeom>
          <a:noFill/>
          <a:ln w="9525">
            <a:noFill/>
            <a:miter lim="800000"/>
            <a:headEnd/>
            <a:tailEnd/>
          </a:ln>
        </p:spPr>
        <p:txBody>
          <a:bodyPr lIns="18000" tIns="10800" rIns="18000" bIns="10800">
            <a:spAutoFit/>
          </a:bodyPr>
          <a:lstStyle/>
          <a:p>
            <a:pPr eaLnBrk="0" hangingPunct="0"/>
            <a:r>
              <a:rPr lang="fr-FR" sz="900" i="1" dirty="0"/>
              <a:t>€150 &lt; </a:t>
            </a:r>
            <a:r>
              <a:rPr lang="fr-FR" sz="900" i="1" dirty="0" err="1"/>
              <a:t>debt</a:t>
            </a:r>
            <a:r>
              <a:rPr lang="fr-FR" sz="900" i="1" dirty="0"/>
              <a:t> &lt; €610 </a:t>
            </a:r>
          </a:p>
        </p:txBody>
      </p:sp>
      <p:sp>
        <p:nvSpPr>
          <p:cNvPr id="28" name="Text Box 27"/>
          <p:cNvSpPr txBox="1">
            <a:spLocks noChangeArrowheads="1"/>
          </p:cNvSpPr>
          <p:nvPr/>
        </p:nvSpPr>
        <p:spPr bwMode="auto">
          <a:xfrm>
            <a:off x="1766744" y="4501233"/>
            <a:ext cx="1533525" cy="160337"/>
          </a:xfrm>
          <a:prstGeom prst="rect">
            <a:avLst/>
          </a:prstGeom>
          <a:noFill/>
          <a:ln w="9525">
            <a:noFill/>
            <a:miter lim="800000"/>
            <a:headEnd/>
            <a:tailEnd/>
          </a:ln>
        </p:spPr>
        <p:txBody>
          <a:bodyPr lIns="18000" tIns="10800" rIns="18000" bIns="10800">
            <a:spAutoFit/>
          </a:bodyPr>
          <a:lstStyle/>
          <a:p>
            <a:pPr eaLnBrk="0" hangingPunct="0"/>
            <a:r>
              <a:rPr lang="fr-FR" sz="900" i="1" dirty="0" err="1"/>
              <a:t>Debt</a:t>
            </a:r>
            <a:r>
              <a:rPr lang="fr-FR" sz="900" i="1" dirty="0"/>
              <a:t> &lt; €150 </a:t>
            </a:r>
          </a:p>
        </p:txBody>
      </p:sp>
      <p:grpSp>
        <p:nvGrpSpPr>
          <p:cNvPr id="29" name="Group 28"/>
          <p:cNvGrpSpPr>
            <a:grpSpLocks/>
          </p:cNvGrpSpPr>
          <p:nvPr/>
        </p:nvGrpSpPr>
        <p:grpSpPr bwMode="auto">
          <a:xfrm>
            <a:off x="370052" y="824646"/>
            <a:ext cx="1082675" cy="4102100"/>
            <a:chOff x="200" y="675"/>
            <a:chExt cx="630" cy="2853"/>
          </a:xfrm>
        </p:grpSpPr>
        <p:sp>
          <p:nvSpPr>
            <p:cNvPr id="30" name="Rectangle 29"/>
            <p:cNvSpPr>
              <a:spLocks noChangeArrowheads="1"/>
            </p:cNvSpPr>
            <p:nvPr/>
          </p:nvSpPr>
          <p:spPr bwMode="gray">
            <a:xfrm>
              <a:off x="200" y="675"/>
              <a:ext cx="630" cy="306"/>
            </a:xfrm>
            <a:prstGeom prst="rect">
              <a:avLst/>
            </a:prstGeom>
            <a:noFill/>
            <a:ln w="25400" algn="ctr">
              <a:solidFill>
                <a:srgbClr val="C0C0C0"/>
              </a:solidFill>
              <a:miter lim="800000"/>
              <a:headEnd/>
              <a:tailEnd/>
            </a:ln>
          </p:spPr>
          <p:txBody>
            <a:bodyPr lIns="108000" tIns="72000" rIns="72000" bIns="72000" anchor="ctr"/>
            <a:lstStyle/>
            <a:p>
              <a:pPr algn="ctr">
                <a:lnSpc>
                  <a:spcPct val="90000"/>
                </a:lnSpc>
                <a:spcBef>
                  <a:spcPct val="10000"/>
                </a:spcBef>
                <a:buClr>
                  <a:srgbClr val="00975A"/>
                </a:buClr>
                <a:buFont typeface="Wingdings" pitchFamily="2" charset="2"/>
                <a:buNone/>
              </a:pPr>
              <a:r>
                <a:rPr lang="fr-FR" sz="900" b="1" i="1" dirty="0" err="1"/>
                <a:t>Loan</a:t>
              </a:r>
              <a:r>
                <a:rPr lang="fr-FR" sz="900" b="1" i="1" dirty="0"/>
                <a:t> </a:t>
              </a:r>
              <a:r>
                <a:rPr lang="fr-FR" sz="900" b="1" i="1" dirty="0" err="1"/>
                <a:t>Acceleration</a:t>
              </a:r>
              <a:r>
                <a:rPr lang="fr-FR" sz="900" b="1" i="1" dirty="0"/>
                <a:t> </a:t>
              </a:r>
            </a:p>
          </p:txBody>
        </p:sp>
        <p:sp>
          <p:nvSpPr>
            <p:cNvPr id="31" name="Line 30"/>
            <p:cNvSpPr>
              <a:spLocks noChangeShapeType="1"/>
            </p:cNvSpPr>
            <p:nvPr/>
          </p:nvSpPr>
          <p:spPr bwMode="auto">
            <a:xfrm>
              <a:off x="495" y="990"/>
              <a:ext cx="0" cy="2538"/>
            </a:xfrm>
            <a:prstGeom prst="line">
              <a:avLst/>
            </a:prstGeom>
            <a:noFill/>
            <a:ln w="38100">
              <a:solidFill>
                <a:schemeClr val="bg2"/>
              </a:solidFill>
              <a:round/>
              <a:headEnd/>
              <a:tailEnd/>
            </a:ln>
          </p:spPr>
          <p:txBody>
            <a:bodyPr/>
            <a:lstStyle/>
            <a:p>
              <a:endParaRPr lang="fr-FR"/>
            </a:p>
          </p:txBody>
        </p:sp>
        <p:sp>
          <p:nvSpPr>
            <p:cNvPr id="32" name="AutoShape 31"/>
            <p:cNvSpPr>
              <a:spLocks noChangeArrowheads="1"/>
            </p:cNvSpPr>
            <p:nvPr/>
          </p:nvSpPr>
          <p:spPr bwMode="auto">
            <a:xfrm>
              <a:off x="441" y="990"/>
              <a:ext cx="108" cy="10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600 w 21600"/>
                <a:gd name="T13" fmla="*/ 4600 h 21600"/>
                <a:gd name="T14" fmla="*/ 17200 w 21600"/>
                <a:gd name="T15" fmla="*/ 172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chemeClr val="bg2"/>
            </a:solidFill>
            <a:ln w="9525">
              <a:solidFill>
                <a:schemeClr val="bg2"/>
              </a:solidFill>
              <a:miter lim="800000"/>
              <a:headEnd/>
              <a:tailEnd/>
            </a:ln>
          </p:spPr>
          <p:txBody>
            <a:bodyPr wrap="none" anchor="ctr"/>
            <a:lstStyle/>
            <a:p>
              <a:endParaRPr lang="fr-FR"/>
            </a:p>
          </p:txBody>
        </p:sp>
      </p:grpSp>
      <p:cxnSp>
        <p:nvCxnSpPr>
          <p:cNvPr id="33" name="AutoShape 42"/>
          <p:cNvCxnSpPr>
            <a:cxnSpLocks noChangeShapeType="1"/>
            <a:stCxn id="10" idx="0"/>
            <a:endCxn id="4" idx="2"/>
          </p:cNvCxnSpPr>
          <p:nvPr/>
        </p:nvCxnSpPr>
        <p:spPr bwMode="auto">
          <a:xfrm rot="16200000" flipV="1">
            <a:off x="5820426" y="752351"/>
            <a:ext cx="361950" cy="1306513"/>
          </a:xfrm>
          <a:prstGeom prst="bentConnector3">
            <a:avLst>
              <a:gd name="adj1" fmla="val 50000"/>
            </a:avLst>
          </a:prstGeom>
          <a:noFill/>
          <a:ln w="3175">
            <a:solidFill>
              <a:schemeClr val="bg2"/>
            </a:solidFill>
            <a:miter lim="800000"/>
            <a:headEnd/>
            <a:tailEnd type="triangle" w="med" len="med"/>
          </a:ln>
        </p:spPr>
      </p:cxnSp>
      <p:sp>
        <p:nvSpPr>
          <p:cNvPr id="34" name="Text Box 43"/>
          <p:cNvSpPr txBox="1">
            <a:spLocks noChangeArrowheads="1"/>
          </p:cNvSpPr>
          <p:nvPr/>
        </p:nvSpPr>
        <p:spPr bwMode="auto">
          <a:xfrm>
            <a:off x="3015754" y="4922673"/>
            <a:ext cx="1219200" cy="139700"/>
          </a:xfrm>
          <a:prstGeom prst="rect">
            <a:avLst/>
          </a:prstGeom>
          <a:noFill/>
          <a:ln w="9525">
            <a:noFill/>
            <a:miter lim="800000"/>
            <a:headEnd/>
            <a:tailEnd/>
          </a:ln>
        </p:spPr>
        <p:txBody>
          <a:bodyPr lIns="0" tIns="0" rIns="0" bIns="0">
            <a:spAutoFit/>
          </a:bodyPr>
          <a:lstStyle/>
          <a:p>
            <a:pPr eaLnBrk="0" hangingPunct="0"/>
            <a:r>
              <a:rPr lang="fr-FR" sz="900"/>
              <a:t>Consensual division </a:t>
            </a:r>
          </a:p>
        </p:txBody>
      </p:sp>
      <p:sp>
        <p:nvSpPr>
          <p:cNvPr id="35" name="Rectangle 44"/>
          <p:cNvSpPr>
            <a:spLocks noChangeArrowheads="1"/>
          </p:cNvSpPr>
          <p:nvPr/>
        </p:nvSpPr>
        <p:spPr bwMode="gray">
          <a:xfrm>
            <a:off x="2633167" y="4906798"/>
            <a:ext cx="309562" cy="185738"/>
          </a:xfrm>
          <a:prstGeom prst="rect">
            <a:avLst/>
          </a:prstGeom>
          <a:solidFill>
            <a:srgbClr val="00975A"/>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endParaRPr lang="en-GB" sz="900">
              <a:solidFill>
                <a:schemeClr val="bg1"/>
              </a:solidFill>
            </a:endParaRPr>
          </a:p>
        </p:txBody>
      </p:sp>
      <p:sp>
        <p:nvSpPr>
          <p:cNvPr id="36" name="Text Box 45"/>
          <p:cNvSpPr txBox="1">
            <a:spLocks noChangeArrowheads="1"/>
          </p:cNvSpPr>
          <p:nvPr/>
        </p:nvSpPr>
        <p:spPr bwMode="auto">
          <a:xfrm>
            <a:off x="4688979" y="4922673"/>
            <a:ext cx="1339850" cy="139700"/>
          </a:xfrm>
          <a:prstGeom prst="rect">
            <a:avLst/>
          </a:prstGeom>
          <a:noFill/>
          <a:ln w="9525">
            <a:noFill/>
            <a:miter lim="800000"/>
            <a:headEnd/>
            <a:tailEnd/>
          </a:ln>
        </p:spPr>
        <p:txBody>
          <a:bodyPr lIns="0" tIns="0" rIns="0" bIns="0">
            <a:spAutoFit/>
          </a:bodyPr>
          <a:lstStyle/>
          <a:p>
            <a:pPr eaLnBrk="0" hangingPunct="0"/>
            <a:r>
              <a:rPr lang="fr-FR" sz="900" dirty="0"/>
              <a:t>Judicial division </a:t>
            </a:r>
          </a:p>
        </p:txBody>
      </p:sp>
      <p:sp>
        <p:nvSpPr>
          <p:cNvPr id="37" name="Rectangle 46"/>
          <p:cNvSpPr>
            <a:spLocks noChangeArrowheads="1"/>
          </p:cNvSpPr>
          <p:nvPr/>
        </p:nvSpPr>
        <p:spPr bwMode="gray">
          <a:xfrm>
            <a:off x="4306392" y="4906798"/>
            <a:ext cx="309562" cy="185738"/>
          </a:xfrm>
          <a:prstGeom prst="rect">
            <a:avLst/>
          </a:prstGeom>
          <a:solidFill>
            <a:srgbClr val="7AB92D"/>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endParaRPr lang="en-GB" sz="900">
              <a:solidFill>
                <a:schemeClr val="bg1"/>
              </a:solidFill>
            </a:endParaRPr>
          </a:p>
        </p:txBody>
      </p:sp>
      <p:sp>
        <p:nvSpPr>
          <p:cNvPr id="38" name="Text Box 47"/>
          <p:cNvSpPr txBox="1">
            <a:spLocks noChangeArrowheads="1"/>
          </p:cNvSpPr>
          <p:nvPr/>
        </p:nvSpPr>
        <p:spPr bwMode="auto">
          <a:xfrm>
            <a:off x="6578104" y="4924261"/>
            <a:ext cx="866775" cy="139700"/>
          </a:xfrm>
          <a:prstGeom prst="rect">
            <a:avLst/>
          </a:prstGeom>
          <a:noFill/>
          <a:ln w="9525">
            <a:noFill/>
            <a:miter lim="800000"/>
            <a:headEnd/>
            <a:tailEnd/>
          </a:ln>
        </p:spPr>
        <p:txBody>
          <a:bodyPr lIns="0" tIns="0" rIns="0" bIns="0">
            <a:spAutoFit/>
          </a:bodyPr>
          <a:lstStyle/>
          <a:p>
            <a:pPr eaLnBrk="0" hangingPunct="0"/>
            <a:r>
              <a:rPr lang="fr-FR" sz="900"/>
              <a:t>Bailiff division </a:t>
            </a:r>
          </a:p>
        </p:txBody>
      </p:sp>
      <p:sp>
        <p:nvSpPr>
          <p:cNvPr id="39" name="Rectangle 48"/>
          <p:cNvSpPr>
            <a:spLocks noChangeArrowheads="1"/>
          </p:cNvSpPr>
          <p:nvPr/>
        </p:nvSpPr>
        <p:spPr bwMode="gray">
          <a:xfrm>
            <a:off x="6197104" y="4906798"/>
            <a:ext cx="309563" cy="185738"/>
          </a:xfrm>
          <a:prstGeom prst="rect">
            <a:avLst/>
          </a:prstGeom>
          <a:solidFill>
            <a:srgbClr val="C5E232"/>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endParaRPr lang="en-GB" sz="900">
              <a:solidFill>
                <a:schemeClr val="bg1"/>
              </a:solidFill>
            </a:endParaRPr>
          </a:p>
        </p:txBody>
      </p:sp>
      <p:cxnSp>
        <p:nvCxnSpPr>
          <p:cNvPr id="40" name="AutoShape 49"/>
          <p:cNvCxnSpPr>
            <a:cxnSpLocks noChangeShapeType="1"/>
            <a:stCxn id="16" idx="3"/>
            <a:endCxn id="17" idx="1"/>
          </p:cNvCxnSpPr>
          <p:nvPr/>
        </p:nvCxnSpPr>
        <p:spPr bwMode="auto">
          <a:xfrm>
            <a:off x="4573444" y="4107533"/>
            <a:ext cx="268288" cy="0"/>
          </a:xfrm>
          <a:prstGeom prst="bentConnector3">
            <a:avLst>
              <a:gd name="adj1" fmla="val 50000"/>
            </a:avLst>
          </a:prstGeom>
          <a:noFill/>
          <a:ln w="3175">
            <a:solidFill>
              <a:schemeClr val="bg2"/>
            </a:solidFill>
            <a:miter lim="800000"/>
            <a:headEnd/>
            <a:tailEnd type="triangle" w="med" len="med"/>
          </a:ln>
        </p:spPr>
      </p:cxnSp>
      <p:cxnSp>
        <p:nvCxnSpPr>
          <p:cNvPr id="41" name="AutoShape 50"/>
          <p:cNvCxnSpPr>
            <a:cxnSpLocks noChangeShapeType="1"/>
            <a:stCxn id="8" idx="2"/>
            <a:endCxn id="10" idx="5"/>
          </p:cNvCxnSpPr>
          <p:nvPr/>
        </p:nvCxnSpPr>
        <p:spPr bwMode="auto">
          <a:xfrm rot="5400000" flipH="1" flipV="1">
            <a:off x="5275913" y="1498477"/>
            <a:ext cx="768350" cy="3008312"/>
          </a:xfrm>
          <a:prstGeom prst="bentConnector3">
            <a:avLst>
              <a:gd name="adj1" fmla="val -29727"/>
            </a:avLst>
          </a:prstGeom>
          <a:noFill/>
          <a:ln w="3175">
            <a:solidFill>
              <a:schemeClr val="bg2"/>
            </a:solidFill>
            <a:prstDash val="dash"/>
            <a:miter lim="800000"/>
            <a:headEnd/>
            <a:tailEnd type="triangle" w="med" len="med"/>
          </a:ln>
        </p:spPr>
      </p:cxnSp>
      <p:cxnSp>
        <p:nvCxnSpPr>
          <p:cNvPr id="42" name="AutoShape 51"/>
          <p:cNvCxnSpPr>
            <a:cxnSpLocks noChangeShapeType="1"/>
            <a:stCxn id="4" idx="3"/>
          </p:cNvCxnSpPr>
          <p:nvPr/>
        </p:nvCxnSpPr>
        <p:spPr bwMode="auto">
          <a:xfrm>
            <a:off x="6981682" y="949996"/>
            <a:ext cx="755646" cy="1120044"/>
          </a:xfrm>
          <a:prstGeom prst="bentConnector2">
            <a:avLst/>
          </a:prstGeom>
          <a:noFill/>
          <a:ln w="9525">
            <a:solidFill>
              <a:schemeClr val="tx1"/>
            </a:solidFill>
            <a:miter lim="800000"/>
            <a:headEnd/>
            <a:tailEnd type="triangle" w="med" len="med"/>
          </a:ln>
        </p:spPr>
      </p:cxnSp>
      <p:grpSp>
        <p:nvGrpSpPr>
          <p:cNvPr id="48" name="Group 32"/>
          <p:cNvGrpSpPr>
            <a:grpSpLocks/>
          </p:cNvGrpSpPr>
          <p:nvPr/>
        </p:nvGrpSpPr>
        <p:grpSpPr bwMode="auto">
          <a:xfrm>
            <a:off x="7396172" y="1992103"/>
            <a:ext cx="1385608" cy="2530910"/>
            <a:chOff x="4410" y="2081"/>
            <a:chExt cx="1221" cy="1304"/>
          </a:xfrm>
        </p:grpSpPr>
        <p:sp>
          <p:nvSpPr>
            <p:cNvPr id="49" name="Rectangle 33"/>
            <p:cNvSpPr>
              <a:spLocks noChangeArrowheads="1"/>
            </p:cNvSpPr>
            <p:nvPr/>
          </p:nvSpPr>
          <p:spPr bwMode="gray">
            <a:xfrm>
              <a:off x="4421" y="2143"/>
              <a:ext cx="156" cy="244"/>
            </a:xfrm>
            <a:prstGeom prst="rect">
              <a:avLst/>
            </a:prstGeom>
            <a:solidFill>
              <a:srgbClr val="00975A"/>
            </a:solidFill>
            <a:ln w="12700" algn="ctr">
              <a:noFill/>
              <a:miter lim="800000"/>
              <a:headEnd/>
              <a:tailEnd/>
            </a:ln>
          </p:spPr>
          <p:txBody>
            <a:bodyPr lIns="0" tIns="0" rIns="0" bIns="0" anchor="ctr"/>
            <a:lstStyle/>
            <a:p>
              <a:pPr>
                <a:spcBef>
                  <a:spcPct val="20000"/>
                </a:spcBef>
              </a:pPr>
              <a:endParaRPr lang="en-GB" sz="900" b="1"/>
            </a:p>
          </p:txBody>
        </p:sp>
        <p:sp>
          <p:nvSpPr>
            <p:cNvPr id="50" name="Rectangle 34"/>
            <p:cNvSpPr>
              <a:spLocks noChangeArrowheads="1"/>
            </p:cNvSpPr>
            <p:nvPr/>
          </p:nvSpPr>
          <p:spPr bwMode="gray">
            <a:xfrm>
              <a:off x="4586" y="2140"/>
              <a:ext cx="168" cy="244"/>
            </a:xfrm>
            <a:prstGeom prst="rect">
              <a:avLst/>
            </a:prstGeom>
            <a:solidFill>
              <a:srgbClr val="7AB92D"/>
            </a:solidFill>
            <a:ln w="12700" algn="ctr">
              <a:noFill/>
              <a:miter lim="800000"/>
              <a:headEnd/>
              <a:tailEnd/>
            </a:ln>
          </p:spPr>
          <p:txBody>
            <a:bodyPr lIns="0" tIns="0" rIns="0" bIns="0" anchor="ctr"/>
            <a:lstStyle/>
            <a:p>
              <a:pPr>
                <a:spcBef>
                  <a:spcPct val="20000"/>
                </a:spcBef>
              </a:pPr>
              <a:endParaRPr lang="en-GB" sz="900" b="1"/>
            </a:p>
          </p:txBody>
        </p:sp>
        <p:sp>
          <p:nvSpPr>
            <p:cNvPr id="51" name="Rectangle 35"/>
            <p:cNvSpPr>
              <a:spLocks noChangeArrowheads="1"/>
            </p:cNvSpPr>
            <p:nvPr/>
          </p:nvSpPr>
          <p:spPr bwMode="gray">
            <a:xfrm>
              <a:off x="4737" y="2142"/>
              <a:ext cx="168" cy="244"/>
            </a:xfrm>
            <a:prstGeom prst="rect">
              <a:avLst/>
            </a:prstGeom>
            <a:solidFill>
              <a:srgbClr val="C5E232"/>
            </a:solidFill>
            <a:ln w="12700" algn="ctr">
              <a:noFill/>
              <a:miter lim="800000"/>
              <a:headEnd/>
              <a:tailEnd/>
            </a:ln>
          </p:spPr>
          <p:txBody>
            <a:bodyPr lIns="0" tIns="0" rIns="0" bIns="0" anchor="ctr"/>
            <a:lstStyle/>
            <a:p>
              <a:pPr>
                <a:spcBef>
                  <a:spcPct val="20000"/>
                </a:spcBef>
              </a:pPr>
              <a:endParaRPr lang="en-GB" sz="900" b="1"/>
            </a:p>
          </p:txBody>
        </p:sp>
        <p:sp>
          <p:nvSpPr>
            <p:cNvPr id="52" name="Rectangle 36"/>
            <p:cNvSpPr>
              <a:spLocks noChangeArrowheads="1"/>
            </p:cNvSpPr>
            <p:nvPr/>
          </p:nvSpPr>
          <p:spPr bwMode="gray">
            <a:xfrm>
              <a:off x="4410" y="2159"/>
              <a:ext cx="495" cy="229"/>
            </a:xfrm>
            <a:prstGeom prst="rect">
              <a:avLst/>
            </a:prstGeom>
            <a:no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endParaRPr lang="fr-FR" sz="900" b="1" dirty="0">
                <a:solidFill>
                  <a:schemeClr val="bg1"/>
                </a:solidFill>
              </a:endParaRPr>
            </a:p>
          </p:txBody>
        </p:sp>
        <p:sp>
          <p:nvSpPr>
            <p:cNvPr id="53" name="Rectangle 37"/>
            <p:cNvSpPr>
              <a:spLocks noChangeArrowheads="1"/>
            </p:cNvSpPr>
            <p:nvPr/>
          </p:nvSpPr>
          <p:spPr bwMode="gray">
            <a:xfrm>
              <a:off x="4749" y="2561"/>
              <a:ext cx="747" cy="321"/>
            </a:xfrm>
            <a:prstGeom prst="rect">
              <a:avLst/>
            </a:prstGeom>
            <a:solidFill>
              <a:srgbClr val="00975A"/>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dirty="0" err="1">
                  <a:solidFill>
                    <a:schemeClr val="bg1"/>
                  </a:solidFill>
                </a:rPr>
                <a:t>Internal</a:t>
              </a:r>
              <a:r>
                <a:rPr lang="fr-FR" sz="900" b="1" dirty="0">
                  <a:solidFill>
                    <a:schemeClr val="bg1"/>
                  </a:solidFill>
                </a:rPr>
                <a:t> </a:t>
              </a:r>
              <a:r>
                <a:rPr lang="fr-FR" sz="900" b="1" dirty="0" err="1">
                  <a:solidFill>
                    <a:schemeClr val="bg1"/>
                  </a:solidFill>
                </a:rPr>
                <a:t>recovery</a:t>
              </a:r>
              <a:r>
                <a:rPr lang="fr-FR" sz="900" b="1" dirty="0">
                  <a:solidFill>
                    <a:schemeClr val="bg1"/>
                  </a:solidFill>
                </a:rPr>
                <a:t> on </a:t>
              </a:r>
              <a:r>
                <a:rPr lang="fr-FR" sz="900" b="1" dirty="0" err="1">
                  <a:solidFill>
                    <a:schemeClr val="bg1"/>
                  </a:solidFill>
                </a:rPr>
                <a:t>written</a:t>
              </a:r>
              <a:r>
                <a:rPr lang="fr-FR" sz="900" b="1" dirty="0">
                  <a:solidFill>
                    <a:schemeClr val="bg1"/>
                  </a:solidFill>
                </a:rPr>
                <a:t> – off </a:t>
              </a:r>
              <a:r>
                <a:rPr lang="fr-FR" sz="900" b="1" dirty="0" err="1">
                  <a:solidFill>
                    <a:schemeClr val="bg1"/>
                  </a:solidFill>
                </a:rPr>
                <a:t>receivables</a:t>
              </a:r>
              <a:r>
                <a:rPr lang="fr-FR" sz="900" b="1" dirty="0">
                  <a:solidFill>
                    <a:schemeClr val="bg1"/>
                  </a:solidFill>
                </a:rPr>
                <a:t> ( </a:t>
              </a:r>
              <a:r>
                <a:rPr lang="fr-FR" sz="900" b="1" i="1" dirty="0">
                  <a:solidFill>
                    <a:schemeClr val="bg1"/>
                  </a:solidFill>
                </a:rPr>
                <a:t>RCI</a:t>
              </a:r>
              <a:r>
                <a:rPr lang="fr-FR" sz="900" b="1" dirty="0">
                  <a:solidFill>
                    <a:schemeClr val="bg1"/>
                  </a:solidFill>
                </a:rPr>
                <a:t>)</a:t>
              </a:r>
            </a:p>
          </p:txBody>
        </p:sp>
        <p:sp>
          <p:nvSpPr>
            <p:cNvPr id="54" name="Rectangle 38"/>
            <p:cNvSpPr>
              <a:spLocks noChangeArrowheads="1"/>
            </p:cNvSpPr>
            <p:nvPr/>
          </p:nvSpPr>
          <p:spPr bwMode="gray">
            <a:xfrm>
              <a:off x="4749" y="3022"/>
              <a:ext cx="747" cy="363"/>
            </a:xfrm>
            <a:prstGeom prst="rect">
              <a:avLst/>
            </a:prstGeom>
            <a:solidFill>
              <a:srgbClr val="00975A"/>
            </a:solidFill>
            <a:ln w="12700" algn="ctr">
              <a:noFill/>
              <a:miter lim="800000"/>
              <a:headEnd/>
              <a:tailEnd/>
            </a:ln>
          </p:spPr>
          <p:txBody>
            <a:bodyPr lIns="0" tIns="0" rIns="0" bIns="0" anchor="ctr"/>
            <a:lstStyle/>
            <a:p>
              <a:pPr algn="ctr">
                <a:lnSpc>
                  <a:spcPct val="90000"/>
                </a:lnSpc>
                <a:spcBef>
                  <a:spcPct val="10000"/>
                </a:spcBef>
                <a:buClr>
                  <a:srgbClr val="00975A"/>
                </a:buClr>
                <a:buFont typeface="Wingdings" pitchFamily="2" charset="2"/>
                <a:buNone/>
              </a:pPr>
              <a:r>
                <a:rPr lang="fr-FR" sz="900" b="1" dirty="0" err="1">
                  <a:solidFill>
                    <a:schemeClr val="bg1"/>
                  </a:solidFill>
                </a:rPr>
                <a:t>External</a:t>
              </a:r>
              <a:r>
                <a:rPr lang="fr-FR" sz="900" b="1" dirty="0">
                  <a:solidFill>
                    <a:schemeClr val="bg1"/>
                  </a:solidFill>
                </a:rPr>
                <a:t> </a:t>
              </a:r>
              <a:r>
                <a:rPr lang="fr-FR" sz="900" b="1" dirty="0" err="1">
                  <a:solidFill>
                    <a:schemeClr val="bg1"/>
                  </a:solidFill>
                </a:rPr>
                <a:t>recovery</a:t>
              </a:r>
              <a:r>
                <a:rPr lang="fr-FR" sz="900" b="1" dirty="0">
                  <a:solidFill>
                    <a:schemeClr val="bg1"/>
                  </a:solidFill>
                </a:rPr>
                <a:t> on </a:t>
              </a:r>
              <a:r>
                <a:rPr lang="fr-FR" sz="900" b="1" dirty="0" err="1">
                  <a:solidFill>
                    <a:schemeClr val="bg1"/>
                  </a:solidFill>
                </a:rPr>
                <a:t>written</a:t>
              </a:r>
              <a:r>
                <a:rPr lang="fr-FR" sz="900" b="1" dirty="0">
                  <a:solidFill>
                    <a:schemeClr val="bg1"/>
                  </a:solidFill>
                </a:rPr>
                <a:t> – off </a:t>
              </a:r>
              <a:r>
                <a:rPr lang="fr-FR" sz="900" b="1" dirty="0" err="1">
                  <a:solidFill>
                    <a:schemeClr val="bg1"/>
                  </a:solidFill>
                </a:rPr>
                <a:t>receivables</a:t>
              </a:r>
              <a:r>
                <a:rPr lang="fr-FR" sz="900" b="1" dirty="0">
                  <a:solidFill>
                    <a:schemeClr val="bg1"/>
                  </a:solidFill>
                </a:rPr>
                <a:t> ( RCE ) </a:t>
              </a:r>
              <a:endParaRPr lang="fr-FR" sz="900" b="1" i="1" dirty="0">
                <a:solidFill>
                  <a:schemeClr val="bg1"/>
                </a:solidFill>
              </a:endParaRPr>
            </a:p>
          </p:txBody>
        </p:sp>
        <p:cxnSp>
          <p:nvCxnSpPr>
            <p:cNvPr id="55" name="AutoShape 39"/>
            <p:cNvCxnSpPr>
              <a:cxnSpLocks noChangeShapeType="1"/>
              <a:stCxn id="52" idx="3"/>
              <a:endCxn id="53" idx="0"/>
            </p:cNvCxnSpPr>
            <p:nvPr/>
          </p:nvCxnSpPr>
          <p:spPr bwMode="auto">
            <a:xfrm>
              <a:off x="4905" y="2274"/>
              <a:ext cx="217" cy="287"/>
            </a:xfrm>
            <a:prstGeom prst="bentConnector2">
              <a:avLst/>
            </a:prstGeom>
            <a:noFill/>
            <a:ln w="3175">
              <a:solidFill>
                <a:schemeClr val="bg2"/>
              </a:solidFill>
              <a:miter lim="800000"/>
              <a:headEnd/>
              <a:tailEnd type="triangle" w="med" len="med"/>
            </a:ln>
          </p:spPr>
        </p:cxnSp>
        <p:cxnSp>
          <p:nvCxnSpPr>
            <p:cNvPr id="56" name="AutoShape 40"/>
            <p:cNvCxnSpPr>
              <a:cxnSpLocks noChangeShapeType="1"/>
              <a:stCxn id="53" idx="2"/>
              <a:endCxn id="54" idx="0"/>
            </p:cNvCxnSpPr>
            <p:nvPr/>
          </p:nvCxnSpPr>
          <p:spPr bwMode="auto">
            <a:xfrm>
              <a:off x="5122" y="2882"/>
              <a:ext cx="0" cy="140"/>
            </a:xfrm>
            <a:prstGeom prst="straightConnector1">
              <a:avLst/>
            </a:prstGeom>
            <a:noFill/>
            <a:ln w="3175">
              <a:solidFill>
                <a:schemeClr val="bg2"/>
              </a:solidFill>
              <a:round/>
              <a:headEnd/>
              <a:tailEnd type="triangle" w="med" len="med"/>
            </a:ln>
          </p:spPr>
        </p:cxnSp>
        <p:sp>
          <p:nvSpPr>
            <p:cNvPr id="57" name="Text Box 41"/>
            <p:cNvSpPr txBox="1">
              <a:spLocks noChangeArrowheads="1"/>
            </p:cNvSpPr>
            <p:nvPr/>
          </p:nvSpPr>
          <p:spPr bwMode="auto">
            <a:xfrm>
              <a:off x="5136" y="2081"/>
              <a:ext cx="495" cy="188"/>
            </a:xfrm>
            <a:prstGeom prst="rect">
              <a:avLst/>
            </a:prstGeom>
            <a:noFill/>
            <a:ln w="9525">
              <a:noFill/>
              <a:miter lim="800000"/>
              <a:headEnd/>
              <a:tailEnd/>
            </a:ln>
          </p:spPr>
          <p:txBody>
            <a:bodyPr lIns="18000" tIns="10800" rIns="18000" bIns="10800">
              <a:spAutoFit/>
            </a:bodyPr>
            <a:lstStyle/>
            <a:p>
              <a:pPr eaLnBrk="0" hangingPunct="0"/>
              <a:r>
                <a:rPr lang="fr-FR" sz="900" b="1" i="1"/>
                <a:t>Delay &gt; 2 months</a:t>
              </a:r>
            </a:p>
          </p:txBody>
        </p:sp>
      </p:grpSp>
      <p:sp>
        <p:nvSpPr>
          <p:cNvPr id="61" name="Rectangle 60"/>
          <p:cNvSpPr/>
          <p:nvPr/>
        </p:nvSpPr>
        <p:spPr>
          <a:xfrm>
            <a:off x="7381807" y="2201888"/>
            <a:ext cx="658777" cy="216982"/>
          </a:xfrm>
          <a:prstGeom prst="rect">
            <a:avLst/>
          </a:prstGeom>
        </p:spPr>
        <p:txBody>
          <a:bodyPr wrap="square">
            <a:spAutoFit/>
          </a:bodyPr>
          <a:lstStyle/>
          <a:p>
            <a:pPr algn="ctr">
              <a:lnSpc>
                <a:spcPct val="90000"/>
              </a:lnSpc>
              <a:spcBef>
                <a:spcPct val="10000"/>
              </a:spcBef>
              <a:buClr>
                <a:srgbClr val="00975A"/>
              </a:buClr>
              <a:buFont typeface="Wingdings" pitchFamily="2" charset="2"/>
              <a:buNone/>
            </a:pPr>
            <a:r>
              <a:rPr lang="fr-FR" sz="900" b="1" dirty="0">
                <a:solidFill>
                  <a:schemeClr val="bg1"/>
                </a:solidFill>
              </a:rPr>
              <a:t>Write-off </a:t>
            </a:r>
          </a:p>
        </p:txBody>
      </p:sp>
    </p:spTree>
    <p:extLst>
      <p:ext uri="{BB962C8B-B14F-4D97-AF65-F5344CB8AC3E}">
        <p14:creationId xmlns:p14="http://schemas.microsoft.com/office/powerpoint/2010/main" val="109712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3"/>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8"/>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5"/>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6" grpId="0" animBg="1"/>
      <p:bldP spid="17" grpId="0" animBg="1"/>
      <p:bldP spid="25" grpId="0"/>
      <p:bldP spid="26" grpId="0"/>
      <p:bldP spid="27" grpId="0"/>
      <p:bldP spid="2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9"/>
          </p:nvPr>
        </p:nvSpPr>
        <p:spPr/>
        <p:txBody>
          <a:bodyPr/>
          <a:lstStyle/>
          <a:p>
            <a:fld id="{98BD2159-827C-4021-9B0E-DCD852BEB59E}" type="slidenum">
              <a:rPr lang="en-GB" smtClean="0"/>
              <a:pPr/>
              <a:t>5</a:t>
            </a:fld>
            <a:endParaRPr lang="en-GB" dirty="0"/>
          </a:p>
        </p:txBody>
      </p:sp>
      <p:sp>
        <p:nvSpPr>
          <p:cNvPr id="23" name="Title 2"/>
          <p:cNvSpPr>
            <a:spLocks noGrp="1"/>
          </p:cNvSpPr>
          <p:nvPr>
            <p:ph type="title"/>
          </p:nvPr>
        </p:nvSpPr>
        <p:spPr>
          <a:xfrm>
            <a:off x="517608" y="173626"/>
            <a:ext cx="7997742" cy="824594"/>
          </a:xfrm>
        </p:spPr>
        <p:txBody>
          <a:bodyPr/>
          <a:lstStyle/>
          <a:p>
            <a:r>
              <a:rPr lang="fr-FR" dirty="0">
                <a:solidFill>
                  <a:prstClr val="black"/>
                </a:solidFill>
              </a:rPr>
              <a:t>CACF Group</a:t>
            </a:r>
            <a:br>
              <a:rPr lang="fr-FR" dirty="0">
                <a:solidFill>
                  <a:prstClr val="black"/>
                </a:solidFill>
              </a:rPr>
            </a:br>
            <a:r>
              <a:rPr lang="fr-FR" sz="1400" dirty="0" err="1">
                <a:solidFill>
                  <a:prstClr val="white">
                    <a:lumMod val="50000"/>
                  </a:prstClr>
                </a:solidFill>
              </a:rPr>
              <a:t>History</a:t>
            </a:r>
            <a:endParaRPr lang="en-US" sz="1400" dirty="0">
              <a:solidFill>
                <a:prstClr val="white">
                  <a:lumMod val="50000"/>
                </a:prstClr>
              </a:solidFill>
            </a:endParaRPr>
          </a:p>
        </p:txBody>
      </p:sp>
      <p:sp>
        <p:nvSpPr>
          <p:cNvPr id="20" name="Rectangle 12"/>
          <p:cNvSpPr>
            <a:spLocks noChangeArrowheads="1"/>
          </p:cNvSpPr>
          <p:nvPr/>
        </p:nvSpPr>
        <p:spPr bwMode="gray">
          <a:xfrm>
            <a:off x="351130" y="672532"/>
            <a:ext cx="8108531" cy="4174288"/>
          </a:xfrm>
          <a:prstGeom prst="rect">
            <a:avLst/>
          </a:prstGeom>
          <a:noFill/>
          <a:ln w="9525">
            <a:noFill/>
            <a:miter lim="800000"/>
            <a:headEnd/>
            <a:tailEnd/>
          </a:ln>
        </p:spPr>
        <p:txBody>
          <a:bodyPr/>
          <a:lstStyle/>
          <a:p>
            <a:pPr marL="85723" lvl="2" indent="-180971" defTabSz="457189">
              <a:lnSpc>
                <a:spcPct val="150000"/>
              </a:lnSpc>
              <a:spcBef>
                <a:spcPts val="600"/>
              </a:spcBef>
              <a:buClr>
                <a:srgbClr val="009B5F"/>
              </a:buClr>
              <a:buSzPct val="133000"/>
              <a:buFont typeface="Wingdings" panose="05000000000000000000" pitchFamily="2" charset="2"/>
              <a:buChar char="§"/>
              <a:tabLst>
                <a:tab pos="803255" algn="l"/>
              </a:tabLst>
            </a:pPr>
            <a:r>
              <a:rPr lang="en-US" sz="900" b="1" dirty="0">
                <a:solidFill>
                  <a:prstClr val="black"/>
                </a:solidFill>
              </a:rPr>
              <a:t>1951</a:t>
            </a:r>
            <a:r>
              <a:rPr lang="en-US" sz="900" dirty="0">
                <a:solidFill>
                  <a:prstClr val="black"/>
                </a:solidFill>
              </a:rPr>
              <a:t>: Establishment of </a:t>
            </a:r>
            <a:r>
              <a:rPr lang="en-US" sz="900" dirty="0" err="1">
                <a:solidFill>
                  <a:prstClr val="black"/>
                </a:solidFill>
              </a:rPr>
              <a:t>Sofinco</a:t>
            </a:r>
            <a:endParaRPr lang="en-US" sz="900" dirty="0">
              <a:solidFill>
                <a:prstClr val="black"/>
              </a:solidFill>
            </a:endParaRPr>
          </a:p>
          <a:p>
            <a:pPr marL="85723" lvl="2" indent="-180971" defTabSz="457189">
              <a:lnSpc>
                <a:spcPct val="200000"/>
              </a:lnSpc>
              <a:spcBef>
                <a:spcPts val="600"/>
              </a:spcBef>
              <a:buClr>
                <a:srgbClr val="009B5F"/>
              </a:buClr>
              <a:buSzPct val="133000"/>
              <a:buFont typeface="Wingdings" panose="05000000000000000000" pitchFamily="2" charset="2"/>
              <a:buChar char="§"/>
              <a:tabLst>
                <a:tab pos="803255" algn="l"/>
              </a:tabLst>
            </a:pPr>
            <a:r>
              <a:rPr lang="en-US" sz="900" b="1" dirty="0">
                <a:solidFill>
                  <a:prstClr val="black"/>
                </a:solidFill>
              </a:rPr>
              <a:t>1999: </a:t>
            </a:r>
            <a:r>
              <a:rPr lang="en-US" sz="900" dirty="0">
                <a:solidFill>
                  <a:prstClr val="black"/>
                </a:solidFill>
              </a:rPr>
              <a:t>Acquisition of </a:t>
            </a:r>
            <a:r>
              <a:rPr lang="en-US" sz="900" dirty="0" err="1">
                <a:solidFill>
                  <a:prstClr val="black"/>
                </a:solidFill>
              </a:rPr>
              <a:t>Sofinco</a:t>
            </a:r>
            <a:r>
              <a:rPr lang="en-US" sz="900" dirty="0">
                <a:solidFill>
                  <a:prstClr val="black"/>
                </a:solidFill>
              </a:rPr>
              <a:t> by </a:t>
            </a:r>
            <a:r>
              <a:rPr lang="en-US" sz="900" dirty="0" err="1">
                <a:solidFill>
                  <a:prstClr val="black"/>
                </a:solidFill>
              </a:rPr>
              <a:t>CAsa</a:t>
            </a:r>
            <a:r>
              <a:rPr lang="en-US" sz="900" dirty="0">
                <a:solidFill>
                  <a:prstClr val="black"/>
                </a:solidFill>
              </a:rPr>
              <a:t> – Inception of </a:t>
            </a:r>
            <a:r>
              <a:rPr lang="en-US" sz="900" dirty="0" err="1">
                <a:solidFill>
                  <a:prstClr val="black"/>
                </a:solidFill>
              </a:rPr>
              <a:t>Viaxel</a:t>
            </a:r>
            <a:r>
              <a:rPr lang="en-US" sz="900" dirty="0">
                <a:solidFill>
                  <a:prstClr val="black"/>
                </a:solidFill>
              </a:rPr>
              <a:t> (car financing)</a:t>
            </a:r>
          </a:p>
          <a:p>
            <a:pPr marL="85723" lvl="2" indent="-180971" defTabSz="457189">
              <a:lnSpc>
                <a:spcPct val="200000"/>
              </a:lnSpc>
              <a:spcBef>
                <a:spcPts val="600"/>
              </a:spcBef>
              <a:buClr>
                <a:srgbClr val="009B5F"/>
              </a:buClr>
              <a:buSzPct val="133000"/>
              <a:buFont typeface="Wingdings" panose="05000000000000000000" pitchFamily="2" charset="2"/>
              <a:buChar char="§"/>
              <a:tabLst>
                <a:tab pos="803255" algn="l"/>
              </a:tabLst>
            </a:pPr>
            <a:r>
              <a:rPr lang="en-US" sz="900" b="1" dirty="0">
                <a:solidFill>
                  <a:prstClr val="black"/>
                </a:solidFill>
              </a:rPr>
              <a:t>2007: </a:t>
            </a:r>
            <a:r>
              <a:rPr lang="en-US" sz="900" dirty="0">
                <a:solidFill>
                  <a:prstClr val="black"/>
                </a:solidFill>
              </a:rPr>
              <a:t>Establishment of FGA Capital: JV between </a:t>
            </a:r>
            <a:r>
              <a:rPr lang="en-US" sz="900" dirty="0" err="1">
                <a:solidFill>
                  <a:prstClr val="black"/>
                </a:solidFill>
              </a:rPr>
              <a:t>Sofinco</a:t>
            </a:r>
            <a:r>
              <a:rPr lang="en-US" sz="900" dirty="0">
                <a:solidFill>
                  <a:prstClr val="black"/>
                </a:solidFill>
              </a:rPr>
              <a:t> (50%) and Fiat Group (50%)</a:t>
            </a:r>
          </a:p>
          <a:p>
            <a:pPr marL="85723" lvl="2" indent="-180971" defTabSz="457189">
              <a:lnSpc>
                <a:spcPct val="200000"/>
              </a:lnSpc>
              <a:spcBef>
                <a:spcPts val="600"/>
              </a:spcBef>
              <a:buClr>
                <a:srgbClr val="009B5F"/>
              </a:buClr>
              <a:buSzPct val="133000"/>
              <a:buFont typeface="Wingdings" panose="05000000000000000000" pitchFamily="2" charset="2"/>
              <a:buChar char="§"/>
              <a:tabLst>
                <a:tab pos="803255" algn="l"/>
              </a:tabLst>
            </a:pPr>
            <a:r>
              <a:rPr lang="en-US" sz="900" b="1" dirty="0">
                <a:solidFill>
                  <a:prstClr val="black"/>
                </a:solidFill>
              </a:rPr>
              <a:t>2010: </a:t>
            </a:r>
            <a:r>
              <a:rPr lang="en-US" sz="900" dirty="0">
                <a:solidFill>
                  <a:prstClr val="black"/>
                </a:solidFill>
              </a:rPr>
              <a:t>Establishment of CA Consumer Finance (CACF) through merger of </a:t>
            </a:r>
            <a:r>
              <a:rPr lang="en-US" sz="900" dirty="0" err="1">
                <a:solidFill>
                  <a:prstClr val="black"/>
                </a:solidFill>
              </a:rPr>
              <a:t>Sofinco</a:t>
            </a:r>
            <a:r>
              <a:rPr lang="en-US" sz="900" dirty="0">
                <a:solidFill>
                  <a:prstClr val="black"/>
                </a:solidFill>
              </a:rPr>
              <a:t> and </a:t>
            </a:r>
            <a:r>
              <a:rPr lang="en-US" sz="900" dirty="0" err="1">
                <a:solidFill>
                  <a:prstClr val="black"/>
                </a:solidFill>
              </a:rPr>
              <a:t>Finaref</a:t>
            </a:r>
            <a:r>
              <a:rPr lang="en-US" sz="900" dirty="0">
                <a:solidFill>
                  <a:prstClr val="black"/>
                </a:solidFill>
              </a:rPr>
              <a:t> – Inception of a subsidiary in China</a:t>
            </a:r>
          </a:p>
          <a:p>
            <a:pPr marL="85723" lvl="2" indent="-180971" defTabSz="457189">
              <a:lnSpc>
                <a:spcPct val="200000"/>
              </a:lnSpc>
              <a:spcBef>
                <a:spcPts val="600"/>
              </a:spcBef>
              <a:buClr>
                <a:srgbClr val="009B5F"/>
              </a:buClr>
              <a:buSzPct val="133000"/>
              <a:buFont typeface="Wingdings" panose="05000000000000000000" pitchFamily="2" charset="2"/>
              <a:buChar char="§"/>
            </a:pPr>
            <a:r>
              <a:rPr lang="en-US" sz="900" b="1" dirty="0">
                <a:solidFill>
                  <a:prstClr val="black"/>
                </a:solidFill>
              </a:rPr>
              <a:t>2011:</a:t>
            </a:r>
            <a:r>
              <a:rPr lang="en-US" sz="900" dirty="0">
                <a:solidFill>
                  <a:prstClr val="black"/>
                </a:solidFill>
              </a:rPr>
              <a:t> </a:t>
            </a:r>
            <a:r>
              <a:rPr lang="en-US" sz="900" dirty="0" err="1">
                <a:solidFill>
                  <a:prstClr val="black"/>
                </a:solidFill>
              </a:rPr>
              <a:t>Crédit</a:t>
            </a:r>
            <a:r>
              <a:rPr lang="en-US" sz="900" dirty="0">
                <a:solidFill>
                  <a:prstClr val="black"/>
                </a:solidFill>
              </a:rPr>
              <a:t> Agricole S.A. decided in December a deleveraging plan impacting CACF (“Adaptation Plan”)</a:t>
            </a:r>
          </a:p>
          <a:p>
            <a:pPr marL="179996" lvl="2" indent="-180971" defTabSz="457189">
              <a:lnSpc>
                <a:spcPct val="200000"/>
              </a:lnSpc>
              <a:spcBef>
                <a:spcPts val="600"/>
              </a:spcBef>
              <a:buClr>
                <a:srgbClr val="009B5F"/>
              </a:buClr>
              <a:buSzPct val="133000"/>
              <a:buFont typeface="Wingdings" panose="05000000000000000000" pitchFamily="2" charset="2"/>
              <a:buChar char="§"/>
            </a:pPr>
            <a:r>
              <a:rPr lang="en-US" sz="900" b="1" dirty="0">
                <a:solidFill>
                  <a:prstClr val="black"/>
                </a:solidFill>
              </a:rPr>
              <a:t>2012: </a:t>
            </a:r>
            <a:r>
              <a:rPr lang="en-US" sz="900" dirty="0">
                <a:solidFill>
                  <a:prstClr val="black"/>
                </a:solidFill>
              </a:rPr>
              <a:t>Diversification of funding sources (June 2011, December 2012), new medium long term funding transaction amount: 7.0</a:t>
            </a:r>
            <a:r>
              <a:rPr lang="en-US" sz="900" dirty="0"/>
              <a:t>€ </a:t>
            </a:r>
            <a:r>
              <a:rPr lang="en-US" sz="900" dirty="0" err="1"/>
              <a:t>bn</a:t>
            </a:r>
            <a:r>
              <a:rPr lang="en-US" sz="900" dirty="0"/>
              <a:t> </a:t>
            </a:r>
            <a:r>
              <a:rPr lang="en-US" sz="900" dirty="0">
                <a:solidFill>
                  <a:prstClr val="black"/>
                </a:solidFill>
              </a:rPr>
              <a:t>(new strategic approach of CACF)</a:t>
            </a:r>
          </a:p>
          <a:p>
            <a:pPr marL="76198" lvl="2" indent="-171446" defTabSz="457189">
              <a:lnSpc>
                <a:spcPct val="200000"/>
              </a:lnSpc>
              <a:spcBef>
                <a:spcPts val="600"/>
              </a:spcBef>
              <a:buClr>
                <a:srgbClr val="009B5F"/>
              </a:buClr>
              <a:buSzPct val="133000"/>
              <a:buFont typeface="Wingdings" panose="05000000000000000000" pitchFamily="2" charset="2"/>
              <a:buChar char="§"/>
            </a:pPr>
            <a:r>
              <a:rPr lang="en-GB" altLang="fr-FR" sz="900" b="1" dirty="0">
                <a:solidFill>
                  <a:prstClr val="black"/>
                </a:solidFill>
              </a:rPr>
              <a:t>2019: </a:t>
            </a:r>
            <a:r>
              <a:rPr lang="en-GB" altLang="fr-FR" sz="900" dirty="0">
                <a:solidFill>
                  <a:prstClr val="black"/>
                </a:solidFill>
              </a:rPr>
              <a:t>Renewal of FCA Bank joint-venture until December 2024</a:t>
            </a:r>
          </a:p>
          <a:p>
            <a:pPr marL="76198" lvl="2" indent="-171446" defTabSz="457189">
              <a:lnSpc>
                <a:spcPct val="200000"/>
              </a:lnSpc>
              <a:spcBef>
                <a:spcPts val="600"/>
              </a:spcBef>
              <a:buClr>
                <a:srgbClr val="009B5F"/>
              </a:buClr>
              <a:buSzPct val="133000"/>
              <a:buFont typeface="Wingdings" panose="05000000000000000000" pitchFamily="2" charset="2"/>
              <a:buChar char="§"/>
            </a:pPr>
            <a:r>
              <a:rPr lang="en-GB" altLang="fr-FR" sz="900" b="1" dirty="0">
                <a:solidFill>
                  <a:prstClr val="black"/>
                </a:solidFill>
              </a:rPr>
              <a:t>2021 </a:t>
            </a:r>
            <a:r>
              <a:rPr lang="en-GB" altLang="fr-FR" sz="900" dirty="0">
                <a:solidFill>
                  <a:prstClr val="black"/>
                </a:solidFill>
              </a:rPr>
              <a:t>: </a:t>
            </a:r>
            <a:r>
              <a:rPr lang="en-GB" altLang="fr-FR" sz="900" dirty="0" err="1">
                <a:solidFill>
                  <a:prstClr val="black"/>
                </a:solidFill>
              </a:rPr>
              <a:t>Viaxel</a:t>
            </a:r>
            <a:r>
              <a:rPr lang="en-GB" altLang="fr-FR" sz="900" dirty="0">
                <a:solidFill>
                  <a:prstClr val="black"/>
                </a:solidFill>
              </a:rPr>
              <a:t> is rebranded as </a:t>
            </a:r>
            <a:r>
              <a:rPr lang="en-GB" altLang="fr-FR" sz="900" dirty="0" err="1">
                <a:solidFill>
                  <a:prstClr val="black"/>
                </a:solidFill>
              </a:rPr>
              <a:t>Sofinco</a:t>
            </a:r>
            <a:r>
              <a:rPr lang="en-GB" altLang="fr-FR" sz="900" dirty="0">
                <a:solidFill>
                  <a:prstClr val="black"/>
                </a:solidFill>
              </a:rPr>
              <a:t> Auto Moto </a:t>
            </a:r>
            <a:r>
              <a:rPr lang="en-GB" altLang="fr-FR" sz="900" dirty="0" err="1">
                <a:solidFill>
                  <a:prstClr val="black"/>
                </a:solidFill>
              </a:rPr>
              <a:t>Loisirs</a:t>
            </a:r>
            <a:endParaRPr lang="en-GB" altLang="fr-FR" sz="900" dirty="0">
              <a:solidFill>
                <a:prstClr val="black"/>
              </a:solidFill>
            </a:endParaRPr>
          </a:p>
          <a:p>
            <a:pPr marL="76198" lvl="2" indent="-171446" defTabSz="457189">
              <a:lnSpc>
                <a:spcPct val="200000"/>
              </a:lnSpc>
              <a:spcBef>
                <a:spcPts val="600"/>
              </a:spcBef>
              <a:buClr>
                <a:srgbClr val="009B5F"/>
              </a:buClr>
              <a:buSzPct val="133000"/>
              <a:buFont typeface="Wingdings" panose="05000000000000000000" pitchFamily="2" charset="2"/>
              <a:buChar char="§"/>
            </a:pPr>
            <a:r>
              <a:rPr lang="en-GB" altLang="fr-FR" sz="900" b="1" dirty="0">
                <a:solidFill>
                  <a:prstClr val="black"/>
                </a:solidFill>
              </a:rPr>
              <a:t>2022: </a:t>
            </a:r>
            <a:r>
              <a:rPr lang="en-US" altLang="fr-FR" sz="900" dirty="0">
                <a:solidFill>
                  <a:prstClr val="black"/>
                </a:solidFill>
              </a:rPr>
              <a:t>Signature with </a:t>
            </a:r>
            <a:r>
              <a:rPr lang="en-US" altLang="fr-FR" sz="900" dirty="0" err="1">
                <a:solidFill>
                  <a:prstClr val="black"/>
                </a:solidFill>
              </a:rPr>
              <a:t>Stellantis</a:t>
            </a:r>
            <a:r>
              <a:rPr lang="en-US" altLang="fr-FR" sz="900" dirty="0">
                <a:solidFill>
                  <a:prstClr val="black"/>
                </a:solidFill>
              </a:rPr>
              <a:t> of framework agreements redefining and reinforcing the partnership (see next slide)</a:t>
            </a:r>
          </a:p>
          <a:p>
            <a:pPr marL="190487" lvl="2" indent="-171446" defTabSz="457189">
              <a:lnSpc>
                <a:spcPct val="200000"/>
              </a:lnSpc>
              <a:spcBef>
                <a:spcPts val="600"/>
              </a:spcBef>
              <a:buClr>
                <a:srgbClr val="009B5F"/>
              </a:buClr>
              <a:buSzPct val="133000"/>
              <a:buFont typeface="Wingdings" panose="05000000000000000000" pitchFamily="2" charset="2"/>
              <a:buChar char="§"/>
            </a:pPr>
            <a:r>
              <a:rPr lang="en-US" altLang="fr-FR" sz="900" b="1" dirty="0"/>
              <a:t>2022: </a:t>
            </a:r>
            <a:r>
              <a:rPr lang="en-US" altLang="fr-FR" sz="900" dirty="0">
                <a:solidFill>
                  <a:prstClr val="black"/>
                </a:solidFill>
              </a:rPr>
              <a:t>Creation of a leasing joint-venture with CAL&amp;F : CA Mobility</a:t>
            </a:r>
          </a:p>
          <a:p>
            <a:pPr marL="190487" lvl="2" indent="-171446" defTabSz="457189">
              <a:lnSpc>
                <a:spcPct val="200000"/>
              </a:lnSpc>
              <a:spcBef>
                <a:spcPts val="600"/>
              </a:spcBef>
              <a:buClr>
                <a:srgbClr val="009B5F"/>
              </a:buClr>
              <a:buSzPct val="133000"/>
              <a:buFont typeface="Wingdings" panose="05000000000000000000" pitchFamily="2" charset="2"/>
              <a:buChar char="§"/>
            </a:pPr>
            <a:r>
              <a:rPr lang="en-US" altLang="fr-FR" sz="900" b="1" dirty="0">
                <a:solidFill>
                  <a:prstClr val="black"/>
                </a:solidFill>
              </a:rPr>
              <a:t>2023 : </a:t>
            </a:r>
            <a:r>
              <a:rPr lang="en-US" altLang="fr-FR" sz="900" dirty="0">
                <a:solidFill>
                  <a:prstClr val="black"/>
                </a:solidFill>
              </a:rPr>
              <a:t>New leasing joint-venture with </a:t>
            </a:r>
            <a:r>
              <a:rPr lang="en-US" altLang="fr-FR" sz="900" dirty="0" err="1">
                <a:solidFill>
                  <a:prstClr val="black"/>
                </a:solidFill>
              </a:rPr>
              <a:t>Stellantis</a:t>
            </a:r>
            <a:r>
              <a:rPr lang="en-US" altLang="fr-FR" sz="900" dirty="0">
                <a:solidFill>
                  <a:prstClr val="black"/>
                </a:solidFill>
              </a:rPr>
              <a:t> (</a:t>
            </a:r>
            <a:r>
              <a:rPr lang="en-US" altLang="fr-FR" sz="900" dirty="0" err="1">
                <a:solidFill>
                  <a:prstClr val="black"/>
                </a:solidFill>
              </a:rPr>
              <a:t>Leasys</a:t>
            </a:r>
            <a:r>
              <a:rPr lang="en-US" altLang="fr-FR" sz="900" dirty="0">
                <a:solidFill>
                  <a:prstClr val="black"/>
                </a:solidFill>
              </a:rPr>
              <a:t>) and 100% takeover of FCA Bank (which becomes CA Auto Bank)</a:t>
            </a:r>
          </a:p>
          <a:p>
            <a:pPr marL="190487" lvl="2" indent="-171446" defTabSz="457189">
              <a:lnSpc>
                <a:spcPct val="200000"/>
              </a:lnSpc>
              <a:spcBef>
                <a:spcPts val="600"/>
              </a:spcBef>
              <a:buClr>
                <a:srgbClr val="009B5F"/>
              </a:buClr>
              <a:buSzPct val="133000"/>
              <a:buFont typeface="Wingdings" panose="05000000000000000000" pitchFamily="2" charset="2"/>
              <a:buChar char="§"/>
            </a:pPr>
            <a:r>
              <a:rPr lang="en-US" altLang="fr-FR" sz="900" b="1" dirty="0">
                <a:solidFill>
                  <a:prstClr val="black"/>
                </a:solidFill>
              </a:rPr>
              <a:t>2023 : </a:t>
            </a:r>
            <a:r>
              <a:rPr lang="en-US" altLang="fr-FR" sz="900" dirty="0">
                <a:solidFill>
                  <a:prstClr val="black"/>
                </a:solidFill>
              </a:rPr>
              <a:t>A</a:t>
            </a:r>
            <a:r>
              <a:rPr lang="en-US" sz="900" dirty="0"/>
              <a:t>cquisition of ALD and LeasePlan’s activities in six European countries together </a:t>
            </a:r>
            <a:r>
              <a:rPr lang="fr-FR" sz="900" dirty="0" err="1"/>
              <a:t>with</a:t>
            </a:r>
            <a:r>
              <a:rPr lang="fr-FR" sz="900" dirty="0"/>
              <a:t> </a:t>
            </a:r>
            <a:r>
              <a:rPr lang="fr-FR" sz="900" dirty="0" err="1"/>
              <a:t>its</a:t>
            </a:r>
            <a:r>
              <a:rPr lang="fr-FR" sz="900" dirty="0"/>
              <a:t> </a:t>
            </a:r>
            <a:r>
              <a:rPr lang="fr-FR" sz="900" dirty="0" err="1"/>
              <a:t>partner</a:t>
            </a:r>
            <a:r>
              <a:rPr lang="fr-FR" sz="900" dirty="0"/>
              <a:t> </a:t>
            </a:r>
            <a:r>
              <a:rPr lang="fr-FR" sz="900" dirty="0" err="1"/>
              <a:t>Stellantis</a:t>
            </a:r>
            <a:endParaRPr lang="en-US" altLang="fr-FR" sz="900" dirty="0">
              <a:solidFill>
                <a:prstClr val="black"/>
              </a:solidFill>
            </a:endParaRPr>
          </a:p>
          <a:p>
            <a:pPr marL="190487" lvl="2" indent="-171446" defTabSz="457189">
              <a:lnSpc>
                <a:spcPct val="200000"/>
              </a:lnSpc>
              <a:spcBef>
                <a:spcPts val="600"/>
              </a:spcBef>
              <a:buClr>
                <a:srgbClr val="009B5F"/>
              </a:buClr>
              <a:buSzPct val="133000"/>
              <a:buFont typeface="Wingdings" panose="05000000000000000000" pitchFamily="2" charset="2"/>
              <a:buChar char="§"/>
            </a:pPr>
            <a:endParaRPr lang="en-GB" altLang="fr-FR" sz="1000" dirty="0">
              <a:solidFill>
                <a:prstClr val="black"/>
              </a:solidFill>
            </a:endParaRPr>
          </a:p>
          <a:p>
            <a:pPr marL="361950" lvl="3">
              <a:lnSpc>
                <a:spcPct val="150000"/>
              </a:lnSpc>
              <a:spcBef>
                <a:spcPts val="600"/>
              </a:spcBef>
              <a:buClr>
                <a:srgbClr val="009B5F"/>
              </a:buClr>
              <a:buSzPct val="133000"/>
            </a:pPr>
            <a:endParaRPr lang="en-US" sz="1200" dirty="0">
              <a:solidFill>
                <a:schemeClr val="dk1"/>
              </a:solidFill>
            </a:endParaRPr>
          </a:p>
        </p:txBody>
      </p:sp>
    </p:spTree>
    <p:extLst>
      <p:ext uri="{BB962C8B-B14F-4D97-AF65-F5344CB8AC3E}">
        <p14:creationId xmlns:p14="http://schemas.microsoft.com/office/powerpoint/2010/main" val="18798645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solidFill>
                  <a:schemeClr val="tx1"/>
                </a:solidFill>
              </a:rPr>
              <a:t>Judicial division</a:t>
            </a:r>
          </a:p>
        </p:txBody>
      </p:sp>
      <p:sp>
        <p:nvSpPr>
          <p:cNvPr id="3" name="Espace réservé du numéro de diapositive 2"/>
          <p:cNvSpPr>
            <a:spLocks noGrp="1"/>
          </p:cNvSpPr>
          <p:nvPr>
            <p:ph type="sldNum" sz="quarter" idx="19"/>
          </p:nvPr>
        </p:nvSpPr>
        <p:spPr/>
        <p:txBody>
          <a:bodyPr/>
          <a:lstStyle/>
          <a:p>
            <a:fld id="{98BD2159-827C-4021-9B0E-DCD852BEB59E}" type="slidenum">
              <a:rPr lang="en-GB" smtClean="0"/>
              <a:pPr/>
              <a:t>50</a:t>
            </a:fld>
            <a:endParaRPr lang="en-GB" dirty="0"/>
          </a:p>
        </p:txBody>
      </p:sp>
      <p:graphicFrame>
        <p:nvGraphicFramePr>
          <p:cNvPr id="4" name="Tableau 3"/>
          <p:cNvGraphicFramePr>
            <a:graphicFrameLocks noGrp="1"/>
          </p:cNvGraphicFramePr>
          <p:nvPr>
            <p:extLst>
              <p:ext uri="{D42A27DB-BD31-4B8C-83A1-F6EECF244321}">
                <p14:modId xmlns:p14="http://schemas.microsoft.com/office/powerpoint/2010/main" val="1921723168"/>
              </p:ext>
            </p:extLst>
          </p:nvPr>
        </p:nvGraphicFramePr>
        <p:xfrm>
          <a:off x="77102" y="651967"/>
          <a:ext cx="8470631" cy="4347039"/>
        </p:xfrm>
        <a:graphic>
          <a:graphicData uri="http://schemas.openxmlformats.org/drawingml/2006/table">
            <a:tbl>
              <a:tblPr/>
              <a:tblGrid>
                <a:gridCol w="2944164">
                  <a:extLst>
                    <a:ext uri="{9D8B030D-6E8A-4147-A177-3AD203B41FA5}">
                      <a16:colId xmlns:a16="http://schemas.microsoft.com/office/drawing/2014/main" val="883292835"/>
                    </a:ext>
                  </a:extLst>
                </a:gridCol>
                <a:gridCol w="5526467">
                  <a:extLst>
                    <a:ext uri="{9D8B030D-6E8A-4147-A177-3AD203B41FA5}">
                      <a16:colId xmlns:a16="http://schemas.microsoft.com/office/drawing/2014/main" val="1450300987"/>
                    </a:ext>
                  </a:extLst>
                </a:gridCol>
              </a:tblGrid>
              <a:tr h="255627">
                <a:tc>
                  <a:txBody>
                    <a:bodyPr/>
                    <a:lstStyle/>
                    <a:p>
                      <a:pPr marL="0" marR="0" lvl="0" indent="57150" algn="l" defTabSz="914400" rtl="0" eaLnBrk="0" fontAlgn="base" latinLnBrk="0" hangingPunct="0">
                        <a:lnSpc>
                          <a:spcPct val="100000"/>
                        </a:lnSpc>
                        <a:spcBef>
                          <a:spcPct val="0"/>
                        </a:spcBef>
                        <a:spcAft>
                          <a:spcPct val="0"/>
                        </a:spcAft>
                        <a:buClr>
                          <a:schemeClr val="accent2"/>
                        </a:buClr>
                        <a:buSzTx/>
                        <a:buFont typeface="Wingdings" pitchFamily="2" charset="2"/>
                        <a:buChar char="n"/>
                        <a:tabLst/>
                      </a:pPr>
                      <a:endParaRPr kumimoji="0" lang="fr-FR" sz="700" b="0" i="0" u="none" strike="noStrike" cap="none" normalizeH="0" baseline="0" dirty="0">
                        <a:ln>
                          <a:noFill/>
                        </a:ln>
                        <a:solidFill>
                          <a:schemeClr val="bg1"/>
                        </a:solidFill>
                        <a:effectLst/>
                        <a:latin typeface="Arial" charset="0"/>
                        <a:ea typeface="ＭＳ Ｐゴシック"/>
                        <a:cs typeface="ＭＳ Ｐゴシック"/>
                      </a:endParaRPr>
                    </a:p>
                  </a:txBody>
                  <a:tcPr marL="97500" marR="97500" marT="46800" marB="46800" anchor="ctr" horzOverflow="overflow">
                    <a:lnL>
                      <a:noFill/>
                    </a:lnL>
                    <a:lnR>
                      <a:noFill/>
                    </a:lnR>
                    <a:lnT>
                      <a:noFill/>
                    </a:lnT>
                    <a:lnB w="3175" cap="flat" cmpd="sng" algn="ctr">
                      <a:solidFill>
                        <a:srgbClr val="C0C0C0"/>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0" fontAlgn="base" latinLnBrk="0" hangingPunct="0">
                        <a:lnSpc>
                          <a:spcPct val="100000"/>
                        </a:lnSpc>
                        <a:spcBef>
                          <a:spcPct val="50000"/>
                        </a:spcBef>
                        <a:spcAft>
                          <a:spcPct val="0"/>
                        </a:spcAft>
                        <a:buClr>
                          <a:schemeClr val="tx1"/>
                        </a:buClr>
                        <a:buSzTx/>
                        <a:buFont typeface="Arial" charset="0"/>
                        <a:buNone/>
                        <a:tabLst/>
                      </a:pPr>
                      <a:r>
                        <a:rPr kumimoji="0" lang="fr-FR" sz="1000" b="1" i="0" u="none" strike="noStrike" cap="none" normalizeH="0" baseline="0" dirty="0">
                          <a:ln>
                            <a:noFill/>
                          </a:ln>
                          <a:solidFill>
                            <a:schemeClr val="bg1"/>
                          </a:solidFill>
                          <a:effectLst/>
                          <a:latin typeface="Arial" charset="0"/>
                          <a:ea typeface="ＭＳ Ｐゴシック"/>
                          <a:cs typeface="Arial" charset="0"/>
                        </a:rPr>
                        <a:t>Main </a:t>
                      </a:r>
                      <a:r>
                        <a:rPr kumimoji="0" lang="fr-FR" sz="1000" b="1" i="0" u="none" strike="noStrike" cap="none" normalizeH="0" baseline="0" dirty="0" err="1">
                          <a:ln>
                            <a:noFill/>
                          </a:ln>
                          <a:solidFill>
                            <a:schemeClr val="bg1"/>
                          </a:solidFill>
                          <a:effectLst/>
                          <a:latin typeface="Arial" charset="0"/>
                          <a:ea typeface="ＭＳ Ｐゴシック"/>
                          <a:cs typeface="Arial" charset="0"/>
                        </a:rPr>
                        <a:t>activity</a:t>
                      </a:r>
                      <a:endParaRPr kumimoji="0" lang="fr-FR" sz="1000" b="1" i="0" u="none" strike="noStrike" cap="none" normalizeH="0" baseline="0" dirty="0">
                        <a:ln>
                          <a:noFill/>
                        </a:ln>
                        <a:solidFill>
                          <a:schemeClr val="bg1"/>
                        </a:solidFill>
                        <a:effectLst/>
                        <a:latin typeface="Arial" charset="0"/>
                        <a:ea typeface="ＭＳ Ｐゴシック"/>
                        <a:cs typeface="Arial" charset="0"/>
                      </a:endParaRPr>
                    </a:p>
                  </a:txBody>
                  <a:tcPr marL="97500" marR="97500" marT="46800" marB="46800" anchor="ctr" anchorCtr="1" horzOverflow="overflow">
                    <a:lnL>
                      <a:noFill/>
                    </a:lnL>
                    <a:lnR w="3175" cap="flat" cmpd="sng" algn="ctr">
                      <a:solidFill>
                        <a:srgbClr val="C0C0C0"/>
                      </a:solidFill>
                      <a:prstDash val="solid"/>
                      <a:round/>
                      <a:headEnd type="none" w="med" len="med"/>
                      <a:tailEnd type="none" w="med" len="med"/>
                    </a:lnR>
                    <a:lnT w="38100" cap="flat" cmpd="sng" algn="ctr">
                      <a:solidFill>
                        <a:srgbClr val="00975A"/>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3565485005"/>
                  </a:ext>
                </a:extLst>
              </a:tr>
              <a:tr h="1236509">
                <a:tc>
                  <a:txBody>
                    <a:bodyPr/>
                    <a:lstStyle/>
                    <a:p>
                      <a:pPr marL="0" marR="0" lvl="0" indent="26670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1000" b="1" i="0" u="none" strike="noStrike" cap="none" normalizeH="0" baseline="0" dirty="0" err="1">
                          <a:ln>
                            <a:noFill/>
                          </a:ln>
                          <a:solidFill>
                            <a:schemeClr val="bg1"/>
                          </a:solidFill>
                          <a:effectLst/>
                          <a:latin typeface="Arial" charset="0"/>
                          <a:ea typeface="ＭＳ Ｐゴシック"/>
                          <a:cs typeface="ＭＳ Ｐゴシック"/>
                        </a:rPr>
                        <a:t>Lawyers</a:t>
                      </a:r>
                      <a:r>
                        <a:rPr kumimoji="0" lang="fr-FR" sz="1000" b="1" i="0" u="none" strike="noStrike" cap="none" normalizeH="0" baseline="0" dirty="0">
                          <a:ln>
                            <a:noFill/>
                          </a:ln>
                          <a:solidFill>
                            <a:schemeClr val="bg1"/>
                          </a:solidFill>
                          <a:effectLst/>
                          <a:latin typeface="Arial" charset="0"/>
                          <a:ea typeface="ＭＳ Ｐゴシック"/>
                          <a:cs typeface="ＭＳ Ｐゴシック"/>
                        </a:rPr>
                        <a:t> unit</a:t>
                      </a:r>
                    </a:p>
                  </a:txBody>
                  <a:tcPr marL="97500" marR="97500" marT="46800" marB="46800" anchor="ctr" horzOverflow="overflow">
                    <a:lnL>
                      <a:noFill/>
                    </a:lnL>
                    <a:lnR>
                      <a:noFill/>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chemeClr val="accent5"/>
                    </a:solidFill>
                  </a:tcPr>
                </a:tc>
                <a:tc>
                  <a:txBody>
                    <a:bodyPr/>
                    <a:lstStyle/>
                    <a:p>
                      <a:pPr marL="0" marR="0" lvl="1" indent="0" algn="l" defTabSz="914400" rtl="0" eaLnBrk="0" fontAlgn="base" latinLnBrk="0" hangingPunct="0">
                        <a:lnSpc>
                          <a:spcPct val="100000"/>
                        </a:lnSpc>
                        <a:spcBef>
                          <a:spcPct val="50000"/>
                        </a:spcBef>
                        <a:spcAft>
                          <a:spcPct val="0"/>
                        </a:spcAft>
                        <a:buClr>
                          <a:schemeClr val="tx1"/>
                        </a:buClr>
                        <a:buSzTx/>
                        <a:buFontTx/>
                        <a:buNone/>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Objections   </a:t>
                      </a:r>
                    </a:p>
                    <a:p>
                      <a:pPr marL="0" marR="0" lvl="1" indent="0" algn="l" defTabSz="914400" rtl="0" eaLnBrk="0" fontAlgn="base" latinLnBrk="0" hangingPunct="0">
                        <a:lnSpc>
                          <a:spcPct val="100000"/>
                        </a:lnSpc>
                        <a:spcBef>
                          <a:spcPct val="50000"/>
                        </a:spcBef>
                        <a:spcAft>
                          <a:spcPct val="0"/>
                        </a:spcAft>
                        <a:buClr>
                          <a:schemeClr val="tx1"/>
                        </a:buClr>
                        <a:buSzTx/>
                        <a:buFontTx/>
                        <a:buNone/>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Order to pay </a:t>
                      </a:r>
                    </a:p>
                    <a:p>
                      <a:pPr marL="0" marR="0" lvl="1" indent="0" algn="l" defTabSz="914400" rtl="0" eaLnBrk="0" fontAlgn="base" latinLnBrk="0" hangingPunct="0">
                        <a:lnSpc>
                          <a:spcPct val="100000"/>
                        </a:lnSpc>
                        <a:spcBef>
                          <a:spcPct val="50000"/>
                        </a:spcBef>
                        <a:spcAft>
                          <a:spcPct val="0"/>
                        </a:spcAft>
                        <a:buClr>
                          <a:schemeClr val="tx1"/>
                        </a:buClr>
                        <a:buSzTx/>
                        <a:buFontTx/>
                        <a:buNone/>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Ordonnance 149  (seizure procedure of the debtor’s assets) </a:t>
                      </a:r>
                    </a:p>
                    <a:p>
                      <a:pPr marL="0" marR="0" lvl="1" indent="0" algn="l" defTabSz="914400" rtl="0" eaLnBrk="0" fontAlgn="base" latinLnBrk="0" hangingPunct="0">
                        <a:lnSpc>
                          <a:spcPct val="100000"/>
                        </a:lnSpc>
                        <a:spcBef>
                          <a:spcPct val="50000"/>
                        </a:spcBef>
                        <a:spcAft>
                          <a:spcPct val="0"/>
                        </a:spcAft>
                        <a:buClr>
                          <a:schemeClr val="tx1"/>
                        </a:buClr>
                        <a:buSzTx/>
                        <a:buFontTx/>
                        <a:buNone/>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Summons (at debtor’s or CA-CF initiative)</a:t>
                      </a:r>
                    </a:p>
                    <a:p>
                      <a:pPr marL="0" marR="0" lvl="1" indent="0" algn="l" defTabSz="914400" rtl="0" eaLnBrk="0" fontAlgn="base" latinLnBrk="0" hangingPunct="0">
                        <a:lnSpc>
                          <a:spcPct val="100000"/>
                        </a:lnSpc>
                        <a:spcBef>
                          <a:spcPct val="50000"/>
                        </a:spcBef>
                        <a:spcAft>
                          <a:spcPct val="0"/>
                        </a:spcAft>
                        <a:buClr>
                          <a:schemeClr val="tx1"/>
                        </a:buClr>
                        <a:buSzTx/>
                        <a:buFontTx/>
                        <a:buNone/>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Appeals (management and monitoring of files by the lawyers and attorneys) </a:t>
                      </a:r>
                    </a:p>
                  </a:txBody>
                  <a:tcPr marL="97500" marR="97500" marT="46800" marB="46800" anchorCtr="1" horzOverflow="overflow">
                    <a:lnL>
                      <a:noFill/>
                    </a:lnL>
                    <a:lnR w="3175" cap="flat" cmpd="sng" algn="ctr">
                      <a:solidFill>
                        <a:srgbClr val="C0C0C0"/>
                      </a:solidFill>
                      <a:prstDash val="solid"/>
                      <a:round/>
                      <a:headEnd type="none" w="med" len="med"/>
                      <a:tailEnd type="none" w="med" len="med"/>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3751404"/>
                  </a:ext>
                </a:extLst>
              </a:tr>
              <a:tr h="1362777">
                <a:tc>
                  <a:txBody>
                    <a:bodyPr/>
                    <a:lstStyle/>
                    <a:p>
                      <a:pPr marL="0" marR="0" lvl="0" indent="266700"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1000" b="1" i="0" u="none" strike="noStrike" cap="none" normalizeH="0" baseline="0" dirty="0">
                          <a:ln>
                            <a:noFill/>
                          </a:ln>
                          <a:solidFill>
                            <a:schemeClr val="bg1"/>
                          </a:solidFill>
                          <a:effectLst/>
                          <a:latin typeface="Arial" charset="0"/>
                          <a:ea typeface="ＭＳ Ｐゴシック"/>
                          <a:cs typeface="ＭＳ Ｐゴシック"/>
                        </a:rPr>
                        <a:t>Collective / </a:t>
                      </a:r>
                      <a:r>
                        <a:rPr kumimoji="0" lang="fr-FR" sz="1000" b="1" i="0" u="none" strike="noStrike" cap="none" normalizeH="0" baseline="0" dirty="0" err="1">
                          <a:ln>
                            <a:noFill/>
                          </a:ln>
                          <a:solidFill>
                            <a:schemeClr val="bg1"/>
                          </a:solidFill>
                          <a:effectLst/>
                          <a:latin typeface="Arial" charset="0"/>
                          <a:ea typeface="ＭＳ Ｐゴシック"/>
                          <a:cs typeface="ＭＳ Ｐゴシック"/>
                        </a:rPr>
                        <a:t>insolvency</a:t>
                      </a:r>
                      <a:r>
                        <a:rPr kumimoji="0" lang="fr-FR" sz="1000" b="1" i="0" u="none" strike="noStrike" cap="none" normalizeH="0" baseline="0" dirty="0">
                          <a:ln>
                            <a:noFill/>
                          </a:ln>
                          <a:solidFill>
                            <a:schemeClr val="bg1"/>
                          </a:solidFill>
                          <a:effectLst/>
                          <a:latin typeface="Arial" charset="0"/>
                          <a:ea typeface="ＭＳ Ｐゴシック"/>
                          <a:cs typeface="ＭＳ Ｐゴシック"/>
                        </a:rPr>
                        <a:t> </a:t>
                      </a:r>
                      <a:r>
                        <a:rPr kumimoji="0" lang="fr-FR" sz="1000" b="1" i="0" u="none" strike="noStrike" cap="none" normalizeH="0" baseline="0" dirty="0" err="1">
                          <a:ln>
                            <a:noFill/>
                          </a:ln>
                          <a:solidFill>
                            <a:schemeClr val="bg1"/>
                          </a:solidFill>
                          <a:effectLst/>
                          <a:latin typeface="Arial" charset="0"/>
                          <a:ea typeface="ＭＳ Ｐゴシック"/>
                          <a:cs typeface="ＭＳ Ｐゴシック"/>
                        </a:rPr>
                        <a:t>proceedings</a:t>
                      </a:r>
                      <a:r>
                        <a:rPr kumimoji="0" lang="fr-FR" sz="1000" b="1" i="0" u="none" strike="noStrike" cap="none" normalizeH="0" baseline="0" dirty="0">
                          <a:ln>
                            <a:noFill/>
                          </a:ln>
                          <a:solidFill>
                            <a:schemeClr val="bg1"/>
                          </a:solidFill>
                          <a:effectLst/>
                          <a:latin typeface="Arial" charset="0"/>
                          <a:ea typeface="ＭＳ Ｐゴシック"/>
                          <a:cs typeface="ＭＳ Ｐゴシック"/>
                        </a:rPr>
                        <a:t> unit</a:t>
                      </a:r>
                    </a:p>
                  </a:txBody>
                  <a:tcPr marL="97500" marR="97500" marT="46800" marB="46800" anchor="ctr" horzOverflow="overflow">
                    <a:lnL>
                      <a:noFill/>
                    </a:lnL>
                    <a:lnR>
                      <a:noFill/>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chemeClr val="accent5"/>
                    </a:solidFill>
                  </a:tcPr>
                </a:tc>
                <a:tc>
                  <a:txBody>
                    <a:bodyPr/>
                    <a:lstStyle/>
                    <a:p>
                      <a:pPr marL="539750" marR="0" lvl="1" indent="0" algn="l" defTabSz="914400" rtl="0" eaLnBrk="0" fontAlgn="base" latinLnBrk="0" hangingPunct="0">
                        <a:lnSpc>
                          <a:spcPct val="100000"/>
                        </a:lnSpc>
                        <a:spcBef>
                          <a:spcPct val="50000"/>
                        </a:spcBef>
                        <a:spcAft>
                          <a:spcPct val="0"/>
                        </a:spcAft>
                        <a:buClr>
                          <a:schemeClr val="tx1"/>
                        </a:buClr>
                        <a:buSzTx/>
                        <a:buFontTx/>
                        <a:buNone/>
                        <a:tabLst/>
                        <a:defRPr/>
                      </a:pPr>
                      <a:r>
                        <a:rPr kumimoji="0" lang="en-IE" sz="1000" b="0" i="0" u="none" strike="noStrike" kern="1200" cap="none" normalizeH="0" baseline="0" dirty="0">
                          <a:ln>
                            <a:noFill/>
                          </a:ln>
                          <a:solidFill>
                            <a:schemeClr val="tx1"/>
                          </a:solidFill>
                          <a:effectLst/>
                          <a:latin typeface="Arial" charset="0"/>
                          <a:ea typeface="ＭＳ Ｐゴシック"/>
                          <a:cs typeface="Arial" charset="0"/>
                        </a:rPr>
                        <a:t>Monitoring of judicial recovery plans in case of </a:t>
                      </a:r>
                      <a:r>
                        <a:rPr kumimoji="0" lang="en-IE" sz="1000" b="0" i="0" u="none" strike="noStrike" kern="1200" cap="none" normalizeH="0" baseline="0" dirty="0" err="1">
                          <a:ln>
                            <a:noFill/>
                          </a:ln>
                          <a:solidFill>
                            <a:schemeClr val="tx1"/>
                          </a:solidFill>
                          <a:effectLst/>
                          <a:latin typeface="Arial" charset="0"/>
                          <a:ea typeface="ＭＳ Ｐゴシック"/>
                          <a:cs typeface="Arial" charset="0"/>
                        </a:rPr>
                        <a:t>Bankrupcy</a:t>
                      </a:r>
                      <a:r>
                        <a:rPr kumimoji="0" lang="en-IE" sz="1000" b="0" i="0" u="none" strike="noStrike" kern="1200" cap="none" normalizeH="0" baseline="0" dirty="0">
                          <a:ln>
                            <a:noFill/>
                          </a:ln>
                          <a:solidFill>
                            <a:schemeClr val="tx1"/>
                          </a:solidFill>
                          <a:effectLst/>
                          <a:latin typeface="Arial" charset="0"/>
                          <a:ea typeface="ＭＳ Ｐゴシック"/>
                          <a:cs typeface="Arial" charset="0"/>
                        </a:rPr>
                        <a:t> protection « </a:t>
                      </a:r>
                      <a:r>
                        <a:rPr kumimoji="0" lang="en-IE" sz="1000" b="0" i="0" u="none" strike="noStrike" kern="1200" cap="none" normalizeH="0" baseline="0" dirty="0" err="1">
                          <a:ln>
                            <a:noFill/>
                          </a:ln>
                          <a:solidFill>
                            <a:schemeClr val="tx1"/>
                          </a:solidFill>
                          <a:effectLst/>
                          <a:latin typeface="Arial" charset="0"/>
                          <a:ea typeface="ＭＳ Ｐゴシック"/>
                          <a:cs typeface="Arial" charset="0"/>
                        </a:rPr>
                        <a:t>Redressement</a:t>
                      </a:r>
                      <a:r>
                        <a:rPr kumimoji="0" lang="en-IE" sz="1000" b="0" i="0" u="none" strike="noStrike" kern="1200" cap="none" normalizeH="0" baseline="0" dirty="0">
                          <a:ln>
                            <a:noFill/>
                          </a:ln>
                          <a:solidFill>
                            <a:schemeClr val="tx1"/>
                          </a:solidFill>
                          <a:effectLst/>
                          <a:latin typeface="Arial" charset="0"/>
                          <a:ea typeface="ＭＳ Ｐゴシック"/>
                          <a:cs typeface="Arial" charset="0"/>
                        </a:rPr>
                        <a:t> </a:t>
                      </a:r>
                      <a:r>
                        <a:rPr kumimoji="0" lang="en-IE" sz="1000" b="0" i="0" u="none" strike="noStrike" kern="1200" cap="none" normalizeH="0" baseline="0" dirty="0" err="1">
                          <a:ln>
                            <a:noFill/>
                          </a:ln>
                          <a:solidFill>
                            <a:schemeClr val="tx1"/>
                          </a:solidFill>
                          <a:effectLst/>
                          <a:latin typeface="Arial" charset="0"/>
                          <a:ea typeface="ＭＳ Ｐゴシック"/>
                          <a:cs typeface="Arial" charset="0"/>
                        </a:rPr>
                        <a:t>Judiciaire</a:t>
                      </a:r>
                      <a:r>
                        <a:rPr kumimoji="0" lang="en-IE" sz="1000" b="0" i="0" u="none" strike="noStrike" kern="1200" cap="none" normalizeH="0" baseline="0" dirty="0">
                          <a:ln>
                            <a:noFill/>
                          </a:ln>
                          <a:solidFill>
                            <a:schemeClr val="tx1"/>
                          </a:solidFill>
                          <a:effectLst/>
                          <a:latin typeface="Arial" charset="0"/>
                          <a:ea typeface="ＭＳ Ｐゴシック"/>
                          <a:cs typeface="Arial" charset="0"/>
                        </a:rPr>
                        <a:t> »</a:t>
                      </a:r>
                    </a:p>
                    <a:p>
                      <a:pPr marL="539750" marR="0" lvl="1" indent="0" algn="l" defTabSz="914400" rtl="0" eaLnBrk="0" fontAlgn="base" latinLnBrk="0" hangingPunct="0">
                        <a:lnSpc>
                          <a:spcPct val="100000"/>
                        </a:lnSpc>
                        <a:spcBef>
                          <a:spcPct val="50000"/>
                        </a:spcBef>
                        <a:spcAft>
                          <a:spcPct val="0"/>
                        </a:spcAft>
                        <a:buClr>
                          <a:schemeClr val="tx1"/>
                        </a:buClr>
                        <a:buSzTx/>
                        <a:buFontTx/>
                        <a:buNone/>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Follow-up of judicial liquidations</a:t>
                      </a:r>
                    </a:p>
                    <a:p>
                      <a:pPr marL="539750" marR="0" lvl="1" indent="0" algn="l" defTabSz="914400" rtl="0" eaLnBrk="0" fontAlgn="base" latinLnBrk="0" hangingPunct="0">
                        <a:lnSpc>
                          <a:spcPct val="100000"/>
                        </a:lnSpc>
                        <a:spcBef>
                          <a:spcPct val="50000"/>
                        </a:spcBef>
                        <a:spcAft>
                          <a:spcPct val="0"/>
                        </a:spcAft>
                        <a:buClr>
                          <a:schemeClr val="tx1"/>
                        </a:buClr>
                        <a:buSzTx/>
                        <a:buFontTx/>
                        <a:buNone/>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Court orders involving co-borrowers or guarantor </a:t>
                      </a:r>
                    </a:p>
                    <a:p>
                      <a:pPr marL="539750" marR="0" lvl="1" indent="0" algn="l" defTabSz="914400" rtl="0" eaLnBrk="0" fontAlgn="base" latinLnBrk="0" hangingPunct="0">
                        <a:lnSpc>
                          <a:spcPct val="100000"/>
                        </a:lnSpc>
                        <a:spcBef>
                          <a:spcPct val="50000"/>
                        </a:spcBef>
                        <a:spcAft>
                          <a:spcPct val="0"/>
                        </a:spcAft>
                        <a:buClr>
                          <a:schemeClr val="tx1"/>
                        </a:buClr>
                        <a:buSzTx/>
                        <a:buFontTx/>
                        <a:buNone/>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Foreclosure records (in case of late declaration)</a:t>
                      </a:r>
                    </a:p>
                  </a:txBody>
                  <a:tcPr marL="97500" marR="97500" marT="46800" marB="46800" anchor="ctr" anchorCtr="1" horzOverflow="overflow">
                    <a:lnL>
                      <a:noFill/>
                    </a:lnL>
                    <a:lnR w="3175" cap="flat" cmpd="sng" algn="ctr">
                      <a:solidFill>
                        <a:srgbClr val="C0C0C0"/>
                      </a:solidFill>
                      <a:prstDash val="solid"/>
                      <a:round/>
                      <a:headEnd type="none" w="med" len="med"/>
                      <a:tailEnd type="none" w="med" len="med"/>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3934377874"/>
                  </a:ext>
                </a:extLst>
              </a:tr>
              <a:tr h="1492126">
                <a:tc>
                  <a:txBody>
                    <a:bodyPr/>
                    <a:lstStyle/>
                    <a:p>
                      <a:pPr marL="265113" marR="0" lvl="0" indent="1588" algn="l"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fr-FR" sz="1000" b="1" i="0" u="none" strike="noStrike" cap="none" normalizeH="0" baseline="0" dirty="0">
                          <a:ln>
                            <a:noFill/>
                          </a:ln>
                          <a:solidFill>
                            <a:schemeClr val="bg1"/>
                          </a:solidFill>
                          <a:effectLst/>
                          <a:latin typeface="Arial" charset="0"/>
                          <a:ea typeface="ＭＳ Ｐゴシック"/>
                          <a:cs typeface="ＭＳ Ｐゴシック"/>
                        </a:rPr>
                        <a:t>Unit in charge of </a:t>
                      </a:r>
                      <a:r>
                        <a:rPr kumimoji="0" lang="fr-FR" sz="1000" b="1" i="0" u="none" strike="noStrike" cap="none" normalizeH="0" baseline="0" dirty="0" err="1">
                          <a:ln>
                            <a:noFill/>
                          </a:ln>
                          <a:solidFill>
                            <a:schemeClr val="bg1"/>
                          </a:solidFill>
                          <a:effectLst/>
                          <a:latin typeface="Arial" charset="0"/>
                          <a:ea typeface="ＭＳ Ｐゴシック"/>
                          <a:cs typeface="ＭＳ Ｐゴシック"/>
                        </a:rPr>
                        <a:t>obtaining</a:t>
                      </a:r>
                      <a:r>
                        <a:rPr kumimoji="0" lang="fr-FR" sz="1000" b="1" i="0" u="none" strike="noStrike" cap="none" normalizeH="0" baseline="0" dirty="0">
                          <a:ln>
                            <a:noFill/>
                          </a:ln>
                          <a:solidFill>
                            <a:schemeClr val="bg1"/>
                          </a:solidFill>
                          <a:effectLst/>
                          <a:latin typeface="Arial" charset="0"/>
                          <a:ea typeface="ＭＳ Ｐゴシック"/>
                          <a:cs typeface="ＭＳ Ｐゴシック"/>
                        </a:rPr>
                        <a:t> </a:t>
                      </a:r>
                      <a:r>
                        <a:rPr kumimoji="0" lang="fr-FR" sz="1000" b="1" i="0" u="none" strike="noStrike" cap="none" normalizeH="0" baseline="0" dirty="0" err="1">
                          <a:ln>
                            <a:noFill/>
                          </a:ln>
                          <a:solidFill>
                            <a:schemeClr val="bg1"/>
                          </a:solidFill>
                          <a:effectLst/>
                          <a:latin typeface="Arial" charset="0"/>
                          <a:ea typeface="ＭＳ Ｐゴシック"/>
                          <a:cs typeface="ＭＳ Ｐゴシック"/>
                        </a:rPr>
                        <a:t>Court’s</a:t>
                      </a:r>
                      <a:r>
                        <a:rPr kumimoji="0" lang="fr-FR" sz="1000" b="1" i="0" u="none" strike="noStrike" cap="none" normalizeH="0" baseline="0" dirty="0">
                          <a:ln>
                            <a:noFill/>
                          </a:ln>
                          <a:solidFill>
                            <a:schemeClr val="bg1"/>
                          </a:solidFill>
                          <a:effectLst/>
                          <a:latin typeface="Arial" charset="0"/>
                          <a:ea typeface="ＭＳ Ｐゴシック"/>
                          <a:cs typeface="ＭＳ Ｐゴシック"/>
                        </a:rPr>
                        <a:t> </a:t>
                      </a:r>
                      <a:r>
                        <a:rPr kumimoji="0" lang="fr-FR" sz="1000" b="1" i="0" u="none" strike="noStrike" cap="none" normalizeH="0" baseline="0" dirty="0" err="1">
                          <a:ln>
                            <a:noFill/>
                          </a:ln>
                          <a:solidFill>
                            <a:schemeClr val="bg1"/>
                          </a:solidFill>
                          <a:effectLst/>
                          <a:latin typeface="Arial" charset="0"/>
                          <a:ea typeface="ＭＳ Ｐゴシック"/>
                          <a:cs typeface="ＭＳ Ｐゴシック"/>
                        </a:rPr>
                        <a:t>decision</a:t>
                      </a:r>
                      <a:r>
                        <a:rPr kumimoji="0" lang="fr-FR" sz="1000" b="1" i="0" u="none" strike="noStrike" cap="none" normalizeH="0" baseline="0" dirty="0">
                          <a:ln>
                            <a:noFill/>
                          </a:ln>
                          <a:solidFill>
                            <a:schemeClr val="bg1"/>
                          </a:solidFill>
                          <a:effectLst/>
                          <a:latin typeface="Arial" charset="0"/>
                          <a:ea typeface="ＭＳ Ｐゴシック"/>
                          <a:cs typeface="ＭＳ Ｐゴシック"/>
                        </a:rPr>
                        <a:t> to </a:t>
                      </a:r>
                      <a:r>
                        <a:rPr kumimoji="0" lang="fr-FR" sz="1000" b="1" i="0" u="none" strike="noStrike" cap="none" normalizeH="0" baseline="0" dirty="0" err="1">
                          <a:ln>
                            <a:noFill/>
                          </a:ln>
                          <a:solidFill>
                            <a:schemeClr val="bg1"/>
                          </a:solidFill>
                          <a:effectLst/>
                          <a:latin typeface="Arial" charset="0"/>
                          <a:ea typeface="ＭＳ Ｐゴシック"/>
                          <a:cs typeface="ＭＳ Ｐゴシック"/>
                        </a:rPr>
                        <a:t>get</a:t>
                      </a:r>
                      <a:r>
                        <a:rPr kumimoji="0" lang="fr-FR" sz="1000" b="1" i="0" u="none" strike="noStrike" cap="none" normalizeH="0" baseline="0" dirty="0">
                          <a:ln>
                            <a:noFill/>
                          </a:ln>
                          <a:solidFill>
                            <a:schemeClr val="bg1"/>
                          </a:solidFill>
                          <a:effectLst/>
                          <a:latin typeface="Arial" charset="0"/>
                          <a:ea typeface="ＭＳ Ｐゴシック"/>
                          <a:cs typeface="ＭＳ Ｐゴシック"/>
                        </a:rPr>
                        <a:t> the right to </a:t>
                      </a:r>
                      <a:r>
                        <a:rPr kumimoji="0" lang="fr-FR" sz="1000" b="1" i="0" u="none" strike="noStrike" cap="none" normalizeH="0" baseline="0" dirty="0" err="1">
                          <a:ln>
                            <a:noFill/>
                          </a:ln>
                          <a:solidFill>
                            <a:schemeClr val="bg1"/>
                          </a:solidFill>
                          <a:effectLst/>
                          <a:latin typeface="Arial" charset="0"/>
                          <a:ea typeface="ＭＳ Ｐゴシック"/>
                          <a:cs typeface="ＭＳ Ｐゴシック"/>
                        </a:rPr>
                        <a:t>execute</a:t>
                      </a:r>
                      <a:endParaRPr kumimoji="0" lang="fr-FR" sz="1000" b="1" i="0" u="none" strike="noStrike" cap="none" normalizeH="0" baseline="0" dirty="0">
                        <a:ln>
                          <a:noFill/>
                        </a:ln>
                        <a:solidFill>
                          <a:schemeClr val="bg1"/>
                        </a:solidFill>
                        <a:effectLst/>
                        <a:latin typeface="Arial" charset="0"/>
                        <a:ea typeface="ＭＳ Ｐゴシック"/>
                        <a:cs typeface="ＭＳ Ｐゴシック"/>
                      </a:endParaRPr>
                    </a:p>
                    <a:p>
                      <a:pPr marL="265113" marR="0" lvl="0" indent="1588" algn="l" defTabSz="914400" rtl="0" eaLnBrk="0" fontAlgn="base" latinLnBrk="0" hangingPunct="0">
                        <a:lnSpc>
                          <a:spcPct val="100000"/>
                        </a:lnSpc>
                        <a:spcBef>
                          <a:spcPct val="0"/>
                        </a:spcBef>
                        <a:spcAft>
                          <a:spcPct val="0"/>
                        </a:spcAft>
                        <a:buClr>
                          <a:schemeClr val="accent2"/>
                        </a:buClr>
                        <a:buSzTx/>
                        <a:buFont typeface="Wingdings" pitchFamily="2" charset="2"/>
                        <a:buNone/>
                        <a:tabLst/>
                      </a:pPr>
                      <a:endParaRPr kumimoji="0" lang="fr-FR" sz="1000" b="1" i="0" u="none" strike="noStrike" cap="none" normalizeH="0" baseline="0" dirty="0">
                        <a:ln>
                          <a:noFill/>
                        </a:ln>
                        <a:solidFill>
                          <a:schemeClr val="bg1"/>
                        </a:solidFill>
                        <a:effectLst/>
                        <a:latin typeface="Arial" charset="0"/>
                        <a:ea typeface="ＭＳ Ｐゴシック"/>
                        <a:cs typeface="ＭＳ Ｐゴシック"/>
                      </a:endParaRPr>
                    </a:p>
                  </a:txBody>
                  <a:tcPr marL="97500" marR="97500" marT="46800" marB="46800" anchor="ctr" horzOverflow="overflow">
                    <a:lnL>
                      <a:noFill/>
                    </a:lnL>
                    <a:lnR>
                      <a:noFill/>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solidFill>
                      <a:schemeClr val="accent5"/>
                    </a:solidFill>
                  </a:tcPr>
                </a:tc>
                <a:tc>
                  <a:txBody>
                    <a:bodyPr/>
                    <a:lstStyle/>
                    <a:p>
                      <a:pPr marL="273050" marR="0" lvl="1" indent="0" algn="l" defTabSz="914400" rtl="0" eaLnBrk="0" fontAlgn="base" latinLnBrk="0" hangingPunct="0">
                        <a:lnSpc>
                          <a:spcPct val="100000"/>
                        </a:lnSpc>
                        <a:spcBef>
                          <a:spcPct val="50000"/>
                        </a:spcBef>
                        <a:spcAft>
                          <a:spcPct val="0"/>
                        </a:spcAft>
                        <a:buClr>
                          <a:schemeClr val="tx1"/>
                        </a:buClr>
                        <a:buSzTx/>
                        <a:buFont typeface="+mj-lt"/>
                        <a:buNone/>
                        <a:tabLst/>
                      </a:pPr>
                      <a:r>
                        <a:rPr kumimoji="0" lang="en-IE" sz="1000" b="0" i="0" u="none" strike="noStrike" cap="none" normalizeH="0" baseline="0" dirty="0">
                          <a:ln>
                            <a:noFill/>
                          </a:ln>
                          <a:solidFill>
                            <a:schemeClr val="tx1"/>
                          </a:solidFill>
                          <a:effectLst/>
                          <a:latin typeface="Arial" charset="0"/>
                          <a:ea typeface="ＭＳ Ｐゴシック"/>
                          <a:cs typeface="Arial" charset="0"/>
                        </a:rPr>
                        <a:t> Obtain Court order giving the right to seize and sell the debtors assets</a:t>
                      </a:r>
                    </a:p>
                    <a:p>
                      <a:pPr marL="0" marR="0" lvl="1" indent="0" algn="l" defTabSz="914400" rtl="0" eaLnBrk="0" fontAlgn="base" latinLnBrk="0" hangingPunct="0">
                        <a:lnSpc>
                          <a:spcPct val="100000"/>
                        </a:lnSpc>
                        <a:spcBef>
                          <a:spcPct val="50000"/>
                        </a:spcBef>
                        <a:spcAft>
                          <a:spcPct val="0"/>
                        </a:spcAft>
                        <a:buClr>
                          <a:schemeClr val="tx1"/>
                        </a:buClr>
                        <a:buSzTx/>
                        <a:buFont typeface="+mj-lt"/>
                        <a:buNone/>
                        <a:tabLst>
                          <a:tab pos="176213" algn="l"/>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        Analysis of all files before sending them to court </a:t>
                      </a:r>
                    </a:p>
                    <a:p>
                      <a:pPr marL="0" marR="0" lvl="1" indent="0" algn="l" defTabSz="914400" rtl="0" eaLnBrk="0" fontAlgn="base" latinLnBrk="0" hangingPunct="0">
                        <a:lnSpc>
                          <a:spcPct val="100000"/>
                        </a:lnSpc>
                        <a:spcBef>
                          <a:spcPct val="50000"/>
                        </a:spcBef>
                        <a:spcAft>
                          <a:spcPct val="0"/>
                        </a:spcAft>
                        <a:buClr>
                          <a:schemeClr val="tx1"/>
                        </a:buClr>
                        <a:buSzTx/>
                        <a:buFont typeface="+mj-lt"/>
                        <a:buNone/>
                        <a:tabLst>
                          <a:tab pos="176213" algn="l"/>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        Management of delays in obtaining prescriptions </a:t>
                      </a:r>
                    </a:p>
                    <a:p>
                      <a:pPr marL="0" marR="0" lvl="1" indent="0" algn="l" defTabSz="914400" rtl="0" eaLnBrk="0" fontAlgn="base" latinLnBrk="0" hangingPunct="0">
                        <a:lnSpc>
                          <a:spcPct val="100000"/>
                        </a:lnSpc>
                        <a:spcBef>
                          <a:spcPct val="50000"/>
                        </a:spcBef>
                        <a:spcAft>
                          <a:spcPct val="0"/>
                        </a:spcAft>
                        <a:buClr>
                          <a:schemeClr val="tx1"/>
                        </a:buClr>
                        <a:buSzTx/>
                        <a:buFont typeface="+mj-lt"/>
                        <a:buNone/>
                        <a:tabLst>
                          <a:tab pos="176213" algn="l"/>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        Supervision of the bailiffs network for notification’s delays </a:t>
                      </a:r>
                    </a:p>
                    <a:p>
                      <a:pPr marL="0" marR="0" lvl="1" indent="0" algn="l" defTabSz="914400" rtl="0" eaLnBrk="0" fontAlgn="base" latinLnBrk="0" hangingPunct="0">
                        <a:lnSpc>
                          <a:spcPct val="100000"/>
                        </a:lnSpc>
                        <a:spcBef>
                          <a:spcPct val="50000"/>
                        </a:spcBef>
                        <a:spcAft>
                          <a:spcPct val="0"/>
                        </a:spcAft>
                        <a:buClr>
                          <a:schemeClr val="tx1"/>
                        </a:buClr>
                        <a:buSzTx/>
                        <a:buFont typeface="+mj-lt"/>
                        <a:buNone/>
                        <a:tabLst>
                          <a:tab pos="176213" algn="l"/>
                        </a:tabLst>
                      </a:pPr>
                      <a:r>
                        <a:rPr kumimoji="0" lang="en-IE" sz="1000" b="0" i="0" u="none" strike="noStrike" kern="1200" cap="none" normalizeH="0" baseline="0" dirty="0">
                          <a:ln>
                            <a:noFill/>
                          </a:ln>
                          <a:solidFill>
                            <a:schemeClr val="tx1"/>
                          </a:solidFill>
                          <a:effectLst/>
                          <a:latin typeface="Arial" charset="0"/>
                          <a:ea typeface="ＭＳ Ｐゴシック"/>
                          <a:cs typeface="Arial" charset="0"/>
                        </a:rPr>
                        <a:t>       Repeated contacts with Courts clerks to get as quickly as possible the writ of execution</a:t>
                      </a:r>
                    </a:p>
                  </a:txBody>
                  <a:tcPr marL="97500" marR="97500" marT="46800" marB="46800" anchor="ctr" anchorCtr="1" horzOverflow="overflow">
                    <a:lnL>
                      <a:noFill/>
                    </a:lnL>
                    <a:lnR w="3175" cap="flat" cmpd="sng" algn="ctr">
                      <a:solidFill>
                        <a:srgbClr val="C0C0C0"/>
                      </a:solidFill>
                      <a:prstDash val="solid"/>
                      <a:round/>
                      <a:headEnd type="none" w="med" len="med"/>
                      <a:tailEnd type="none" w="med" len="med"/>
                    </a:lnR>
                    <a:lnT w="3175" cap="flat" cmpd="sng" algn="ctr">
                      <a:solidFill>
                        <a:srgbClr val="C0C0C0"/>
                      </a:solidFill>
                      <a:prstDash val="solid"/>
                      <a:round/>
                      <a:headEnd type="none" w="med" len="med"/>
                      <a:tailEnd type="none" w="med" len="med"/>
                    </a:lnT>
                    <a:lnB w="3175" cap="flat" cmpd="sng" algn="ctr">
                      <a:solidFill>
                        <a:srgbClr val="C0C0C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92097681"/>
                  </a:ext>
                </a:extLst>
              </a:tr>
            </a:tbl>
          </a:graphicData>
        </a:graphic>
      </p:graphicFrame>
    </p:spTree>
    <p:extLst>
      <p:ext uri="{BB962C8B-B14F-4D97-AF65-F5344CB8AC3E}">
        <p14:creationId xmlns:p14="http://schemas.microsoft.com/office/powerpoint/2010/main" val="22955241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2400" dirty="0">
                <a:solidFill>
                  <a:schemeClr val="tx1"/>
                </a:solidFill>
              </a:rPr>
              <a:t>Bailiffs division</a:t>
            </a:r>
            <a:endParaRPr lang="fr-FR" dirty="0">
              <a:solidFill>
                <a:schemeClr val="tx1"/>
              </a:solidFill>
            </a:endParaRPr>
          </a:p>
        </p:txBody>
      </p:sp>
      <p:sp>
        <p:nvSpPr>
          <p:cNvPr id="3" name="Espace réservé du numéro de diapositive 2"/>
          <p:cNvSpPr>
            <a:spLocks noGrp="1"/>
          </p:cNvSpPr>
          <p:nvPr>
            <p:ph type="sldNum" sz="quarter" idx="19"/>
          </p:nvPr>
        </p:nvSpPr>
        <p:spPr/>
        <p:txBody>
          <a:bodyPr/>
          <a:lstStyle/>
          <a:p>
            <a:fld id="{98BD2159-827C-4021-9B0E-DCD852BEB59E}" type="slidenum">
              <a:rPr lang="en-GB" smtClean="0"/>
              <a:pPr/>
              <a:t>51</a:t>
            </a:fld>
            <a:endParaRPr lang="en-GB" dirty="0"/>
          </a:p>
        </p:txBody>
      </p:sp>
      <p:sp>
        <p:nvSpPr>
          <p:cNvPr id="4" name="Rectangle 10"/>
          <p:cNvSpPr>
            <a:spLocks noChangeArrowheads="1"/>
          </p:cNvSpPr>
          <p:nvPr/>
        </p:nvSpPr>
        <p:spPr bwMode="gray">
          <a:xfrm>
            <a:off x="606395" y="956493"/>
            <a:ext cx="7484214" cy="250514"/>
          </a:xfrm>
          <a:prstGeom prst="rect">
            <a:avLst/>
          </a:prstGeom>
          <a:solidFill>
            <a:schemeClr val="accent5"/>
          </a:solidFill>
          <a:ln w="9525">
            <a:noFill/>
            <a:miter lim="800000"/>
            <a:headEnd/>
            <a:tailEnd/>
          </a:ln>
        </p:spPr>
        <p:txBody>
          <a:bodyPr anchor="ctr"/>
          <a:lstStyle/>
          <a:p>
            <a:pPr algn="ctr"/>
            <a:r>
              <a:rPr lang="en-US" sz="1100" b="1">
                <a:solidFill>
                  <a:srgbClr val="FFFFFF"/>
                </a:solidFill>
                <a:cs typeface="Arial" charset="0"/>
              </a:rPr>
              <a:t> OBJECTIVES</a:t>
            </a:r>
          </a:p>
        </p:txBody>
      </p:sp>
      <p:sp>
        <p:nvSpPr>
          <p:cNvPr id="5" name="Rectangle 4"/>
          <p:cNvSpPr/>
          <p:nvPr/>
        </p:nvSpPr>
        <p:spPr>
          <a:xfrm>
            <a:off x="606395" y="1477669"/>
            <a:ext cx="7484214" cy="3174797"/>
          </a:xfrm>
          <a:prstGeom prst="rect">
            <a:avLst/>
          </a:prstGeom>
        </p:spPr>
        <p:txBody>
          <a:bodyPr wrap="square">
            <a:spAutoFit/>
          </a:bodyPr>
          <a:lstStyle/>
          <a:p>
            <a:pPr marL="447675" lvl="1" indent="-355600" algn="just" eaLnBrk="0" hangingPunct="0">
              <a:lnSpc>
                <a:spcPct val="150000"/>
              </a:lnSpc>
              <a:spcBef>
                <a:spcPct val="50000"/>
              </a:spcBef>
              <a:buClr>
                <a:schemeClr val="tx1"/>
              </a:buClr>
              <a:buSzPct val="120000"/>
              <a:buFontTx/>
              <a:buBlip>
                <a:blip r:embed="rId2"/>
              </a:buBlip>
              <a:defRPr/>
            </a:pPr>
            <a:r>
              <a:rPr lang="fr-FR" sz="1100" dirty="0">
                <a:cs typeface="Arial" charset="0"/>
              </a:rPr>
              <a:t>Supervise the networks of </a:t>
            </a:r>
            <a:r>
              <a:rPr lang="fr-FR" sz="1100" dirty="0" err="1">
                <a:cs typeface="Arial" charset="0"/>
              </a:rPr>
              <a:t>bailiffs</a:t>
            </a:r>
            <a:r>
              <a:rPr lang="fr-FR" sz="1100" dirty="0">
                <a:cs typeface="Arial" charset="0"/>
              </a:rPr>
              <a:t> </a:t>
            </a:r>
            <a:r>
              <a:rPr lang="fr-FR" sz="1100" dirty="0" err="1">
                <a:cs typeface="Arial" charset="0"/>
              </a:rPr>
              <a:t>during</a:t>
            </a:r>
            <a:r>
              <a:rPr lang="fr-FR" sz="1100" dirty="0">
                <a:cs typeface="Arial" charset="0"/>
              </a:rPr>
              <a:t> </a:t>
            </a:r>
            <a:r>
              <a:rPr lang="fr-FR" sz="1100" dirty="0" err="1">
                <a:cs typeface="Arial" charset="0"/>
              </a:rPr>
              <a:t>external</a:t>
            </a:r>
            <a:r>
              <a:rPr lang="fr-FR" sz="1100" dirty="0">
                <a:cs typeface="Arial" charset="0"/>
              </a:rPr>
              <a:t> </a:t>
            </a:r>
            <a:r>
              <a:rPr lang="fr-FR" sz="1100" dirty="0" err="1">
                <a:cs typeface="Arial" charset="0"/>
              </a:rPr>
              <a:t>recovery</a:t>
            </a:r>
            <a:r>
              <a:rPr lang="fr-FR" sz="1100" dirty="0">
                <a:cs typeface="Arial" charset="0"/>
              </a:rPr>
              <a:t> phases: </a:t>
            </a:r>
          </a:p>
          <a:p>
            <a:pPr marL="904875" lvl="2" indent="-355600" algn="just" eaLnBrk="0" hangingPunct="0">
              <a:lnSpc>
                <a:spcPct val="150000"/>
              </a:lnSpc>
              <a:spcBef>
                <a:spcPct val="50000"/>
              </a:spcBef>
              <a:buClr>
                <a:schemeClr val="tx1"/>
              </a:buClr>
              <a:buSzPct val="120000"/>
              <a:buFontTx/>
              <a:buBlip>
                <a:blip r:embed="rId2"/>
              </a:buBlip>
              <a:defRPr/>
            </a:pPr>
            <a:r>
              <a:rPr lang="fr-FR" sz="1100" dirty="0">
                <a:cs typeface="Arial" charset="0"/>
              </a:rPr>
              <a:t>Judicial return of </a:t>
            </a:r>
            <a:r>
              <a:rPr lang="fr-FR" sz="1100" dirty="0" err="1">
                <a:cs typeface="Arial" charset="0"/>
              </a:rPr>
              <a:t>equipment</a:t>
            </a:r>
            <a:r>
              <a:rPr lang="fr-FR" sz="1100" dirty="0">
                <a:cs typeface="Arial" charset="0"/>
              </a:rPr>
              <a:t> </a:t>
            </a:r>
            <a:r>
              <a:rPr lang="fr-FR" sz="1100" dirty="0" err="1">
                <a:cs typeface="Arial" charset="0"/>
              </a:rPr>
              <a:t>financed</a:t>
            </a:r>
            <a:endParaRPr lang="fr-FR" sz="1100" dirty="0">
              <a:cs typeface="Arial" charset="0"/>
            </a:endParaRPr>
          </a:p>
          <a:p>
            <a:pPr marL="904875" lvl="2" indent="-355600" algn="just" eaLnBrk="0" hangingPunct="0">
              <a:lnSpc>
                <a:spcPct val="150000"/>
              </a:lnSpc>
              <a:spcBef>
                <a:spcPct val="50000"/>
              </a:spcBef>
              <a:buClr>
                <a:schemeClr val="tx1"/>
              </a:buClr>
              <a:buSzPct val="120000"/>
              <a:buFontTx/>
              <a:buBlip>
                <a:blip r:embed="rId2"/>
              </a:buBlip>
              <a:defRPr/>
            </a:pPr>
            <a:r>
              <a:rPr lang="fr-FR" sz="1100" dirty="0" err="1">
                <a:cs typeface="Arial" charset="0"/>
              </a:rPr>
              <a:t>Amicable</a:t>
            </a:r>
            <a:r>
              <a:rPr lang="fr-FR" sz="1100" dirty="0">
                <a:cs typeface="Arial" charset="0"/>
              </a:rPr>
              <a:t> </a:t>
            </a:r>
            <a:r>
              <a:rPr lang="fr-FR" sz="1100" dirty="0" err="1">
                <a:cs typeface="Arial" charset="0"/>
              </a:rPr>
              <a:t>recovery</a:t>
            </a:r>
            <a:r>
              <a:rPr lang="fr-FR" sz="1100" dirty="0">
                <a:cs typeface="Arial" charset="0"/>
              </a:rPr>
              <a:t> </a:t>
            </a:r>
            <a:r>
              <a:rPr lang="fr-FR" sz="1100" dirty="0" err="1">
                <a:cs typeface="Arial" charset="0"/>
              </a:rPr>
              <a:t>while</a:t>
            </a:r>
            <a:r>
              <a:rPr lang="fr-FR" sz="1100" dirty="0">
                <a:cs typeface="Arial" charset="0"/>
              </a:rPr>
              <a:t> </a:t>
            </a:r>
            <a:r>
              <a:rPr lang="fr-FR" sz="1100" dirty="0" err="1">
                <a:cs typeface="Arial" charset="0"/>
              </a:rPr>
              <a:t>before</a:t>
            </a:r>
            <a:r>
              <a:rPr lang="fr-FR" sz="1100" dirty="0">
                <a:cs typeface="Arial" charset="0"/>
              </a:rPr>
              <a:t> </a:t>
            </a:r>
            <a:r>
              <a:rPr lang="fr-FR" sz="1100" dirty="0" err="1">
                <a:cs typeface="Arial" charset="0"/>
              </a:rPr>
              <a:t>getting</a:t>
            </a:r>
            <a:r>
              <a:rPr lang="fr-FR" sz="1100" dirty="0">
                <a:cs typeface="Arial" charset="0"/>
              </a:rPr>
              <a:t> a </a:t>
            </a:r>
            <a:r>
              <a:rPr lang="fr-FR" sz="1100" dirty="0" err="1">
                <a:cs typeface="Arial" charset="0"/>
              </a:rPr>
              <a:t>writ</a:t>
            </a:r>
            <a:r>
              <a:rPr lang="fr-FR" sz="1100" dirty="0">
                <a:cs typeface="Arial" charset="0"/>
              </a:rPr>
              <a:t> of </a:t>
            </a:r>
            <a:r>
              <a:rPr lang="fr-FR" sz="1100" dirty="0" err="1">
                <a:cs typeface="Arial" charset="0"/>
              </a:rPr>
              <a:t>execution</a:t>
            </a:r>
            <a:r>
              <a:rPr lang="fr-FR" sz="1100" dirty="0">
                <a:cs typeface="Arial" charset="0"/>
              </a:rPr>
              <a:t> </a:t>
            </a:r>
          </a:p>
          <a:p>
            <a:pPr marL="904875" lvl="2" indent="-355600" algn="just" eaLnBrk="0" hangingPunct="0">
              <a:lnSpc>
                <a:spcPct val="150000"/>
              </a:lnSpc>
              <a:spcBef>
                <a:spcPct val="50000"/>
              </a:spcBef>
              <a:buClr>
                <a:schemeClr val="tx1"/>
              </a:buClr>
              <a:buSzPct val="120000"/>
              <a:buFontTx/>
              <a:buBlip>
                <a:blip r:embed="rId2"/>
              </a:buBlip>
              <a:defRPr/>
            </a:pPr>
            <a:r>
              <a:rPr lang="fr-FR" sz="1100" dirty="0" err="1">
                <a:cs typeface="Arial" charset="0"/>
              </a:rPr>
              <a:t>Obtaining</a:t>
            </a:r>
            <a:r>
              <a:rPr lang="fr-FR" sz="1100" dirty="0">
                <a:cs typeface="Arial" charset="0"/>
              </a:rPr>
              <a:t> </a:t>
            </a:r>
            <a:r>
              <a:rPr lang="fr-FR" sz="1100" dirty="0" err="1">
                <a:cs typeface="Arial" charset="0"/>
              </a:rPr>
              <a:t>writ</a:t>
            </a:r>
            <a:r>
              <a:rPr lang="fr-FR" sz="1100" dirty="0">
                <a:cs typeface="Arial" charset="0"/>
              </a:rPr>
              <a:t> of </a:t>
            </a:r>
            <a:r>
              <a:rPr lang="fr-FR" sz="1100" dirty="0" err="1">
                <a:cs typeface="Arial" charset="0"/>
              </a:rPr>
              <a:t>execution</a:t>
            </a:r>
            <a:endParaRPr lang="fr-FR" sz="1100" dirty="0">
              <a:cs typeface="Arial" charset="0"/>
            </a:endParaRPr>
          </a:p>
          <a:p>
            <a:pPr marL="904875" lvl="2" indent="-355600" algn="just" eaLnBrk="0" hangingPunct="0">
              <a:lnSpc>
                <a:spcPct val="150000"/>
              </a:lnSpc>
              <a:spcBef>
                <a:spcPct val="50000"/>
              </a:spcBef>
              <a:buClr>
                <a:schemeClr val="tx1"/>
              </a:buClr>
              <a:buSzPct val="120000"/>
              <a:buFontTx/>
              <a:buBlip>
                <a:blip r:embed="rId2"/>
              </a:buBlip>
              <a:defRPr/>
            </a:pPr>
            <a:r>
              <a:rPr lang="fr-FR" sz="1100" dirty="0" err="1">
                <a:cs typeface="Arial" charset="0"/>
              </a:rPr>
              <a:t>Amicable</a:t>
            </a:r>
            <a:r>
              <a:rPr lang="fr-FR" sz="1100" dirty="0">
                <a:cs typeface="Arial" charset="0"/>
              </a:rPr>
              <a:t> </a:t>
            </a:r>
            <a:r>
              <a:rPr lang="fr-FR" sz="1100" dirty="0" err="1">
                <a:cs typeface="Arial" charset="0"/>
              </a:rPr>
              <a:t>recovery</a:t>
            </a:r>
            <a:r>
              <a:rPr lang="fr-FR" sz="1100" dirty="0">
                <a:cs typeface="Arial" charset="0"/>
              </a:rPr>
              <a:t> in case no </a:t>
            </a:r>
            <a:r>
              <a:rPr lang="fr-FR" sz="1100" dirty="0" err="1">
                <a:cs typeface="Arial" charset="0"/>
              </a:rPr>
              <a:t>writ</a:t>
            </a:r>
            <a:r>
              <a:rPr lang="fr-FR" sz="1100" dirty="0">
                <a:cs typeface="Arial" charset="0"/>
              </a:rPr>
              <a:t> of </a:t>
            </a:r>
            <a:r>
              <a:rPr lang="fr-FR" sz="1100" dirty="0" err="1">
                <a:cs typeface="Arial" charset="0"/>
              </a:rPr>
              <a:t>execution</a:t>
            </a:r>
            <a:r>
              <a:rPr lang="fr-FR" sz="1100" dirty="0">
                <a:cs typeface="Arial" charset="0"/>
              </a:rPr>
              <a:t> has been </a:t>
            </a:r>
            <a:r>
              <a:rPr lang="fr-FR" sz="1100" dirty="0" err="1">
                <a:cs typeface="Arial" charset="0"/>
              </a:rPr>
              <a:t>obtained</a:t>
            </a:r>
            <a:r>
              <a:rPr lang="fr-FR" sz="1100" dirty="0">
                <a:cs typeface="Arial" charset="0"/>
              </a:rPr>
              <a:t> </a:t>
            </a:r>
          </a:p>
          <a:p>
            <a:pPr marL="904875" lvl="2" indent="-355600" eaLnBrk="0" hangingPunct="0">
              <a:lnSpc>
                <a:spcPct val="150000"/>
              </a:lnSpc>
              <a:spcBef>
                <a:spcPct val="50000"/>
              </a:spcBef>
              <a:buClr>
                <a:schemeClr val="tx1"/>
              </a:buClr>
              <a:buSzPct val="120000"/>
              <a:buFontTx/>
              <a:buBlip>
                <a:blip r:embed="rId2"/>
              </a:buBlip>
              <a:defRPr/>
            </a:pPr>
            <a:r>
              <a:rPr lang="fr-FR" sz="1100" dirty="0">
                <a:cs typeface="Arial" charset="0"/>
              </a:rPr>
              <a:t>Monitoring and supervision of Court </a:t>
            </a:r>
            <a:r>
              <a:rPr lang="fr-FR" sz="1100" dirty="0" err="1">
                <a:cs typeface="Arial" charset="0"/>
              </a:rPr>
              <a:t>order’s</a:t>
            </a:r>
            <a:r>
              <a:rPr lang="fr-FR" sz="1100" dirty="0">
                <a:cs typeface="Arial" charset="0"/>
              </a:rPr>
              <a:t> </a:t>
            </a:r>
            <a:r>
              <a:rPr lang="fr-FR" sz="1100" dirty="0" err="1">
                <a:cs typeface="Arial" charset="0"/>
              </a:rPr>
              <a:t>execution</a:t>
            </a:r>
            <a:r>
              <a:rPr lang="fr-FR" sz="1100" dirty="0">
                <a:cs typeface="Arial" charset="0"/>
              </a:rPr>
              <a:t> by the </a:t>
            </a:r>
            <a:r>
              <a:rPr lang="fr-FR" sz="1100" dirty="0" err="1">
                <a:cs typeface="Arial" charset="0"/>
              </a:rPr>
              <a:t>Bailiffs</a:t>
            </a:r>
            <a:r>
              <a:rPr lang="fr-FR" sz="1100" dirty="0">
                <a:cs typeface="Arial" charset="0"/>
              </a:rPr>
              <a:t> </a:t>
            </a:r>
          </a:p>
          <a:p>
            <a:pPr marL="904875" lvl="2" indent="-355600" eaLnBrk="0" hangingPunct="0">
              <a:lnSpc>
                <a:spcPct val="150000"/>
              </a:lnSpc>
              <a:spcBef>
                <a:spcPct val="50000"/>
              </a:spcBef>
              <a:buClr>
                <a:schemeClr val="tx1"/>
              </a:buClr>
              <a:buSzPct val="120000"/>
              <a:buFontTx/>
              <a:buBlip>
                <a:blip r:embed="rId2"/>
              </a:buBlip>
              <a:defRPr/>
            </a:pPr>
            <a:endParaRPr lang="fr-FR" sz="1100" dirty="0">
              <a:cs typeface="Arial" charset="0"/>
            </a:endParaRPr>
          </a:p>
          <a:p>
            <a:pPr marL="549275" lvl="2" indent="-457200" eaLnBrk="0" hangingPunct="0">
              <a:lnSpc>
                <a:spcPct val="150000"/>
              </a:lnSpc>
              <a:spcBef>
                <a:spcPct val="50000"/>
              </a:spcBef>
              <a:buClr>
                <a:schemeClr val="tx1"/>
              </a:buClr>
              <a:buSzPct val="120000"/>
              <a:defRPr/>
            </a:pPr>
            <a:r>
              <a:rPr lang="fr-FR" sz="1100" b="1" dirty="0">
                <a:cs typeface="Arial" charset="0"/>
              </a:rPr>
              <a:t>UNITS</a:t>
            </a:r>
          </a:p>
          <a:p>
            <a:pPr marL="447675" lvl="2" indent="-355600" algn="just" eaLnBrk="0" hangingPunct="0">
              <a:lnSpc>
                <a:spcPct val="150000"/>
              </a:lnSpc>
              <a:spcBef>
                <a:spcPct val="50000"/>
              </a:spcBef>
              <a:buClr>
                <a:schemeClr val="tx1"/>
              </a:buClr>
              <a:buSzPct val="120000"/>
              <a:buFontTx/>
              <a:buBlip>
                <a:blip r:embed="rId2"/>
              </a:buBlip>
              <a:defRPr/>
            </a:pPr>
            <a:r>
              <a:rPr lang="fr-FR" sz="1100" dirty="0">
                <a:cs typeface="Arial" charset="0"/>
              </a:rPr>
              <a:t>4 BRC (</a:t>
            </a:r>
            <a:r>
              <a:rPr lang="fr-FR" sz="1100" dirty="0" err="1">
                <a:cs typeface="Arial" charset="0"/>
              </a:rPr>
              <a:t>litigation</a:t>
            </a:r>
            <a:r>
              <a:rPr lang="fr-FR" sz="1100" dirty="0">
                <a:cs typeface="Arial" charset="0"/>
              </a:rPr>
              <a:t> </a:t>
            </a:r>
            <a:r>
              <a:rPr lang="fr-FR" sz="1100" dirty="0" err="1">
                <a:cs typeface="Arial" charset="0"/>
              </a:rPr>
              <a:t>regional</a:t>
            </a:r>
            <a:r>
              <a:rPr lang="fr-FR" sz="1100" dirty="0">
                <a:cs typeface="Arial" charset="0"/>
              </a:rPr>
              <a:t> office) : Arcueil, Bordeaux, Lyon and Roubaix </a:t>
            </a:r>
          </a:p>
        </p:txBody>
      </p:sp>
    </p:spTree>
    <p:extLst>
      <p:ext uri="{BB962C8B-B14F-4D97-AF65-F5344CB8AC3E}">
        <p14:creationId xmlns:p14="http://schemas.microsoft.com/office/powerpoint/2010/main" val="40315553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solidFill>
                  <a:schemeClr val="tx1"/>
                </a:solidFill>
              </a:rPr>
              <a:t>Teams location </a:t>
            </a:r>
          </a:p>
        </p:txBody>
      </p:sp>
      <p:sp>
        <p:nvSpPr>
          <p:cNvPr id="3" name="Espace réservé du numéro de diapositive 2"/>
          <p:cNvSpPr>
            <a:spLocks noGrp="1"/>
          </p:cNvSpPr>
          <p:nvPr>
            <p:ph type="sldNum" sz="quarter" idx="19"/>
          </p:nvPr>
        </p:nvSpPr>
        <p:spPr/>
        <p:txBody>
          <a:bodyPr/>
          <a:lstStyle/>
          <a:p>
            <a:fld id="{98BD2159-827C-4021-9B0E-DCD852BEB59E}" type="slidenum">
              <a:rPr lang="en-GB" smtClean="0"/>
              <a:pPr/>
              <a:t>52</a:t>
            </a:fld>
            <a:endParaRPr lang="en-GB" dirty="0"/>
          </a:p>
        </p:txBody>
      </p:sp>
      <p:pic>
        <p:nvPicPr>
          <p:cNvPr id="4" name="Picture 1"/>
          <p:cNvPicPr>
            <a:picLocks noChangeAspect="1" noChangeArrowheads="1"/>
          </p:cNvPicPr>
          <p:nvPr/>
        </p:nvPicPr>
        <p:blipFill>
          <a:blip r:embed="rId2"/>
          <a:srcRect/>
          <a:stretch>
            <a:fillRect/>
          </a:stretch>
        </p:blipFill>
        <p:spPr bwMode="auto">
          <a:xfrm>
            <a:off x="4681900" y="635774"/>
            <a:ext cx="3624392" cy="4090493"/>
          </a:xfrm>
          <a:prstGeom prst="rect">
            <a:avLst/>
          </a:prstGeom>
          <a:noFill/>
          <a:ln w="9525">
            <a:noFill/>
            <a:miter lim="800000"/>
            <a:headEnd/>
            <a:tailEnd/>
          </a:ln>
        </p:spPr>
      </p:pic>
      <p:sp>
        <p:nvSpPr>
          <p:cNvPr id="5" name="Rectangle à coins arrondis 4"/>
          <p:cNvSpPr/>
          <p:nvPr/>
        </p:nvSpPr>
        <p:spPr bwMode="auto">
          <a:xfrm>
            <a:off x="6344561" y="635774"/>
            <a:ext cx="873212" cy="573087"/>
          </a:xfrm>
          <a:prstGeom prst="round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fr-FR" sz="1050" b="1" dirty="0">
                <a:solidFill>
                  <a:schemeClr val="tx1"/>
                </a:solidFill>
              </a:rPr>
              <a:t>ROUBAIX</a:t>
            </a:r>
            <a:br>
              <a:rPr lang="fr-FR" sz="1050" b="1" dirty="0">
                <a:solidFill>
                  <a:schemeClr val="tx1"/>
                </a:solidFill>
              </a:rPr>
            </a:br>
            <a:endParaRPr lang="fr-FR" sz="1050" b="1" dirty="0">
              <a:solidFill>
                <a:schemeClr val="tx1"/>
              </a:solidFill>
            </a:endParaRPr>
          </a:p>
        </p:txBody>
      </p:sp>
      <p:sp>
        <p:nvSpPr>
          <p:cNvPr id="6" name="Rectangle à coins arrondis 5"/>
          <p:cNvSpPr/>
          <p:nvPr/>
        </p:nvSpPr>
        <p:spPr bwMode="auto">
          <a:xfrm>
            <a:off x="5383747" y="2832461"/>
            <a:ext cx="864096" cy="573088"/>
          </a:xfrm>
          <a:prstGeom prst="round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fr-FR" sz="1050" b="1" dirty="0">
                <a:solidFill>
                  <a:schemeClr val="tx1"/>
                </a:solidFill>
              </a:rPr>
              <a:t>Bordeaux </a:t>
            </a:r>
            <a:br>
              <a:rPr lang="fr-FR" sz="1050" b="1" dirty="0">
                <a:solidFill>
                  <a:schemeClr val="tx1"/>
                </a:solidFill>
              </a:rPr>
            </a:br>
            <a:endParaRPr lang="fr-FR" sz="1050" b="1" dirty="0">
              <a:solidFill>
                <a:schemeClr val="tx1"/>
              </a:solidFill>
            </a:endParaRPr>
          </a:p>
        </p:txBody>
      </p:sp>
      <p:sp>
        <p:nvSpPr>
          <p:cNvPr id="7" name="Rectangle à coins arrondis 6"/>
          <p:cNvSpPr/>
          <p:nvPr/>
        </p:nvSpPr>
        <p:spPr>
          <a:xfrm>
            <a:off x="6123258" y="1575878"/>
            <a:ext cx="793208" cy="543967"/>
          </a:xfrm>
          <a:prstGeom prst="round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fr-FR" sz="1050" b="1" dirty="0">
                <a:solidFill>
                  <a:schemeClr val="tx1"/>
                </a:solidFill>
              </a:rPr>
              <a:t>MASSY</a:t>
            </a:r>
          </a:p>
        </p:txBody>
      </p:sp>
      <p:pic>
        <p:nvPicPr>
          <p:cNvPr id="9" name="Image 8"/>
          <p:cNvPicPr>
            <a:picLocks noChangeAspect="1"/>
          </p:cNvPicPr>
          <p:nvPr/>
        </p:nvPicPr>
        <p:blipFill>
          <a:blip r:embed="rId3"/>
          <a:stretch>
            <a:fillRect/>
          </a:stretch>
        </p:blipFill>
        <p:spPr>
          <a:xfrm>
            <a:off x="6508704" y="883251"/>
            <a:ext cx="542925" cy="295275"/>
          </a:xfrm>
          <a:prstGeom prst="rect">
            <a:avLst/>
          </a:prstGeom>
        </p:spPr>
      </p:pic>
      <p:pic>
        <p:nvPicPr>
          <p:cNvPr id="10" name="Image 9"/>
          <p:cNvPicPr>
            <a:picLocks noChangeAspect="1"/>
          </p:cNvPicPr>
          <p:nvPr/>
        </p:nvPicPr>
        <p:blipFill>
          <a:blip r:embed="rId4"/>
          <a:stretch>
            <a:fillRect/>
          </a:stretch>
        </p:blipFill>
        <p:spPr>
          <a:xfrm>
            <a:off x="6233738" y="1824571"/>
            <a:ext cx="609600" cy="295275"/>
          </a:xfrm>
          <a:prstGeom prst="rect">
            <a:avLst/>
          </a:prstGeom>
        </p:spPr>
      </p:pic>
      <p:sp>
        <p:nvSpPr>
          <p:cNvPr id="11" name="Rectangle 10"/>
          <p:cNvSpPr/>
          <p:nvPr/>
        </p:nvSpPr>
        <p:spPr>
          <a:xfrm>
            <a:off x="5743786" y="3123817"/>
            <a:ext cx="144016" cy="19286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Picture 48"/>
          <p:cNvPicPr>
            <a:picLocks noChangeAspect="1" noChangeArrowheads="1"/>
          </p:cNvPicPr>
          <p:nvPr/>
        </p:nvPicPr>
        <p:blipFill>
          <a:blip r:embed="rId5"/>
          <a:srcRect/>
          <a:stretch>
            <a:fillRect/>
          </a:stretch>
        </p:blipFill>
        <p:spPr bwMode="auto">
          <a:xfrm>
            <a:off x="5754570" y="3090929"/>
            <a:ext cx="122448" cy="290789"/>
          </a:xfrm>
          <a:prstGeom prst="rect">
            <a:avLst/>
          </a:prstGeom>
          <a:noFill/>
          <a:ln w="12700" algn="ctr">
            <a:noFill/>
            <a:miter lim="800000"/>
            <a:headEnd/>
            <a:tailEnd/>
          </a:ln>
        </p:spPr>
      </p:pic>
      <p:sp>
        <p:nvSpPr>
          <p:cNvPr id="16" name="Rectangle 15"/>
          <p:cNvSpPr/>
          <p:nvPr/>
        </p:nvSpPr>
        <p:spPr>
          <a:xfrm>
            <a:off x="424469" y="1425669"/>
            <a:ext cx="4257431" cy="2554545"/>
          </a:xfrm>
          <a:prstGeom prst="rect">
            <a:avLst/>
          </a:prstGeom>
        </p:spPr>
        <p:txBody>
          <a:bodyPr wrap="square">
            <a:spAutoFit/>
          </a:bodyPr>
          <a:lstStyle/>
          <a:p>
            <a:pPr marL="171450" indent="-171450" algn="just" defTabSz="449263" eaLnBrk="0" hangingPunct="0">
              <a:spcBef>
                <a:spcPct val="50000"/>
              </a:spcBef>
              <a:buClr>
                <a:schemeClr val="tx1"/>
              </a:buClr>
              <a:buSzPct val="120000"/>
              <a:buFontTx/>
              <a:buBlip>
                <a:blip r:embed="rId6"/>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en-GB" sz="1000" dirty="0">
                <a:cs typeface="Arial" charset="0"/>
              </a:rPr>
              <a:t>Bailiffs division BRC (BRC : litigation regional office)</a:t>
            </a:r>
          </a:p>
          <a:p>
            <a:pPr marL="171450" indent="-171450" algn="just" defTabSz="449263" eaLnBrk="0" hangingPunct="0">
              <a:spcBef>
                <a:spcPct val="50000"/>
              </a:spcBef>
              <a:buClr>
                <a:schemeClr val="tx1"/>
              </a:buClr>
              <a:buSzPct val="120000"/>
              <a:buFontTx/>
              <a:buBlip>
                <a:blip r:embed="rId6"/>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en-GB" sz="1000" dirty="0">
              <a:solidFill>
                <a:srgbClr val="FF0000"/>
              </a:solidFill>
              <a:cs typeface="Arial" charset="0"/>
            </a:endParaRPr>
          </a:p>
          <a:p>
            <a:pPr marL="171450" indent="-171450" algn="just" defTabSz="449263" eaLnBrk="0" hangingPunct="0">
              <a:spcBef>
                <a:spcPct val="50000"/>
              </a:spcBef>
              <a:buClr>
                <a:schemeClr val="tx1"/>
              </a:buClr>
              <a:buSzPct val="120000"/>
              <a:buFontTx/>
              <a:buBlip>
                <a:blip r:embed="rId6"/>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en-GB" sz="1000" dirty="0">
                <a:cs typeface="Arial" charset="0"/>
              </a:rPr>
              <a:t> Judicial division (writ of execution process, lawyers) </a:t>
            </a:r>
          </a:p>
          <a:p>
            <a:pPr marL="171450" indent="-171450" algn="just" defTabSz="449263" eaLnBrk="0" hangingPunct="0">
              <a:spcBef>
                <a:spcPct val="50000"/>
              </a:spcBef>
              <a:buClr>
                <a:schemeClr val="tx1"/>
              </a:buClr>
              <a:buSzPct val="120000"/>
              <a:buFontTx/>
              <a:buBlip>
                <a:blip r:embed="rId6"/>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en-GB" sz="1000" dirty="0">
              <a:cs typeface="Arial" charset="0"/>
            </a:endParaRPr>
          </a:p>
          <a:p>
            <a:pPr marL="171450" indent="-171450" algn="just" defTabSz="449263" eaLnBrk="0" hangingPunct="0">
              <a:spcBef>
                <a:spcPct val="50000"/>
              </a:spcBef>
              <a:buClr>
                <a:schemeClr val="tx1"/>
              </a:buClr>
              <a:buSzPct val="120000"/>
              <a:buFontTx/>
              <a:buBlip>
                <a:blip r:embed="rId6"/>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en-GB" sz="1000" dirty="0">
                <a:cs typeface="Arial" charset="0"/>
              </a:rPr>
              <a:t> Judicial division (legal proceedings, lawyers) </a:t>
            </a:r>
          </a:p>
          <a:p>
            <a:pPr marL="171450" indent="-171450" algn="just" defTabSz="449263" eaLnBrk="0" hangingPunct="0">
              <a:spcBef>
                <a:spcPct val="50000"/>
              </a:spcBef>
              <a:buClr>
                <a:schemeClr val="tx1"/>
              </a:buClr>
              <a:buSzPct val="120000"/>
              <a:buFontTx/>
              <a:buBlip>
                <a:blip r:embed="rId6"/>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en-GB" sz="1000" dirty="0">
              <a:cs typeface="Arial" charset="0"/>
            </a:endParaRPr>
          </a:p>
          <a:p>
            <a:pPr marL="171450" indent="-171450" algn="just" defTabSz="449263" eaLnBrk="0" hangingPunct="0">
              <a:spcBef>
                <a:spcPct val="50000"/>
              </a:spcBef>
              <a:buClr>
                <a:schemeClr val="tx1"/>
              </a:buClr>
              <a:buSzPct val="120000"/>
              <a:buFontTx/>
              <a:buBlip>
                <a:blip r:embed="rId6"/>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en-GB" sz="1000" dirty="0">
                <a:cs typeface="Arial" charset="0"/>
              </a:rPr>
              <a:t> Amicable division (RCA) </a:t>
            </a:r>
          </a:p>
          <a:p>
            <a:pPr marL="171450" indent="-171450" algn="just" defTabSz="449263" eaLnBrk="0" hangingPunct="0">
              <a:spcBef>
                <a:spcPct val="50000"/>
              </a:spcBef>
              <a:buClr>
                <a:schemeClr val="tx1"/>
              </a:buClr>
              <a:buSzPct val="120000"/>
              <a:buFontTx/>
              <a:buBlip>
                <a:blip r:embed="rId6"/>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en-GB" sz="1000" dirty="0">
              <a:cs typeface="Arial" charset="0"/>
            </a:endParaRPr>
          </a:p>
          <a:p>
            <a:pPr marL="171450" indent="-171450" algn="just" defTabSz="449263" eaLnBrk="0" hangingPunct="0">
              <a:spcBef>
                <a:spcPct val="50000"/>
              </a:spcBef>
              <a:buClr>
                <a:schemeClr val="tx1"/>
              </a:buClr>
              <a:buSzPct val="120000"/>
              <a:buFontTx/>
              <a:buBlip>
                <a:blip r:embed="rId6"/>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en-GB" sz="1000" dirty="0">
                <a:cs typeface="Arial" charset="0"/>
              </a:rPr>
              <a:t> Amicable division (call-</a:t>
            </a:r>
            <a:r>
              <a:rPr lang="en-GB" sz="1000" dirty="0" err="1">
                <a:cs typeface="Arial" charset="0"/>
              </a:rPr>
              <a:t>center</a:t>
            </a:r>
            <a:r>
              <a:rPr lang="en-GB" sz="1000" dirty="0">
                <a:cs typeface="Arial" charset="0"/>
              </a:rPr>
              <a:t>, HASR)  </a:t>
            </a:r>
          </a:p>
          <a:p>
            <a:pPr algn="just" defTabSz="449263" eaLnBrk="0" hangingPunct="0">
              <a:spcBef>
                <a:spcPct val="50000"/>
              </a:spcBef>
              <a:buClr>
                <a:schemeClr val="tx1"/>
              </a:buClr>
              <a:buSzPct val="12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en-GB" sz="1000" dirty="0">
              <a:cs typeface="Arial" charset="0"/>
            </a:endParaRPr>
          </a:p>
          <a:p>
            <a:pPr algn="just" defTabSz="449263" eaLnBrk="0" hangingPunct="0">
              <a:spcBef>
                <a:spcPct val="50000"/>
              </a:spcBef>
              <a:buClr>
                <a:schemeClr val="tx1"/>
              </a:buClr>
              <a:buSzPct val="120000"/>
              <a:buFontTx/>
              <a:buBlip>
                <a:blip r:embed="rId7"/>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en-GB" sz="1000" dirty="0">
                <a:cs typeface="Arial" charset="0"/>
              </a:rPr>
              <a:t> Central unit (governance, support)  </a:t>
            </a:r>
          </a:p>
        </p:txBody>
      </p:sp>
      <p:pic>
        <p:nvPicPr>
          <p:cNvPr id="18" name="Picture 48"/>
          <p:cNvPicPr>
            <a:picLocks noChangeAspect="1" noChangeArrowheads="1"/>
          </p:cNvPicPr>
          <p:nvPr/>
        </p:nvPicPr>
        <p:blipFill>
          <a:blip r:embed="rId5"/>
          <a:srcRect/>
          <a:stretch>
            <a:fillRect/>
          </a:stretch>
        </p:blipFill>
        <p:spPr bwMode="auto">
          <a:xfrm>
            <a:off x="3843252" y="1413648"/>
            <a:ext cx="122448" cy="290789"/>
          </a:xfrm>
          <a:prstGeom prst="rect">
            <a:avLst/>
          </a:prstGeom>
          <a:noFill/>
          <a:ln w="12700" algn="ctr">
            <a:noFill/>
            <a:miter lim="800000"/>
            <a:headEnd/>
            <a:tailEnd/>
          </a:ln>
        </p:spPr>
      </p:pic>
      <p:pic>
        <p:nvPicPr>
          <p:cNvPr id="19" name="Picture 47"/>
          <p:cNvPicPr>
            <a:picLocks noChangeAspect="1" noChangeArrowheads="1"/>
          </p:cNvPicPr>
          <p:nvPr/>
        </p:nvPicPr>
        <p:blipFill>
          <a:blip r:embed="rId8"/>
          <a:srcRect/>
          <a:stretch>
            <a:fillRect/>
          </a:stretch>
        </p:blipFill>
        <p:spPr bwMode="auto">
          <a:xfrm>
            <a:off x="3836088" y="1892141"/>
            <a:ext cx="106124" cy="252020"/>
          </a:xfrm>
          <a:prstGeom prst="rect">
            <a:avLst/>
          </a:prstGeom>
          <a:noFill/>
          <a:ln w="12700" algn="ctr">
            <a:noFill/>
            <a:miter lim="800000"/>
            <a:headEnd/>
            <a:tailEnd/>
          </a:ln>
        </p:spPr>
      </p:pic>
      <p:pic>
        <p:nvPicPr>
          <p:cNvPr id="20" name="Picture 49"/>
          <p:cNvPicPr>
            <a:picLocks noChangeAspect="1" noChangeArrowheads="1"/>
          </p:cNvPicPr>
          <p:nvPr/>
        </p:nvPicPr>
        <p:blipFill>
          <a:blip r:embed="rId9"/>
          <a:srcRect/>
          <a:stretch>
            <a:fillRect/>
          </a:stretch>
        </p:blipFill>
        <p:spPr bwMode="auto">
          <a:xfrm>
            <a:off x="3481408" y="2346595"/>
            <a:ext cx="137211" cy="255518"/>
          </a:xfrm>
          <a:prstGeom prst="rect">
            <a:avLst/>
          </a:prstGeom>
          <a:noFill/>
          <a:ln w="12700" algn="ctr">
            <a:noFill/>
            <a:miter lim="800000"/>
            <a:headEnd/>
            <a:tailEnd/>
          </a:ln>
        </p:spPr>
      </p:pic>
      <p:pic>
        <p:nvPicPr>
          <p:cNvPr id="21" name="Picture 46"/>
          <p:cNvPicPr>
            <a:picLocks noChangeAspect="1" noChangeArrowheads="1"/>
          </p:cNvPicPr>
          <p:nvPr/>
        </p:nvPicPr>
        <p:blipFill>
          <a:blip r:embed="rId10"/>
          <a:srcRect/>
          <a:stretch>
            <a:fillRect/>
          </a:stretch>
        </p:blipFill>
        <p:spPr bwMode="auto">
          <a:xfrm>
            <a:off x="2339684" y="2815721"/>
            <a:ext cx="143712" cy="216277"/>
          </a:xfrm>
          <a:prstGeom prst="rect">
            <a:avLst/>
          </a:prstGeom>
          <a:noFill/>
          <a:ln w="12700" algn="ctr">
            <a:noFill/>
            <a:miter lim="800000"/>
            <a:headEnd/>
            <a:tailEnd/>
          </a:ln>
        </p:spPr>
      </p:pic>
      <p:pic>
        <p:nvPicPr>
          <p:cNvPr id="22" name="Picture 45"/>
          <p:cNvPicPr>
            <a:picLocks noChangeAspect="1" noChangeArrowheads="1"/>
          </p:cNvPicPr>
          <p:nvPr/>
        </p:nvPicPr>
        <p:blipFill>
          <a:blip r:embed="rId11"/>
          <a:srcRect/>
          <a:stretch>
            <a:fillRect/>
          </a:stretch>
        </p:blipFill>
        <p:spPr bwMode="auto">
          <a:xfrm>
            <a:off x="3085902" y="3271354"/>
            <a:ext cx="143478" cy="215927"/>
          </a:xfrm>
          <a:prstGeom prst="rect">
            <a:avLst/>
          </a:prstGeom>
          <a:noFill/>
          <a:ln w="12700" algn="ctr">
            <a:noFill/>
            <a:miter lim="800000"/>
            <a:headEnd/>
            <a:tailEnd/>
          </a:ln>
        </p:spPr>
      </p:pic>
      <p:pic>
        <p:nvPicPr>
          <p:cNvPr id="23" name="Picture 45"/>
          <p:cNvPicPr>
            <a:picLocks noChangeAspect="1" noChangeArrowheads="1"/>
          </p:cNvPicPr>
          <p:nvPr/>
        </p:nvPicPr>
        <p:blipFill>
          <a:blip r:embed="rId12"/>
          <a:srcRect/>
          <a:stretch>
            <a:fillRect/>
          </a:stretch>
        </p:blipFill>
        <p:spPr bwMode="auto">
          <a:xfrm>
            <a:off x="3086671" y="3712428"/>
            <a:ext cx="121201" cy="263541"/>
          </a:xfrm>
          <a:prstGeom prst="rect">
            <a:avLst/>
          </a:prstGeom>
          <a:noFill/>
          <a:ln w="3175">
            <a:noFill/>
            <a:miter lim="800000"/>
            <a:headEnd/>
            <a:tailEnd/>
          </a:ln>
        </p:spPr>
      </p:pic>
    </p:spTree>
    <p:extLst>
      <p:ext uri="{BB962C8B-B14F-4D97-AF65-F5344CB8AC3E}">
        <p14:creationId xmlns:p14="http://schemas.microsoft.com/office/powerpoint/2010/main" val="39788325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5. Risk and Permanent Control</a:t>
            </a:r>
            <a:endParaRPr lang="en-US" dirty="0"/>
          </a:p>
        </p:txBody>
      </p:sp>
      <p:sp>
        <p:nvSpPr>
          <p:cNvPr id="3" name="Slide Number Placeholder 2"/>
          <p:cNvSpPr>
            <a:spLocks noGrp="1"/>
          </p:cNvSpPr>
          <p:nvPr>
            <p:ph type="sldNum" sz="quarter" idx="19"/>
          </p:nvPr>
        </p:nvSpPr>
        <p:spPr/>
        <p:txBody>
          <a:bodyPr/>
          <a:lstStyle/>
          <a:p>
            <a:fld id="{98BD2159-827C-4021-9B0E-DCD852BEB59E}" type="slidenum">
              <a:rPr lang="en-GB" smtClean="0"/>
              <a:pPr/>
              <a:t>53</a:t>
            </a:fld>
            <a:endParaRPr lang="en-GB" dirty="0"/>
          </a:p>
        </p:txBody>
      </p:sp>
    </p:spTree>
    <p:extLst>
      <p:ext uri="{BB962C8B-B14F-4D97-AF65-F5344CB8AC3E}">
        <p14:creationId xmlns:p14="http://schemas.microsoft.com/office/powerpoint/2010/main" val="11371848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ous-titre 2"/>
          <p:cNvSpPr txBox="1">
            <a:spLocks/>
          </p:cNvSpPr>
          <p:nvPr/>
        </p:nvSpPr>
        <p:spPr bwMode="auto">
          <a:xfrm>
            <a:off x="378679" y="1288257"/>
            <a:ext cx="8097134" cy="34030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5756" lvl="1" indent="-266700" algn="just">
              <a:lnSpc>
                <a:spcPct val="150000"/>
              </a:lnSpc>
              <a:spcBef>
                <a:spcPct val="50000"/>
              </a:spcBef>
              <a:buClr>
                <a:schemeClr val="tx1"/>
              </a:buClr>
              <a:buSzPct val="120000"/>
              <a:buBlip>
                <a:blip r:embed="rId2"/>
              </a:buBlip>
              <a:defRPr/>
            </a:pPr>
            <a:r>
              <a:rPr lang="en-US" sz="900" dirty="0">
                <a:latin typeface="Arial" pitchFamily="34" charset="0"/>
                <a:cs typeface="Arial" charset="0"/>
              </a:rPr>
              <a:t>The Risk and Permanent Control of </a:t>
            </a:r>
            <a:r>
              <a:rPr lang="en-US" sz="900" dirty="0" err="1">
                <a:latin typeface="Arial" pitchFamily="34" charset="0"/>
                <a:cs typeface="Arial" charset="0"/>
              </a:rPr>
              <a:t>Crédit</a:t>
            </a:r>
            <a:r>
              <a:rPr lang="en-US" sz="900" dirty="0">
                <a:latin typeface="Arial" pitchFamily="34" charset="0"/>
                <a:cs typeface="Arial" charset="0"/>
              </a:rPr>
              <a:t> </a:t>
            </a:r>
            <a:r>
              <a:rPr lang="en-US" sz="900" dirty="0" err="1">
                <a:latin typeface="Arial" pitchFamily="34" charset="0"/>
                <a:cs typeface="Arial" charset="0"/>
              </a:rPr>
              <a:t>Agricole</a:t>
            </a:r>
            <a:r>
              <a:rPr lang="en-US" sz="900" dirty="0">
                <a:latin typeface="Arial" pitchFamily="34" charset="0"/>
                <a:cs typeface="Arial" charset="0"/>
              </a:rPr>
              <a:t> Consumer Finance ensures the follow up of risks in compliance with the Regulatory requirements and laws in each country</a:t>
            </a:r>
            <a:endParaRPr lang="en-US" sz="900" dirty="0"/>
          </a:p>
          <a:p>
            <a:pPr marL="335756" lvl="1" indent="-266700" algn="just">
              <a:lnSpc>
                <a:spcPct val="150000"/>
              </a:lnSpc>
              <a:spcBef>
                <a:spcPct val="50000"/>
              </a:spcBef>
              <a:buClr>
                <a:schemeClr val="tx1"/>
              </a:buClr>
              <a:buSzPct val="120000"/>
              <a:buBlip>
                <a:blip r:embed="rId2"/>
              </a:buBlip>
              <a:defRPr/>
            </a:pPr>
            <a:r>
              <a:rPr lang="en-US" sz="900" dirty="0">
                <a:latin typeface="Arial" pitchFamily="34" charset="0"/>
                <a:cs typeface="Arial" charset="0"/>
              </a:rPr>
              <a:t>The perimeter covered: internal control perimeter in the whole Group including France on all risks and permanent control functions including compliance (credit, financial, operational, accounting, information system security, business continuity plan, non-compliance, outsourced essential services)</a:t>
            </a:r>
          </a:p>
          <a:p>
            <a:pPr marL="335756" lvl="1" indent="-266700" algn="just">
              <a:lnSpc>
                <a:spcPct val="150000"/>
              </a:lnSpc>
              <a:spcBef>
                <a:spcPct val="50000"/>
              </a:spcBef>
              <a:buClr>
                <a:schemeClr val="tx1"/>
              </a:buClr>
              <a:buSzPct val="120000"/>
              <a:buBlip>
                <a:blip r:embed="rId2"/>
              </a:buBlip>
              <a:defRPr/>
            </a:pPr>
            <a:r>
              <a:rPr lang="en-US" sz="900" dirty="0">
                <a:latin typeface="Arial" pitchFamily="34" charset="0"/>
                <a:cs typeface="Arial" charset="0"/>
              </a:rPr>
              <a:t>Main missions:</a:t>
            </a:r>
            <a:endParaRPr lang="en-US" sz="900" dirty="0"/>
          </a:p>
          <a:p>
            <a:pPr marL="678656" lvl="2" indent="-266700" algn="just">
              <a:lnSpc>
                <a:spcPct val="15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COMPLIANCE with </a:t>
            </a:r>
            <a:r>
              <a:rPr lang="en-US" sz="900" dirty="0" err="1">
                <a:solidFill>
                  <a:schemeClr val="tx1"/>
                </a:solidFill>
                <a:latin typeface="Arial" pitchFamily="34" charset="0"/>
                <a:cs typeface="Arial" charset="0"/>
              </a:rPr>
              <a:t>Crédit</a:t>
            </a:r>
            <a:r>
              <a:rPr lang="en-US" sz="900" dirty="0">
                <a:solidFill>
                  <a:schemeClr val="tx1"/>
                </a:solidFill>
                <a:latin typeface="Arial" pitchFamily="34" charset="0"/>
                <a:cs typeface="Arial" charset="0"/>
              </a:rPr>
              <a:t> </a:t>
            </a:r>
            <a:r>
              <a:rPr lang="en-US" sz="900" dirty="0" err="1">
                <a:solidFill>
                  <a:schemeClr val="tx1"/>
                </a:solidFill>
                <a:latin typeface="Arial" pitchFamily="34" charset="0"/>
                <a:cs typeface="Arial" charset="0"/>
              </a:rPr>
              <a:t>Agricole</a:t>
            </a:r>
            <a:r>
              <a:rPr lang="en-US" sz="900" dirty="0">
                <a:solidFill>
                  <a:schemeClr val="tx1"/>
                </a:solidFill>
                <a:latin typeface="Arial" pitchFamily="34" charset="0"/>
                <a:cs typeface="Arial" charset="0"/>
              </a:rPr>
              <a:t> SA and CA CF norms and methods is checked of all entities in term of deontology, anti money laundering, combating terrorism financing and tax evasion (FATCA), data protection, new activities and products (such as </a:t>
            </a:r>
            <a:r>
              <a:rPr lang="en-US" sz="900" dirty="0" err="1">
                <a:solidFill>
                  <a:schemeClr val="tx1"/>
                </a:solidFill>
                <a:latin typeface="Arial" pitchFamily="34" charset="0"/>
                <a:cs typeface="Arial" charset="0"/>
              </a:rPr>
              <a:t>securitisation</a:t>
            </a:r>
            <a:r>
              <a:rPr lang="en-US" sz="900" dirty="0">
                <a:solidFill>
                  <a:schemeClr val="tx1"/>
                </a:solidFill>
                <a:latin typeface="Arial" pitchFamily="34" charset="0"/>
                <a:cs typeface="Arial" charset="0"/>
              </a:rPr>
              <a:t> programs), internal and external fraud with </a:t>
            </a:r>
            <a:r>
              <a:rPr lang="en-US" sz="900" dirty="0" err="1">
                <a:solidFill>
                  <a:schemeClr val="tx1"/>
                </a:solidFill>
                <a:latin typeface="Arial" pitchFamily="34" charset="0"/>
                <a:cs typeface="Arial" charset="0"/>
              </a:rPr>
              <a:t>Crédit</a:t>
            </a:r>
            <a:r>
              <a:rPr lang="en-US" sz="900" dirty="0">
                <a:solidFill>
                  <a:schemeClr val="tx1"/>
                </a:solidFill>
                <a:latin typeface="Arial" pitchFamily="34" charset="0"/>
                <a:cs typeface="Arial" charset="0"/>
              </a:rPr>
              <a:t> </a:t>
            </a:r>
            <a:r>
              <a:rPr lang="en-US" sz="900" dirty="0" err="1">
                <a:solidFill>
                  <a:schemeClr val="tx1"/>
                </a:solidFill>
                <a:latin typeface="Arial" pitchFamily="34" charset="0"/>
                <a:cs typeface="Arial" charset="0"/>
              </a:rPr>
              <a:t>Agricole</a:t>
            </a:r>
            <a:r>
              <a:rPr lang="en-US" sz="900" dirty="0">
                <a:solidFill>
                  <a:schemeClr val="tx1"/>
                </a:solidFill>
                <a:latin typeface="Arial" pitchFamily="34" charset="0"/>
                <a:cs typeface="Arial" charset="0"/>
              </a:rPr>
              <a:t> SA and CA CF norms and methods</a:t>
            </a:r>
            <a:endParaRPr lang="en-US" sz="900" dirty="0"/>
          </a:p>
          <a:p>
            <a:pPr marL="678656" lvl="2" indent="-266700" algn="just">
              <a:lnSpc>
                <a:spcPct val="15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PERMANENT CONTROL realizes the operational risks mapping and ensures the performance of second level of controls deployed over CA CF Group in the respect of </a:t>
            </a:r>
            <a:r>
              <a:rPr lang="en-US" sz="900" dirty="0" err="1">
                <a:solidFill>
                  <a:schemeClr val="tx1"/>
                </a:solidFill>
                <a:latin typeface="Arial" pitchFamily="34" charset="0"/>
                <a:cs typeface="Arial" charset="0"/>
              </a:rPr>
              <a:t>Crédit</a:t>
            </a:r>
            <a:r>
              <a:rPr lang="en-US" sz="900" dirty="0">
                <a:solidFill>
                  <a:schemeClr val="tx1"/>
                </a:solidFill>
                <a:latin typeface="Arial" pitchFamily="34" charset="0"/>
                <a:cs typeface="Arial" charset="0"/>
              </a:rPr>
              <a:t> </a:t>
            </a:r>
            <a:r>
              <a:rPr lang="en-US" sz="900" dirty="0" err="1">
                <a:solidFill>
                  <a:schemeClr val="tx1"/>
                </a:solidFill>
                <a:latin typeface="Arial" pitchFamily="34" charset="0"/>
                <a:cs typeface="Arial" charset="0"/>
              </a:rPr>
              <a:t>Agricole</a:t>
            </a:r>
            <a:r>
              <a:rPr lang="en-US" sz="900" dirty="0">
                <a:solidFill>
                  <a:schemeClr val="tx1"/>
                </a:solidFill>
                <a:latin typeface="Arial" pitchFamily="34" charset="0"/>
                <a:cs typeface="Arial" charset="0"/>
              </a:rPr>
              <a:t> SA norms and methods and maintains the monitoring of operational risks and accounting risks. </a:t>
            </a:r>
            <a:endParaRPr lang="en-US" sz="900" dirty="0">
              <a:solidFill>
                <a:schemeClr val="tx1"/>
              </a:solidFill>
            </a:endParaRPr>
          </a:p>
          <a:p>
            <a:pPr marL="678656" lvl="2" indent="-266700" algn="just">
              <a:lnSpc>
                <a:spcPct val="15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RISK MANAGEMENT mitigates and validates the measure and models of all risks including financial risks as well as credit risks, formulates independent risk opinions, formalizes risk reports, realizes stress tests, contributes to the strategy risk and risk appetite framework definition and coordinates risks projects under supervision of </a:t>
            </a:r>
            <a:r>
              <a:rPr lang="en-US" sz="900" dirty="0" err="1">
                <a:solidFill>
                  <a:schemeClr val="tx1"/>
                </a:solidFill>
                <a:latin typeface="Arial" pitchFamily="34" charset="0"/>
                <a:cs typeface="Arial" charset="0"/>
              </a:rPr>
              <a:t>Crédit</a:t>
            </a:r>
            <a:r>
              <a:rPr lang="en-US" sz="900" dirty="0">
                <a:solidFill>
                  <a:schemeClr val="tx1"/>
                </a:solidFill>
                <a:latin typeface="Arial" pitchFamily="34" charset="0"/>
                <a:cs typeface="Arial" charset="0"/>
              </a:rPr>
              <a:t> </a:t>
            </a:r>
            <a:r>
              <a:rPr lang="en-US" sz="900" dirty="0" err="1">
                <a:solidFill>
                  <a:schemeClr val="tx1"/>
                </a:solidFill>
                <a:latin typeface="Arial" pitchFamily="34" charset="0"/>
                <a:cs typeface="Arial" charset="0"/>
              </a:rPr>
              <a:t>Agricole</a:t>
            </a:r>
            <a:r>
              <a:rPr lang="en-US" sz="900" dirty="0">
                <a:solidFill>
                  <a:schemeClr val="tx1"/>
                </a:solidFill>
                <a:latin typeface="Arial" pitchFamily="34" charset="0"/>
                <a:cs typeface="Arial" charset="0"/>
              </a:rPr>
              <a:t> SA Group</a:t>
            </a:r>
          </a:p>
          <a:p>
            <a:pPr marL="685800" lvl="1" indent="-342900" algn="just">
              <a:buFont typeface="Wingdings" pitchFamily="2" charset="2"/>
              <a:buChar char="Ø"/>
            </a:pPr>
            <a:endParaRPr lang="en-US" sz="900" dirty="0"/>
          </a:p>
        </p:txBody>
      </p:sp>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fr-FR" dirty="0">
                <a:solidFill>
                  <a:prstClr val="black"/>
                </a:solidFill>
              </a:rPr>
              <a:t>Missions</a:t>
            </a:r>
            <a:endParaRPr lang="en-US" dirty="0">
              <a:solidFill>
                <a:prstClr val="black"/>
              </a:solidFill>
            </a:endParaRPr>
          </a:p>
        </p:txBody>
      </p:sp>
      <p:sp>
        <p:nvSpPr>
          <p:cNvPr id="2" name="Rectangle 1"/>
          <p:cNvSpPr/>
          <p:nvPr/>
        </p:nvSpPr>
        <p:spPr>
          <a:xfrm>
            <a:off x="8715939" y="4830596"/>
            <a:ext cx="312906" cy="230832"/>
          </a:xfrm>
          <a:prstGeom prst="rect">
            <a:avLst/>
          </a:prstGeom>
        </p:spPr>
        <p:txBody>
          <a:bodyPr wrap="none">
            <a:spAutoFit/>
          </a:bodyPr>
          <a:lstStyle/>
          <a:p>
            <a:r>
              <a:rPr lang="en-GB" sz="900" b="1" dirty="0">
                <a:solidFill>
                  <a:schemeClr val="bg1"/>
                </a:solidFill>
              </a:rPr>
              <a:t>43</a:t>
            </a:r>
          </a:p>
        </p:txBody>
      </p:sp>
    </p:spTree>
    <p:extLst>
      <p:ext uri="{BB962C8B-B14F-4D97-AF65-F5344CB8AC3E}">
        <p14:creationId xmlns:p14="http://schemas.microsoft.com/office/powerpoint/2010/main" val="22851193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294967295"/>
          </p:nvPr>
        </p:nvSpPr>
        <p:spPr bwMode="gray"/>
        <p:txBody>
          <a:bodyPr/>
          <a:lstStyle/>
          <a:p>
            <a:fld id="{98BD2159-827C-4021-9B0E-DCD852BEB59E}" type="slidenum">
              <a:rPr lang="en-GB"/>
              <a:pPr/>
              <a:t>55</a:t>
            </a:fld>
            <a:endParaRPr lang="en-GB" dirty="0"/>
          </a:p>
          <a:p>
            <a:endParaRPr lang="fr-FR" dirty="0"/>
          </a:p>
        </p:txBody>
      </p:sp>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fr-FR" dirty="0">
                <a:solidFill>
                  <a:prstClr val="black"/>
                </a:solidFill>
              </a:rPr>
              <a:t>Organisation</a:t>
            </a:r>
            <a:endParaRPr lang="en-US" dirty="0">
              <a:solidFill>
                <a:prstClr val="black"/>
              </a:solidFill>
            </a:endParaRPr>
          </a:p>
        </p:txBody>
      </p:sp>
      <p:sp>
        <p:nvSpPr>
          <p:cNvPr id="6" name="Sous-titre 2"/>
          <p:cNvSpPr txBox="1">
            <a:spLocks/>
          </p:cNvSpPr>
          <p:nvPr/>
        </p:nvSpPr>
        <p:spPr bwMode="gray">
          <a:xfrm>
            <a:off x="476125" y="1149584"/>
            <a:ext cx="7993062" cy="4319587"/>
          </a:xfrm>
          <a:prstGeom prst="rect">
            <a:avLst/>
          </a:prstGeom>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just">
              <a:buFont typeface="Wingdings" pitchFamily="2" charset="2"/>
              <a:buChar char="ü"/>
              <a:defRPr/>
            </a:pPr>
            <a:endParaRPr lang="en-US" sz="1000" dirty="0"/>
          </a:p>
          <a:p>
            <a:pPr marL="447675" lvl="1" indent="-355600" algn="just">
              <a:lnSpc>
                <a:spcPct val="150000"/>
              </a:lnSpc>
              <a:spcBef>
                <a:spcPct val="50000"/>
              </a:spcBef>
              <a:buClr>
                <a:schemeClr val="tx1"/>
              </a:buClr>
              <a:buSzPct val="120000"/>
              <a:buBlip>
                <a:blip r:embed="rId2"/>
              </a:buBlip>
              <a:defRPr/>
            </a:pPr>
            <a:r>
              <a:rPr lang="en-US" sz="1000" dirty="0">
                <a:latin typeface="Arial" pitchFamily="34" charset="0"/>
                <a:cs typeface="Arial" charset="0"/>
              </a:rPr>
              <a:t>RCP reports to Credit </a:t>
            </a:r>
            <a:r>
              <a:rPr lang="en-US" sz="1000" dirty="0" err="1">
                <a:latin typeface="Arial" pitchFamily="34" charset="0"/>
                <a:cs typeface="Arial" charset="0"/>
              </a:rPr>
              <a:t>Agricole</a:t>
            </a:r>
            <a:r>
              <a:rPr lang="en-US" sz="1000" dirty="0">
                <a:latin typeface="Arial" pitchFamily="34" charset="0"/>
                <a:cs typeface="Arial" charset="0"/>
              </a:rPr>
              <a:t> SA Group level and to the Regulator the situation of risks and Permanent Control monitoring</a:t>
            </a:r>
            <a:endParaRPr lang="en-US" sz="1000" b="0" dirty="0">
              <a:solidFill>
                <a:schemeClr val="tx1"/>
              </a:solidFill>
            </a:endParaRPr>
          </a:p>
          <a:p>
            <a:pPr marL="447675" lvl="1" indent="-355600" algn="just">
              <a:lnSpc>
                <a:spcPct val="150000"/>
              </a:lnSpc>
              <a:spcBef>
                <a:spcPct val="50000"/>
              </a:spcBef>
              <a:buClr>
                <a:schemeClr val="tx1"/>
              </a:buClr>
              <a:buSzPct val="120000"/>
              <a:buBlip>
                <a:blip r:embed="rId2"/>
              </a:buBlip>
              <a:defRPr/>
            </a:pPr>
            <a:r>
              <a:rPr lang="en-US" sz="1000" dirty="0">
                <a:latin typeface="Arial" pitchFamily="34" charset="0"/>
                <a:cs typeface="Arial" charset="0"/>
              </a:rPr>
              <a:t>Risk and Permanent Control participates to several Committees in CA CF such as:</a:t>
            </a:r>
            <a:endParaRPr lang="en-US" sz="1000" dirty="0"/>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Corporate level Committees (Group Executive Committee, Group Risk Committee, Group Credit Committee and Internal Control Committee)</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Thematic Committees (Group ALM Committee, Group Large exposure Credit Committee, IFRS9 Coordination Committee, Group Provisioning Committee) or other Business Lines operational Committees</a:t>
            </a:r>
            <a:endParaRPr lang="en-US" sz="1000" dirty="0"/>
          </a:p>
          <a:p>
            <a:pPr marL="447675" lvl="1" indent="-355600" algn="just">
              <a:lnSpc>
                <a:spcPct val="150000"/>
              </a:lnSpc>
              <a:spcBef>
                <a:spcPct val="50000"/>
              </a:spcBef>
              <a:buClr>
                <a:schemeClr val="tx1"/>
              </a:buClr>
              <a:buSzPct val="120000"/>
              <a:buBlip>
                <a:blip r:embed="rId2"/>
              </a:buBlip>
              <a:defRPr/>
            </a:pPr>
            <a:r>
              <a:rPr lang="en-US" sz="1000" dirty="0">
                <a:latin typeface="Arial" pitchFamily="34" charset="0"/>
                <a:cs typeface="Arial" charset="0"/>
              </a:rPr>
              <a:t>And issues opinions when necessary in order helping the decision making process</a:t>
            </a:r>
          </a:p>
          <a:p>
            <a:pPr marL="447675" lvl="1" indent="-355600" algn="just">
              <a:lnSpc>
                <a:spcPct val="150000"/>
              </a:lnSpc>
              <a:spcBef>
                <a:spcPct val="50000"/>
              </a:spcBef>
              <a:buClr>
                <a:schemeClr val="tx1"/>
              </a:buClr>
              <a:buSzPct val="120000"/>
              <a:buBlip>
                <a:blip r:embed="rId2"/>
              </a:buBlip>
              <a:defRPr/>
            </a:pPr>
            <a:r>
              <a:rPr lang="en-US" sz="1000" dirty="0">
                <a:latin typeface="Arial" pitchFamily="34" charset="0"/>
                <a:cs typeface="Arial" charset="0"/>
              </a:rPr>
              <a:t>Risk and Permanent Control monitors entities local risk and Permanent Control  through Committees, Conference calls and missions </a:t>
            </a:r>
          </a:p>
        </p:txBody>
      </p:sp>
    </p:spTree>
    <p:extLst>
      <p:ext uri="{BB962C8B-B14F-4D97-AF65-F5344CB8AC3E}">
        <p14:creationId xmlns:p14="http://schemas.microsoft.com/office/powerpoint/2010/main" val="27356676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294967295"/>
          </p:nvPr>
        </p:nvSpPr>
        <p:spPr bwMode="gray"/>
        <p:txBody>
          <a:bodyPr/>
          <a:lstStyle/>
          <a:p>
            <a:fld id="{98BD2159-827C-4021-9B0E-DCD852BEB59E}" type="slidenum">
              <a:rPr lang="en-GB"/>
              <a:pPr/>
              <a:t>56</a:t>
            </a:fld>
            <a:endParaRPr lang="en-GB" dirty="0"/>
          </a:p>
          <a:p>
            <a:endParaRPr lang="fr-FR" dirty="0"/>
          </a:p>
        </p:txBody>
      </p:sp>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fr-FR" dirty="0">
                <a:solidFill>
                  <a:prstClr val="black"/>
                </a:solidFill>
              </a:rPr>
              <a:t>Functioning</a:t>
            </a:r>
            <a:endParaRPr lang="en-US" dirty="0">
              <a:solidFill>
                <a:prstClr val="black"/>
              </a:solidFill>
            </a:endParaRPr>
          </a:p>
        </p:txBody>
      </p:sp>
      <p:sp>
        <p:nvSpPr>
          <p:cNvPr id="7" name="Sous-titre 2"/>
          <p:cNvSpPr txBox="1">
            <a:spLocks/>
          </p:cNvSpPr>
          <p:nvPr/>
        </p:nvSpPr>
        <p:spPr bwMode="gray">
          <a:xfrm>
            <a:off x="614703" y="921754"/>
            <a:ext cx="7993062" cy="3771274"/>
          </a:xfrm>
          <a:prstGeom prst="rect">
            <a:avLst/>
          </a:prstGeom>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7675" lvl="1" indent="-355600" algn="just">
              <a:lnSpc>
                <a:spcPct val="150000"/>
              </a:lnSpc>
              <a:spcBef>
                <a:spcPct val="50000"/>
              </a:spcBef>
              <a:buClr>
                <a:schemeClr val="tx1"/>
              </a:buClr>
              <a:buSzPct val="120000"/>
              <a:buBlip>
                <a:blip r:embed="rId2"/>
              </a:buBlip>
              <a:defRPr/>
            </a:pPr>
            <a:r>
              <a:rPr lang="en-US" sz="1000" dirty="0">
                <a:latin typeface="Arial" pitchFamily="34" charset="0"/>
                <a:cs typeface="Arial" charset="0"/>
              </a:rPr>
              <a:t>Independence</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The Head of Risk and Permanent Control Manager hierarchically depends on Group Risk Division of </a:t>
            </a:r>
            <a:r>
              <a:rPr lang="en-US" sz="1000" dirty="0" err="1">
                <a:solidFill>
                  <a:schemeClr val="tx1"/>
                </a:solidFill>
                <a:latin typeface="Arial" pitchFamily="34" charset="0"/>
                <a:cs typeface="Arial" charset="0"/>
              </a:rPr>
              <a:t>Crédit</a:t>
            </a:r>
            <a:r>
              <a:rPr lang="en-US" sz="1000" dirty="0">
                <a:solidFill>
                  <a:schemeClr val="tx1"/>
                </a:solidFill>
                <a:latin typeface="Arial" pitchFamily="34" charset="0"/>
                <a:cs typeface="Arial" charset="0"/>
              </a:rPr>
              <a:t> </a:t>
            </a:r>
            <a:r>
              <a:rPr lang="en-US" sz="1000" dirty="0" err="1">
                <a:solidFill>
                  <a:schemeClr val="tx1"/>
                </a:solidFill>
                <a:latin typeface="Arial" pitchFamily="34" charset="0"/>
                <a:cs typeface="Arial" charset="0"/>
              </a:rPr>
              <a:t>Agricole</a:t>
            </a:r>
            <a:r>
              <a:rPr lang="en-US" sz="1000" dirty="0">
                <a:solidFill>
                  <a:schemeClr val="tx1"/>
                </a:solidFill>
                <a:latin typeface="Arial" pitchFamily="34" charset="0"/>
                <a:cs typeface="Arial" charset="0"/>
              </a:rPr>
              <a:t> SA and functionally on CA CF CEO</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A similar structure exists in all entities of CA CF Group </a:t>
            </a:r>
            <a:endParaRPr lang="en-US" sz="1000" b="0" dirty="0">
              <a:solidFill>
                <a:schemeClr val="tx1"/>
              </a:solidFill>
            </a:endParaRPr>
          </a:p>
          <a:p>
            <a:pPr marL="447675" lvl="1" indent="-355600" algn="just">
              <a:lnSpc>
                <a:spcPct val="150000"/>
              </a:lnSpc>
              <a:spcBef>
                <a:spcPct val="50000"/>
              </a:spcBef>
              <a:buClr>
                <a:schemeClr val="tx1"/>
              </a:buClr>
              <a:buSzPct val="120000"/>
              <a:buBlip>
                <a:blip r:embed="rId2"/>
              </a:buBlip>
              <a:defRPr/>
            </a:pPr>
            <a:r>
              <a:rPr lang="en-US" sz="1000" dirty="0">
                <a:latin typeface="Arial" pitchFamily="34" charset="0"/>
                <a:cs typeface="Arial" charset="0"/>
              </a:rPr>
              <a:t>Supervision of Risk and Permanent Control</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Annual Risk strategy and Risk Appetite Framework </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Annual Risk mapping defined for CA CF Group</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Annual Permanent Control Plan</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Semi-annual qualitative ICAAP coordination and quantitative ICAAP calculation</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Monthly Follow up of limits, alerts and stress tests</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Regular reports and action plans set up in order monitoring risks and permanent control</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Participation or organization of Committees according to the defined governance</a:t>
            </a:r>
          </a:p>
          <a:p>
            <a:pPr marL="904875" lvl="2" indent="-355600" algn="just">
              <a:lnSpc>
                <a:spcPct val="150000"/>
              </a:lnSpc>
              <a:spcBef>
                <a:spcPct val="50000"/>
              </a:spcBef>
              <a:buClr>
                <a:schemeClr val="tx1"/>
              </a:buClr>
              <a:buSzPct val="120000"/>
              <a:buBlip>
                <a:blip r:embed="rId2"/>
              </a:buBlip>
              <a:defRPr/>
            </a:pPr>
            <a:r>
              <a:rPr lang="en-US" sz="1000" dirty="0">
                <a:solidFill>
                  <a:schemeClr val="tx1"/>
                </a:solidFill>
                <a:latin typeface="Arial" pitchFamily="34" charset="0"/>
                <a:cs typeface="Arial" charset="0"/>
              </a:rPr>
              <a:t>Contribution to the Audit missions relating to the scope of Risk and Permanent Control</a:t>
            </a:r>
          </a:p>
        </p:txBody>
      </p:sp>
    </p:spTree>
    <p:extLst>
      <p:ext uri="{BB962C8B-B14F-4D97-AF65-F5344CB8AC3E}">
        <p14:creationId xmlns:p14="http://schemas.microsoft.com/office/powerpoint/2010/main" val="27166712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294967295"/>
          </p:nvPr>
        </p:nvSpPr>
        <p:spPr bwMode="gray"/>
        <p:txBody>
          <a:bodyPr/>
          <a:lstStyle/>
          <a:p>
            <a:fld id="{98BD2159-827C-4021-9B0E-DCD852BEB59E}" type="slidenum">
              <a:rPr lang="en-GB"/>
              <a:pPr/>
              <a:t>57</a:t>
            </a:fld>
            <a:endParaRPr lang="en-GB" dirty="0"/>
          </a:p>
          <a:p>
            <a:endParaRPr lang="fr-FR" dirty="0"/>
          </a:p>
        </p:txBody>
      </p:sp>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fr-FR" dirty="0">
                <a:solidFill>
                  <a:prstClr val="black"/>
                </a:solidFill>
              </a:rPr>
              <a:t>Focus on securitization </a:t>
            </a:r>
            <a:r>
              <a:rPr lang="fr-FR" dirty="0" err="1">
                <a:solidFill>
                  <a:prstClr val="black"/>
                </a:solidFill>
              </a:rPr>
              <a:t>risk</a:t>
            </a:r>
            <a:r>
              <a:rPr lang="fr-FR" dirty="0">
                <a:solidFill>
                  <a:prstClr val="black"/>
                </a:solidFill>
              </a:rPr>
              <a:t> &amp; control monitoring (1/2)</a:t>
            </a:r>
            <a:endParaRPr lang="en-US" dirty="0">
              <a:solidFill>
                <a:prstClr val="black"/>
              </a:solidFill>
            </a:endParaRPr>
          </a:p>
        </p:txBody>
      </p:sp>
      <p:sp>
        <p:nvSpPr>
          <p:cNvPr id="9" name="Sous-titre 2"/>
          <p:cNvSpPr txBox="1">
            <a:spLocks/>
          </p:cNvSpPr>
          <p:nvPr/>
        </p:nvSpPr>
        <p:spPr bwMode="auto">
          <a:xfrm>
            <a:off x="488247" y="982508"/>
            <a:ext cx="7643873" cy="416099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7675" marR="0" lvl="1" indent="-355600" algn="just" defTabSz="914400" rtl="0" eaLnBrk="1" fontAlgn="auto" latinLnBrk="0" hangingPunct="1">
              <a:lnSpc>
                <a:spcPct val="150000"/>
              </a:lnSpc>
              <a:spcBef>
                <a:spcPct val="50000"/>
              </a:spcBef>
              <a:spcAft>
                <a:spcPts val="0"/>
              </a:spcAft>
              <a:buClr>
                <a:prstClr val="black"/>
              </a:buClr>
              <a:buSzPct val="120000"/>
              <a:buFont typeface="Wingdings" pitchFamily="2" charset="2"/>
              <a:buBlip>
                <a:blip r:embed="rId2"/>
              </a:buBlip>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A general note defines the supervision of securitization in CA CF Group GPS 316</a:t>
            </a:r>
          </a:p>
          <a:p>
            <a:pPr marL="447675" marR="0" lvl="1" indent="-355600" algn="just" defTabSz="914400" rtl="0" eaLnBrk="1" fontAlgn="auto" latinLnBrk="0" hangingPunct="1">
              <a:lnSpc>
                <a:spcPct val="150000"/>
              </a:lnSpc>
              <a:spcBef>
                <a:spcPct val="50000"/>
              </a:spcBef>
              <a:spcAft>
                <a:spcPts val="0"/>
              </a:spcAft>
              <a:buClr>
                <a:prstClr val="black"/>
              </a:buClr>
              <a:buSzPct val="120000"/>
              <a:buFont typeface="Wingdings" pitchFamily="2" charset="2"/>
              <a:buBlip>
                <a:blip r:embed="rId2"/>
              </a:buBlip>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A specific procedure describes into details the entire process of securitization in France</a:t>
            </a:r>
          </a:p>
          <a:p>
            <a:pPr marL="904875" marR="0" lvl="2" indent="-355600" algn="just" defTabSz="914400" rtl="0" eaLnBrk="1" fontAlgn="auto" latinLnBrk="0" hangingPunct="1">
              <a:lnSpc>
                <a:spcPct val="150000"/>
              </a:lnSpc>
              <a:spcBef>
                <a:spcPct val="50000"/>
              </a:spcBef>
              <a:spcAft>
                <a:spcPts val="0"/>
              </a:spcAft>
              <a:buClr>
                <a:prstClr val="black"/>
              </a:buClr>
              <a:buSzPct val="120000"/>
              <a:buFont typeface="Wingdings" pitchFamily="2" charset="2"/>
              <a:buBlip>
                <a:blip r:embed="rId2"/>
              </a:buBlip>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COMPLIANCE</a:t>
            </a:r>
          </a:p>
          <a:p>
            <a:pPr marL="549275" marR="0" lvl="2" indent="0" algn="just" defTabSz="914400" rtl="0" eaLnBrk="1" fontAlgn="auto" latinLnBrk="0" hangingPunct="1">
              <a:lnSpc>
                <a:spcPct val="100000"/>
              </a:lnSpc>
              <a:spcBef>
                <a:spcPct val="50000"/>
              </a:spcBef>
              <a:spcAft>
                <a:spcPts val="0"/>
              </a:spcAft>
              <a:buClr>
                <a:prstClr val="black"/>
              </a:buClr>
              <a:buSzPct val="120000"/>
              <a:buFont typeface="Wingdings" pitchFamily="2" charset="2"/>
              <a:buNone/>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Securitization process is eligible to the NAP (New activities and products) because it concerns customer products (receivables). Before our Executive Committee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gives the “</a:t>
            </a:r>
            <a:r>
              <a:rPr kumimoji="0" lang="en-US" sz="900" b="0" i="0" u="none" strike="noStrike" kern="1200" cap="none" spc="0" normalizeH="0" baseline="0" noProof="0" dirty="0">
                <a:ln>
                  <a:noFill/>
                </a:ln>
                <a:solidFill>
                  <a:prstClr val="black"/>
                </a:solidFill>
                <a:effectLst/>
                <a:uLnTx/>
                <a:uFillTx/>
                <a:latin typeface="Arial"/>
                <a:cs typeface="Arial" charset="0"/>
              </a:rPr>
              <a:t>Go live” to a new securitization program, a specific NAP Committee held by Compliance studies all risks and issues a general opinion on the new program according to a strict format (internal procedure).</a:t>
            </a:r>
          </a:p>
          <a:p>
            <a:pPr marL="549275" marR="0" lvl="2" indent="0" algn="just" defTabSz="914400" rtl="0" eaLnBrk="1" fontAlgn="auto" latinLnBrk="0" hangingPunct="1">
              <a:lnSpc>
                <a:spcPct val="100000"/>
              </a:lnSpc>
              <a:spcBef>
                <a:spcPct val="50000"/>
              </a:spcBef>
              <a:spcAft>
                <a:spcPts val="0"/>
              </a:spcAft>
              <a:buClr>
                <a:prstClr val="black"/>
              </a:buClr>
              <a:buSzPct val="120000"/>
              <a:buFont typeface="Wingdings" pitchFamily="2" charset="2"/>
              <a:buNone/>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Example of subjects studied: project organization, selection and quality of outstanding, results of audits or tests before the launch, operational risks, risk opinion, control plan, KYC, legal opinion and other risks </a:t>
            </a:r>
          </a:p>
          <a:p>
            <a:pPr marL="904875" marR="0" lvl="2" indent="-355600" algn="just" defTabSz="914400" rtl="0" eaLnBrk="1" fontAlgn="auto" latinLnBrk="0" hangingPunct="1">
              <a:lnSpc>
                <a:spcPct val="150000"/>
              </a:lnSpc>
              <a:spcBef>
                <a:spcPct val="50000"/>
              </a:spcBef>
              <a:spcAft>
                <a:spcPts val="0"/>
              </a:spcAft>
              <a:buClr>
                <a:prstClr val="black"/>
              </a:buClr>
              <a:buSzPct val="120000"/>
              <a:buFont typeface="Wingdings" pitchFamily="2" charset="2"/>
              <a:buBlip>
                <a:blip r:embed="rId2"/>
              </a:buBlip>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PERMANENT CONTROL</a:t>
            </a:r>
          </a:p>
          <a:p>
            <a:pPr marL="549275" marR="0" lvl="2" indent="0" algn="just" defTabSz="914400" rtl="0" eaLnBrk="1" fontAlgn="auto" latinLnBrk="0" hangingPunct="1">
              <a:lnSpc>
                <a:spcPct val="100000"/>
              </a:lnSpc>
              <a:spcBef>
                <a:spcPct val="50000"/>
              </a:spcBef>
              <a:spcAft>
                <a:spcPts val="0"/>
              </a:spcAft>
              <a:buClr>
                <a:prstClr val="black"/>
              </a:buClr>
              <a:buSzPct val="120000"/>
              <a:buFont typeface="Wingdings" pitchFamily="2" charset="2"/>
              <a:buNone/>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	A risk mapping of securitization process is revised once a year in order identifying the main risks.</a:t>
            </a:r>
          </a:p>
          <a:p>
            <a:pPr marL="549275" marR="0" lvl="2" indent="0" algn="just" defTabSz="914400" rtl="0" eaLnBrk="1" fontAlgn="auto" latinLnBrk="0" hangingPunct="1">
              <a:lnSpc>
                <a:spcPct val="100000"/>
              </a:lnSpc>
              <a:spcBef>
                <a:spcPct val="50000"/>
              </a:spcBef>
              <a:spcAft>
                <a:spcPts val="0"/>
              </a:spcAft>
              <a:buClr>
                <a:prstClr val="black"/>
              </a:buClr>
              <a:buSzPct val="120000"/>
              <a:buFont typeface="Wingdings" pitchFamily="2" charset="2"/>
              <a:buNone/>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	The organization around this process has been reinforced  in France </a:t>
            </a:r>
          </a:p>
          <a:p>
            <a:pPr marL="549275" marR="0" lvl="2" indent="0" algn="just" defTabSz="914400" rtl="0" eaLnBrk="1" fontAlgn="auto" latinLnBrk="0" hangingPunct="1">
              <a:lnSpc>
                <a:spcPct val="100000"/>
              </a:lnSpc>
              <a:spcBef>
                <a:spcPct val="50000"/>
              </a:spcBef>
              <a:spcAft>
                <a:spcPts val="0"/>
              </a:spcAft>
              <a:buClr>
                <a:prstClr val="black"/>
              </a:buClr>
              <a:buSzPct val="120000"/>
              <a:buFont typeface="Wingdings" pitchFamily="2" charset="2"/>
              <a:buNone/>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	A specific control plan has also been defined:</a:t>
            </a:r>
          </a:p>
          <a:p>
            <a:pPr marL="1743675" marR="0" lvl="4" indent="-355600" algn="just" defTabSz="914400" rtl="0" eaLnBrk="1" fontAlgn="auto" latinLnBrk="0" hangingPunct="1">
              <a:lnSpc>
                <a:spcPct val="100000"/>
              </a:lnSpc>
              <a:spcBef>
                <a:spcPct val="50000"/>
              </a:spcBef>
              <a:spcAft>
                <a:spcPts val="0"/>
              </a:spcAft>
              <a:buClr>
                <a:prstClr val="black"/>
              </a:buClr>
              <a:buSzPct val="120000"/>
              <a:buFont typeface="Wingdings" pitchFamily="2" charset="2"/>
              <a:buBlip>
                <a:blip r:embed="rId2"/>
              </a:buBlip>
              <a:tabLst/>
              <a:defRPr/>
            </a:pPr>
            <a:r>
              <a:rPr kumimoji="0" lang="en-US" sz="900" b="0" i="0" u="none" strike="noStrike" kern="1200" cap="none" spc="0" normalizeH="0" baseline="0" noProof="0" dirty="0">
                <a:ln>
                  <a:noFill/>
                </a:ln>
                <a:solidFill>
                  <a:prstClr val="black"/>
                </a:solidFill>
                <a:effectLst/>
                <a:uLnTx/>
                <a:uFillTx/>
                <a:latin typeface="Arial"/>
                <a:cs typeface="Arial" charset="0"/>
              </a:rPr>
              <a:t>Degree 1 level: control </a:t>
            </a:r>
            <a:r>
              <a:rPr kumimoji="0" lang="en-US" sz="900" b="0" i="0" u="none" strike="noStrike" kern="1200" cap="none" spc="0" normalizeH="0" baseline="0" noProof="0" dirty="0">
                <a:ln>
                  <a:noFill/>
                </a:ln>
                <a:solidFill>
                  <a:prstClr val="black"/>
                </a:solidFill>
                <a:effectLst/>
                <a:uLnTx/>
                <a:uFillTx/>
                <a:latin typeface="Arial"/>
              </a:rPr>
              <a:t>of Management Report from the FCT, regular follow up of dysfunctions through a report in order correcting them as soon as possible and before the official publication, reconciliation of flows. Action plans with IT Department will allow more accurate statements for the reconciliation. In case of Clean Up, specific controls have been put in place</a:t>
            </a:r>
          </a:p>
          <a:p>
            <a:pPr marL="1743675" marR="0" lvl="4" indent="-355600" algn="just" defTabSz="914400" rtl="0" eaLnBrk="1" fontAlgn="auto" latinLnBrk="0" hangingPunct="1">
              <a:lnSpc>
                <a:spcPct val="100000"/>
              </a:lnSpc>
              <a:spcBef>
                <a:spcPct val="50000"/>
              </a:spcBef>
              <a:spcAft>
                <a:spcPts val="0"/>
              </a:spcAft>
              <a:buClr>
                <a:prstClr val="black"/>
              </a:buClr>
              <a:buSzPct val="120000"/>
              <a:buFont typeface="Wingdings" pitchFamily="2" charset="2"/>
              <a:buBlip>
                <a:blip r:embed="rId2"/>
              </a:buBlip>
              <a:tabLst/>
              <a:defRPr/>
            </a:pPr>
            <a:r>
              <a:rPr kumimoji="0" lang="en-US" sz="900" b="0" i="0" u="none" strike="noStrike" kern="1200" cap="none" spc="0" normalizeH="0" baseline="0" noProof="0" dirty="0">
                <a:ln>
                  <a:noFill/>
                </a:ln>
                <a:solidFill>
                  <a:prstClr val="black"/>
                </a:solidFill>
                <a:effectLst/>
                <a:uLnTx/>
                <a:uFillTx/>
                <a:latin typeface="Arial"/>
              </a:rPr>
              <a:t>Degree 2.1 and 2.2: a second degree of controls has been defined in order making reliable the accounts, following the triggers, checking that no dysfunction occur</a:t>
            </a:r>
          </a:p>
          <a:p>
            <a:pPr marL="1743675" marR="0" lvl="4" indent="-355600" algn="just" defTabSz="914400" rtl="0" eaLnBrk="1" fontAlgn="auto" latinLnBrk="0" hangingPunct="1">
              <a:lnSpc>
                <a:spcPct val="100000"/>
              </a:lnSpc>
              <a:spcBef>
                <a:spcPct val="50000"/>
              </a:spcBef>
              <a:spcAft>
                <a:spcPts val="0"/>
              </a:spcAft>
              <a:buClr>
                <a:prstClr val="black"/>
              </a:buClr>
              <a:buSzPct val="120000"/>
              <a:buFont typeface="Wingdings" pitchFamily="2" charset="2"/>
              <a:buBlip>
                <a:blip r:embed="rId2"/>
              </a:buBlip>
              <a:tabLst/>
              <a:defRPr/>
            </a:pPr>
            <a:r>
              <a:rPr kumimoji="0" lang="en-US" sz="900" b="0" i="0" u="none" strike="noStrike" kern="1200" cap="none" spc="0" normalizeH="0" baseline="0" noProof="0" dirty="0">
                <a:ln>
                  <a:noFill/>
                </a:ln>
                <a:solidFill>
                  <a:prstClr val="black"/>
                </a:solidFill>
                <a:effectLst/>
                <a:uLnTx/>
                <a:uFillTx/>
                <a:latin typeface="Arial"/>
              </a:rPr>
              <a:t>Permanent Control produces monthly reports on those controls and on action plans needed  and checks that the process of securitization follows the internal rules</a:t>
            </a:r>
            <a:endParaRPr kumimoji="0" lang="en-US" sz="900" b="0" i="0" u="none" strike="noStrike" kern="1200" cap="none" spc="0" normalizeH="0" baseline="0" noProof="0" dirty="0">
              <a:ln>
                <a:noFill/>
              </a:ln>
              <a:solidFill>
                <a:prstClr val="black"/>
              </a:solidFill>
              <a:effectLst/>
              <a:uLnTx/>
              <a:uFillTx/>
              <a:latin typeface="Arial"/>
              <a:cs typeface="Arial" charset="0"/>
            </a:endParaRPr>
          </a:p>
        </p:txBody>
      </p:sp>
    </p:spTree>
    <p:extLst>
      <p:ext uri="{BB962C8B-B14F-4D97-AF65-F5344CB8AC3E}">
        <p14:creationId xmlns:p14="http://schemas.microsoft.com/office/powerpoint/2010/main" val="37295847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294967295"/>
          </p:nvPr>
        </p:nvSpPr>
        <p:spPr bwMode="gray"/>
        <p:txBody>
          <a:bodyPr/>
          <a:lstStyle/>
          <a:p>
            <a:fld id="{98BD2159-827C-4021-9B0E-DCD852BEB59E}" type="slidenum">
              <a:rPr lang="en-GB"/>
              <a:pPr/>
              <a:t>58</a:t>
            </a:fld>
            <a:endParaRPr lang="en-GB" dirty="0"/>
          </a:p>
          <a:p>
            <a:endParaRPr lang="fr-FR" dirty="0"/>
          </a:p>
        </p:txBody>
      </p:sp>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fr-FR" dirty="0">
                <a:solidFill>
                  <a:prstClr val="black"/>
                </a:solidFill>
              </a:rPr>
              <a:t>Focus on securitization </a:t>
            </a:r>
            <a:r>
              <a:rPr lang="fr-FR" dirty="0" err="1">
                <a:solidFill>
                  <a:prstClr val="black"/>
                </a:solidFill>
              </a:rPr>
              <a:t>risk</a:t>
            </a:r>
            <a:r>
              <a:rPr lang="fr-FR" dirty="0">
                <a:solidFill>
                  <a:prstClr val="black"/>
                </a:solidFill>
              </a:rPr>
              <a:t> &amp; control monitoring (2/2)</a:t>
            </a:r>
            <a:endParaRPr lang="en-US" dirty="0">
              <a:solidFill>
                <a:prstClr val="black"/>
              </a:solidFill>
            </a:endParaRPr>
          </a:p>
        </p:txBody>
      </p:sp>
      <p:sp>
        <p:nvSpPr>
          <p:cNvPr id="7" name="Sous-titre 2"/>
          <p:cNvSpPr txBox="1">
            <a:spLocks/>
          </p:cNvSpPr>
          <p:nvPr/>
        </p:nvSpPr>
        <p:spPr bwMode="auto">
          <a:xfrm>
            <a:off x="182673" y="1409748"/>
            <a:ext cx="8273262" cy="482453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7675" lvl="1" indent="-355600" algn="just">
              <a:lnSpc>
                <a:spcPct val="150000"/>
              </a:lnSpc>
              <a:spcBef>
                <a:spcPct val="50000"/>
              </a:spcBef>
              <a:buClr>
                <a:schemeClr val="tx1"/>
              </a:buClr>
              <a:buSzPct val="120000"/>
              <a:buBlip>
                <a:blip r:embed="rId2"/>
              </a:buBlip>
              <a:defRPr/>
            </a:pPr>
            <a:r>
              <a:rPr lang="en-US" sz="900" dirty="0">
                <a:latin typeface="Arial" pitchFamily="34" charset="0"/>
                <a:cs typeface="Arial" charset="0"/>
              </a:rPr>
              <a:t>RISK MANAGEMENT</a:t>
            </a:r>
            <a:endParaRPr lang="en-US" sz="900" dirty="0"/>
          </a:p>
          <a:p>
            <a:pPr marL="904875" lvl="2" indent="-355600" algn="just">
              <a:lnSpc>
                <a:spcPct val="10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Risk Management follows the projects of new securitization programs through the monthly Funding Committees led by Funding/Treasury division.</a:t>
            </a:r>
          </a:p>
          <a:p>
            <a:pPr marL="904875" lvl="2" indent="-355600" algn="just">
              <a:lnSpc>
                <a:spcPct val="10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When a new project has to be launched, in France or in any other country, the local risk manager prepares a risk opinion on this securitization program: The risk manager identifies all risks linked to the characteristics of the operation and gives an independent opinion depending on the existing risk management and control. The risk manager contributes to the NAP Committee or to  the Executive Committee. </a:t>
            </a:r>
          </a:p>
          <a:p>
            <a:pPr marL="904875" lvl="2" indent="-355600" algn="just">
              <a:lnSpc>
                <a:spcPct val="10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Corporate Center Risk Management also issues his own risk opinion regardless the local risk opinion to identified risk zones or potential issues in the operational management of the transaction.</a:t>
            </a:r>
          </a:p>
          <a:p>
            <a:pPr marL="904875" lvl="2" indent="-355600" algn="just">
              <a:lnSpc>
                <a:spcPct val="10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Corporate Center Risk Management risk opinion is required in case of central NAP Committee especially in terms of controls monitoring and IT management adequacy if relevant.</a:t>
            </a:r>
          </a:p>
          <a:p>
            <a:pPr marL="904875" lvl="2" indent="-355600" algn="just">
              <a:lnSpc>
                <a:spcPct val="10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Regarding French SRT securitization, Corporate Center Risk Management is in charge of supporting Finance by controlling the cost of capital relief model and calculation.</a:t>
            </a:r>
          </a:p>
          <a:p>
            <a:pPr marL="904875" lvl="2" indent="-355600" algn="just">
              <a:lnSpc>
                <a:spcPct val="10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Risk Management also follows the reports presented in CA CF Group ALM Committees : funding plan realization according to the budget, all securitization programs in CA CF Group, the eligible securitization portfolio by entity and the encumbered assets.</a:t>
            </a:r>
          </a:p>
          <a:p>
            <a:pPr marL="904875" lvl="2" indent="-355600" algn="just">
              <a:lnSpc>
                <a:spcPct val="100000"/>
              </a:lnSpc>
              <a:spcBef>
                <a:spcPct val="50000"/>
              </a:spcBef>
              <a:buClr>
                <a:schemeClr val="tx1"/>
              </a:buClr>
              <a:buSzPct val="120000"/>
              <a:buBlip>
                <a:blip r:embed="rId2"/>
              </a:buBlip>
              <a:defRPr/>
            </a:pPr>
            <a:r>
              <a:rPr lang="en-US" sz="900" dirty="0">
                <a:solidFill>
                  <a:schemeClr val="tx1"/>
                </a:solidFill>
                <a:latin typeface="Arial" pitchFamily="34" charset="0"/>
                <a:cs typeface="Arial" charset="0"/>
              </a:rPr>
              <a:t>Financial Risk Manager checks the correct application of ALM run off methodology through the documentation written and through the back testing performed annually on those models. The securitized outstanding is in the scope of the Model in case the securitization is consolidating. The back testing should therefore be performed both on Assets and Liabilities including the securitized portfolio.</a:t>
            </a:r>
          </a:p>
        </p:txBody>
      </p:sp>
    </p:spTree>
    <p:extLst>
      <p:ext uri="{BB962C8B-B14F-4D97-AF65-F5344CB8AC3E}">
        <p14:creationId xmlns:p14="http://schemas.microsoft.com/office/powerpoint/2010/main" val="10997763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6. Internal Audit</a:t>
            </a:r>
            <a:endParaRPr lang="en-US" dirty="0"/>
          </a:p>
        </p:txBody>
      </p:sp>
      <p:sp>
        <p:nvSpPr>
          <p:cNvPr id="3" name="Slide Number Placeholder 2"/>
          <p:cNvSpPr>
            <a:spLocks noGrp="1"/>
          </p:cNvSpPr>
          <p:nvPr>
            <p:ph type="sldNum" sz="quarter" idx="19"/>
          </p:nvPr>
        </p:nvSpPr>
        <p:spPr/>
        <p:txBody>
          <a:bodyPr/>
          <a:lstStyle/>
          <a:p>
            <a:fld id="{98BD2159-827C-4021-9B0E-DCD852BEB59E}" type="slidenum">
              <a:rPr lang="en-GB" smtClean="0"/>
              <a:pPr/>
              <a:t>59</a:t>
            </a:fld>
            <a:endParaRPr lang="en-GB" dirty="0"/>
          </a:p>
        </p:txBody>
      </p:sp>
    </p:spTree>
    <p:extLst>
      <p:ext uri="{BB962C8B-B14F-4D97-AF65-F5344CB8AC3E}">
        <p14:creationId xmlns:p14="http://schemas.microsoft.com/office/powerpoint/2010/main" val="3384074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p:cNvSpPr>
            <a:spLocks noGrp="1"/>
          </p:cNvSpPr>
          <p:nvPr>
            <p:ph type="title"/>
          </p:nvPr>
        </p:nvSpPr>
        <p:spPr>
          <a:xfrm>
            <a:off x="517608" y="173626"/>
            <a:ext cx="7997742" cy="824594"/>
          </a:xfrm>
        </p:spPr>
        <p:txBody>
          <a:bodyPr/>
          <a:lstStyle/>
          <a:p>
            <a:r>
              <a:rPr lang="fr-FR" sz="2000" dirty="0">
                <a:solidFill>
                  <a:schemeClr val="tx1"/>
                </a:solidFill>
              </a:rPr>
              <a:t>CACF Group – </a:t>
            </a:r>
            <a:r>
              <a:rPr lang="fr-FR" sz="2000" dirty="0" err="1">
                <a:solidFill>
                  <a:schemeClr val="tx1"/>
                </a:solidFill>
              </a:rPr>
              <a:t>recent</a:t>
            </a:r>
            <a:r>
              <a:rPr lang="fr-FR" sz="2000" dirty="0">
                <a:solidFill>
                  <a:schemeClr val="tx1"/>
                </a:solidFill>
              </a:rPr>
              <a:t> </a:t>
            </a:r>
            <a:r>
              <a:rPr lang="fr-FR" sz="2000" dirty="0" err="1">
                <a:solidFill>
                  <a:schemeClr val="tx1"/>
                </a:solidFill>
              </a:rPr>
              <a:t>evolution</a:t>
            </a:r>
            <a:r>
              <a:rPr lang="fr-FR" sz="2000" dirty="0">
                <a:solidFill>
                  <a:schemeClr val="tx1"/>
                </a:solidFill>
              </a:rPr>
              <a:t> in auto finance </a:t>
            </a:r>
            <a:r>
              <a:rPr lang="fr-FR" sz="2000" dirty="0" err="1">
                <a:solidFill>
                  <a:schemeClr val="tx1"/>
                </a:solidFill>
              </a:rPr>
              <a:t>sector</a:t>
            </a:r>
            <a:br>
              <a:rPr lang="fr-FR" dirty="0">
                <a:solidFill>
                  <a:prstClr val="black"/>
                </a:solidFill>
              </a:rPr>
            </a:br>
            <a:r>
              <a:rPr lang="en-GB" sz="1400" dirty="0">
                <a:solidFill>
                  <a:prstClr val="white">
                    <a:lumMod val="50000"/>
                  </a:prstClr>
                </a:solidFill>
              </a:rPr>
              <a:t>Accelerating in mobility with two companies: Leasys and CA Auto Bank</a:t>
            </a:r>
          </a:p>
        </p:txBody>
      </p:sp>
      <p:sp>
        <p:nvSpPr>
          <p:cNvPr id="20" name="Rectangle 12"/>
          <p:cNvSpPr>
            <a:spLocks noChangeArrowheads="1"/>
          </p:cNvSpPr>
          <p:nvPr/>
        </p:nvSpPr>
        <p:spPr bwMode="gray">
          <a:xfrm>
            <a:off x="346815" y="809676"/>
            <a:ext cx="8339328" cy="4144353"/>
          </a:xfrm>
          <a:prstGeom prst="rect">
            <a:avLst/>
          </a:prstGeom>
          <a:noFill/>
          <a:ln w="9525">
            <a:noFill/>
            <a:miter lim="800000"/>
            <a:headEnd/>
            <a:tailEnd/>
          </a:ln>
        </p:spPr>
        <p:txBody>
          <a:bodyPr/>
          <a:lstStyle/>
          <a:p>
            <a:pPr marL="0" lvl="2" algn="just" defTabSz="457178">
              <a:lnSpc>
                <a:spcPct val="117000"/>
              </a:lnSpc>
              <a:spcBef>
                <a:spcPts val="600"/>
              </a:spcBef>
              <a:buClr>
                <a:srgbClr val="009B5F"/>
              </a:buClr>
              <a:buSzPct val="133000"/>
              <a:tabLst>
                <a:tab pos="803235" algn="l"/>
              </a:tabLst>
            </a:pPr>
            <a:endParaRPr lang="en-US" sz="900" dirty="0">
              <a:solidFill>
                <a:prstClr val="black"/>
              </a:solidFill>
            </a:endParaRPr>
          </a:p>
          <a:p>
            <a:pPr marL="0" lvl="2" algn="just" defTabSz="457178">
              <a:lnSpc>
                <a:spcPct val="117000"/>
              </a:lnSpc>
              <a:spcBef>
                <a:spcPts val="600"/>
              </a:spcBef>
              <a:buClr>
                <a:srgbClr val="009B5F"/>
              </a:buClr>
              <a:buSzPct val="133000"/>
              <a:tabLst>
                <a:tab pos="803235" algn="l"/>
              </a:tabLst>
            </a:pPr>
            <a:endParaRPr lang="en-US" sz="900" dirty="0">
              <a:solidFill>
                <a:prstClr val="black"/>
              </a:solidFill>
            </a:endParaRPr>
          </a:p>
          <a:p>
            <a:pPr marL="128585" lvl="2" indent="-128585" algn="just" defTabSz="457178">
              <a:lnSpc>
                <a:spcPct val="117000"/>
              </a:lnSpc>
              <a:spcBef>
                <a:spcPts val="600"/>
              </a:spcBef>
              <a:buClr>
                <a:srgbClr val="009B5F"/>
              </a:buClr>
              <a:buSzPct val="133000"/>
              <a:buFont typeface="Wingdings" panose="05000000000000000000" pitchFamily="2" charset="2"/>
              <a:buChar char="§"/>
              <a:tabLst>
                <a:tab pos="803235" algn="l"/>
              </a:tabLst>
            </a:pPr>
            <a:r>
              <a:rPr lang="en-US" sz="900" dirty="0">
                <a:solidFill>
                  <a:prstClr val="black"/>
                </a:solidFill>
              </a:rPr>
              <a:t>CACF acquired in April 2023 100% stake in FCA Bank (that was previously owned by Stellantis) which became </a:t>
            </a:r>
            <a:r>
              <a:rPr lang="en-US" sz="900" b="1" dirty="0">
                <a:solidFill>
                  <a:prstClr val="black"/>
                </a:solidFill>
              </a:rPr>
              <a:t>Crédit Agricole Auto Bank</a:t>
            </a:r>
            <a:r>
              <a:rPr lang="en-US" sz="900" dirty="0">
                <a:solidFill>
                  <a:prstClr val="black"/>
                </a:solidFill>
              </a:rPr>
              <a:t>. CA Auto Bank will be an independent, multi-brand player in vehicle financing and leasing present in 19 countries with a target of at least €10 billion in </a:t>
            </a:r>
            <a:r>
              <a:rPr lang="en-US" sz="900" dirty="0" err="1">
                <a:solidFill>
                  <a:prstClr val="black"/>
                </a:solidFill>
              </a:rPr>
              <a:t>outstandings</a:t>
            </a:r>
            <a:r>
              <a:rPr lang="en-US" sz="900" dirty="0">
                <a:solidFill>
                  <a:prstClr val="black"/>
                </a:solidFill>
              </a:rPr>
              <a:t> by 2026. Within that new entity Drivalia (ex Leasys-rent) will focus on short-term rental. CA Auto Bank will also operate in all mobility sectors beyond cars : two-wheelers, leisure vehicles, boating, agricultural vehicles, light and heavy commercial vehicles. The new entity will serve CACF ambition to become a European leader in green mobility. </a:t>
            </a:r>
          </a:p>
          <a:p>
            <a:pPr marL="0" lvl="2" algn="just" defTabSz="457178">
              <a:lnSpc>
                <a:spcPct val="117000"/>
              </a:lnSpc>
              <a:spcBef>
                <a:spcPts val="600"/>
              </a:spcBef>
              <a:buClr>
                <a:srgbClr val="009B5F"/>
              </a:buClr>
              <a:buSzPct val="133000"/>
              <a:tabLst>
                <a:tab pos="803235" algn="l"/>
              </a:tabLst>
            </a:pPr>
            <a:endParaRPr lang="en-US" sz="900" dirty="0">
              <a:solidFill>
                <a:prstClr val="black"/>
              </a:solidFill>
            </a:endParaRPr>
          </a:p>
          <a:p>
            <a:pPr marL="128585" lvl="2" indent="-128585" algn="just" defTabSz="457178">
              <a:lnSpc>
                <a:spcPct val="117000"/>
              </a:lnSpc>
              <a:spcBef>
                <a:spcPts val="600"/>
              </a:spcBef>
              <a:buClr>
                <a:srgbClr val="009B5F"/>
              </a:buClr>
              <a:buSzPct val="133000"/>
              <a:buFont typeface="Wingdings" panose="05000000000000000000" pitchFamily="2" charset="2"/>
              <a:buChar char="§"/>
              <a:tabLst>
                <a:tab pos="803235" algn="l"/>
              </a:tabLst>
            </a:pPr>
            <a:r>
              <a:rPr lang="en-US" sz="900" dirty="0">
                <a:solidFill>
                  <a:prstClr val="black"/>
                </a:solidFill>
                <a:latin typeface="Arial"/>
              </a:rPr>
              <a:t>CA Auto Bank together with </a:t>
            </a:r>
            <a:r>
              <a:rPr lang="en-US" sz="900" dirty="0" err="1">
                <a:solidFill>
                  <a:prstClr val="black"/>
                </a:solidFill>
                <a:latin typeface="Arial"/>
              </a:rPr>
              <a:t>Stellantis</a:t>
            </a:r>
            <a:r>
              <a:rPr lang="en-US" sz="900" dirty="0">
                <a:solidFill>
                  <a:prstClr val="black"/>
                </a:solidFill>
                <a:latin typeface="Arial"/>
              </a:rPr>
              <a:t> reorganized and streamlined its European financing and leasing services with a simplified two-entity organization :</a:t>
            </a:r>
          </a:p>
          <a:p>
            <a:pPr marL="628650" lvl="3" indent="-171450" algn="just" defTabSz="457178">
              <a:lnSpc>
                <a:spcPct val="117000"/>
              </a:lnSpc>
              <a:spcBef>
                <a:spcPts val="600"/>
              </a:spcBef>
              <a:buClr>
                <a:srgbClr val="009B5F"/>
              </a:buClr>
              <a:buSzPct val="133000"/>
              <a:buFont typeface="Arial" panose="020B0604020202020204" pitchFamily="34" charset="0"/>
              <a:buChar char="•"/>
              <a:tabLst>
                <a:tab pos="803235" algn="l"/>
              </a:tabLst>
            </a:pPr>
            <a:r>
              <a:rPr lang="en-US" sz="900" dirty="0">
                <a:solidFill>
                  <a:prstClr val="black"/>
                </a:solidFill>
                <a:latin typeface="Arial"/>
              </a:rPr>
              <a:t>         </a:t>
            </a:r>
            <a:r>
              <a:rPr lang="en-US" sz="900" dirty="0" err="1">
                <a:solidFill>
                  <a:prstClr val="black"/>
                </a:solidFill>
                <a:latin typeface="Arial"/>
              </a:rPr>
              <a:t>Leasys</a:t>
            </a:r>
            <a:r>
              <a:rPr lang="en-US" sz="900" dirty="0">
                <a:solidFill>
                  <a:prstClr val="black"/>
                </a:solidFill>
                <a:latin typeface="Arial"/>
              </a:rPr>
              <a:t> the multi-brand pan-European (presence in 11 countries) operating leasing / long-term rental company which is a 50/50 joint venture. 	Following the consolidation of </a:t>
            </a:r>
            <a:r>
              <a:rPr lang="en-US" sz="900" dirty="0" err="1">
                <a:solidFill>
                  <a:prstClr val="black"/>
                </a:solidFill>
                <a:latin typeface="Arial"/>
              </a:rPr>
              <a:t>Leasys</a:t>
            </a:r>
            <a:r>
              <a:rPr lang="en-US" sz="900" dirty="0">
                <a:solidFill>
                  <a:prstClr val="black"/>
                </a:solidFill>
                <a:latin typeface="Arial"/>
              </a:rPr>
              <a:t> and Free2move Lease fleet (828 000 vehicles at launching). The target is one million vehicles by 2026.</a:t>
            </a:r>
          </a:p>
          <a:p>
            <a:pPr marL="457200" lvl="3" algn="just" defTabSz="457178">
              <a:lnSpc>
                <a:spcPct val="117000"/>
              </a:lnSpc>
              <a:spcBef>
                <a:spcPts val="600"/>
              </a:spcBef>
              <a:buClr>
                <a:srgbClr val="009B5F"/>
              </a:buClr>
              <a:buSzPct val="133000"/>
              <a:tabLst>
                <a:tab pos="803235" algn="l"/>
              </a:tabLst>
            </a:pPr>
            <a:endParaRPr lang="en-US" sz="900" dirty="0">
              <a:solidFill>
                <a:prstClr val="black"/>
              </a:solidFill>
              <a:latin typeface="Arial"/>
            </a:endParaRPr>
          </a:p>
          <a:p>
            <a:pPr marL="128585" lvl="2" indent="-128585" algn="just" defTabSz="457178">
              <a:lnSpc>
                <a:spcPct val="117000"/>
              </a:lnSpc>
              <a:spcBef>
                <a:spcPts val="600"/>
              </a:spcBef>
              <a:buClr>
                <a:srgbClr val="009B5F"/>
              </a:buClr>
              <a:buSzPct val="133000"/>
              <a:buFont typeface="Wingdings" panose="05000000000000000000" pitchFamily="2" charset="2"/>
              <a:buChar char="§"/>
              <a:tabLst>
                <a:tab pos="803235" algn="l"/>
              </a:tabLst>
            </a:pPr>
            <a:r>
              <a:rPr lang="en-US" sz="900" dirty="0">
                <a:solidFill>
                  <a:prstClr val="black"/>
                </a:solidFill>
              </a:rPr>
              <a:t>In order to accelerate the development of the two new companies CACF has signed, together with Stellantis, ALD and LeasePlan’s activities in six European countries. The acquisition would be carried out by FCA Bank, then followed by a division of the acquired scope between:</a:t>
            </a:r>
          </a:p>
          <a:p>
            <a:pPr marL="628650" lvl="3" indent="-171450" algn="just" defTabSz="457178">
              <a:lnSpc>
                <a:spcPct val="117000"/>
              </a:lnSpc>
              <a:spcBef>
                <a:spcPts val="600"/>
              </a:spcBef>
              <a:buClr>
                <a:schemeClr val="tx1"/>
              </a:buClr>
              <a:buSzPct val="133000"/>
              <a:buFont typeface="Arial" panose="020B0604020202020204" pitchFamily="34" charset="0"/>
              <a:buChar char="•"/>
              <a:tabLst>
                <a:tab pos="803235" algn="l"/>
              </a:tabLst>
            </a:pPr>
            <a:r>
              <a:rPr lang="en-US" sz="900" dirty="0">
                <a:solidFill>
                  <a:prstClr val="black"/>
                </a:solidFill>
              </a:rPr>
              <a:t>Leasys which would host the activities of ALD in Portugal and LeasePlan in Luxembourg for a total approximately 30,000 vehicles; and</a:t>
            </a:r>
          </a:p>
          <a:p>
            <a:pPr marL="628650" lvl="3" indent="-171450" algn="just" defTabSz="457178">
              <a:lnSpc>
                <a:spcPct val="117000"/>
              </a:lnSpc>
              <a:spcBef>
                <a:spcPts val="600"/>
              </a:spcBef>
              <a:buSzPct val="133000"/>
              <a:buFont typeface="Arial" panose="020B0604020202020204" pitchFamily="34" charset="0"/>
              <a:buChar char="•"/>
              <a:tabLst>
                <a:tab pos="803235" algn="l"/>
              </a:tabLst>
            </a:pPr>
            <a:r>
              <a:rPr lang="en-US" sz="900" dirty="0">
                <a:solidFill>
                  <a:prstClr val="black"/>
                </a:solidFill>
              </a:rPr>
              <a:t>CA Auto Bank which would host the activities of ALD in Ireland and Norway and of LeasePlan in the Czech Republic and in Finland for a total of more than 70,000 vehicles.</a:t>
            </a:r>
          </a:p>
          <a:p>
            <a:pPr marL="0" lvl="2" defTabSz="457178">
              <a:lnSpc>
                <a:spcPct val="117000"/>
              </a:lnSpc>
              <a:spcBef>
                <a:spcPts val="600"/>
              </a:spcBef>
              <a:buClr>
                <a:srgbClr val="009B5F"/>
              </a:buClr>
              <a:buSzPct val="133000"/>
              <a:tabLst>
                <a:tab pos="803235" algn="l"/>
              </a:tabLst>
            </a:pPr>
            <a:endParaRPr lang="en-US" sz="800" dirty="0">
              <a:solidFill>
                <a:prstClr val="black"/>
              </a:solidFill>
            </a:endParaRPr>
          </a:p>
          <a:p>
            <a:pPr marL="128585" lvl="2" indent="-128585" defTabSz="457178">
              <a:lnSpc>
                <a:spcPct val="117000"/>
              </a:lnSpc>
              <a:spcBef>
                <a:spcPts val="600"/>
              </a:spcBef>
              <a:buClr>
                <a:srgbClr val="009B5F"/>
              </a:buClr>
              <a:buSzPct val="133000"/>
              <a:buFont typeface="Wingdings" panose="05000000000000000000" pitchFamily="2" charset="2"/>
              <a:buChar char="§"/>
              <a:tabLst>
                <a:tab pos="803235" algn="l"/>
              </a:tabLst>
            </a:pPr>
            <a:endParaRPr lang="en-US" sz="800" dirty="0">
              <a:solidFill>
                <a:prstClr val="black"/>
              </a:solidFill>
              <a:latin typeface="Arial"/>
            </a:endParaRPr>
          </a:p>
          <a:p>
            <a:pPr marL="128585" lvl="2" indent="-128585" defTabSz="457178">
              <a:lnSpc>
                <a:spcPct val="117000"/>
              </a:lnSpc>
              <a:spcBef>
                <a:spcPts val="600"/>
              </a:spcBef>
              <a:buClr>
                <a:srgbClr val="009B5F"/>
              </a:buClr>
              <a:buSzPct val="133000"/>
              <a:buFont typeface="Wingdings" panose="05000000000000000000" pitchFamily="2" charset="2"/>
              <a:buChar char="§"/>
              <a:tabLst>
                <a:tab pos="803235" algn="l"/>
              </a:tabLst>
            </a:pPr>
            <a:endParaRPr lang="en-US" sz="800" dirty="0">
              <a:solidFill>
                <a:prstClr val="black"/>
              </a:solidFill>
              <a:latin typeface="Arial"/>
            </a:endParaRPr>
          </a:p>
          <a:p>
            <a:pPr marL="128585" lvl="2" indent="-128585" defTabSz="457178">
              <a:lnSpc>
                <a:spcPct val="117000"/>
              </a:lnSpc>
              <a:spcBef>
                <a:spcPts val="600"/>
              </a:spcBef>
              <a:buClr>
                <a:srgbClr val="009B5F"/>
              </a:buClr>
              <a:buSzPct val="133000"/>
              <a:buFont typeface="Wingdings" panose="05000000000000000000" pitchFamily="2" charset="2"/>
              <a:buChar char="§"/>
              <a:tabLst>
                <a:tab pos="803235" algn="l"/>
              </a:tabLst>
            </a:pPr>
            <a:endParaRPr lang="en-US" sz="800" dirty="0">
              <a:solidFill>
                <a:prstClr val="black"/>
              </a:solidFill>
              <a:latin typeface="Arial"/>
            </a:endParaRPr>
          </a:p>
          <a:p>
            <a:pPr marL="128585" lvl="2" indent="-128585" defTabSz="457178">
              <a:lnSpc>
                <a:spcPct val="117000"/>
              </a:lnSpc>
              <a:spcBef>
                <a:spcPts val="600"/>
              </a:spcBef>
              <a:buClr>
                <a:srgbClr val="009B5F"/>
              </a:buClr>
              <a:buSzPct val="133000"/>
              <a:buFont typeface="Wingdings" panose="05000000000000000000" pitchFamily="2" charset="2"/>
              <a:buChar char="§"/>
              <a:tabLst>
                <a:tab pos="803235" algn="l"/>
              </a:tabLst>
            </a:pPr>
            <a:endParaRPr lang="en-US" sz="800" dirty="0">
              <a:solidFill>
                <a:prstClr val="black"/>
              </a:solidFill>
              <a:latin typeface="Arial"/>
            </a:endParaRPr>
          </a:p>
          <a:p>
            <a:pPr marL="128585" lvl="2" indent="-128585" defTabSz="457178">
              <a:lnSpc>
                <a:spcPct val="117000"/>
              </a:lnSpc>
              <a:spcBef>
                <a:spcPts val="600"/>
              </a:spcBef>
              <a:buClr>
                <a:srgbClr val="009B5F"/>
              </a:buClr>
              <a:buSzPct val="133000"/>
              <a:buFont typeface="Wingdings" panose="05000000000000000000" pitchFamily="2" charset="2"/>
              <a:buChar char="§"/>
              <a:tabLst>
                <a:tab pos="803235" algn="l"/>
              </a:tabLst>
            </a:pPr>
            <a:endParaRPr lang="en-US" sz="800" dirty="0">
              <a:solidFill>
                <a:prstClr val="black"/>
              </a:solidFill>
              <a:latin typeface="Arial"/>
            </a:endParaRPr>
          </a:p>
          <a:p>
            <a:pPr marL="128585" lvl="2" indent="-128585" defTabSz="457178">
              <a:lnSpc>
                <a:spcPct val="117000"/>
              </a:lnSpc>
              <a:spcBef>
                <a:spcPts val="600"/>
              </a:spcBef>
              <a:buClr>
                <a:srgbClr val="009B5F"/>
              </a:buClr>
              <a:buSzPct val="133000"/>
              <a:buFont typeface="Wingdings" panose="05000000000000000000" pitchFamily="2" charset="2"/>
              <a:buChar char="§"/>
              <a:tabLst>
                <a:tab pos="803235" algn="l"/>
              </a:tabLst>
            </a:pPr>
            <a:endParaRPr lang="en-US" sz="800" dirty="0">
              <a:solidFill>
                <a:prstClr val="black"/>
              </a:solidFill>
              <a:latin typeface="Arial"/>
            </a:endParaRPr>
          </a:p>
          <a:p>
            <a:pPr marL="0" lvl="2" defTabSz="457178">
              <a:lnSpc>
                <a:spcPct val="117000"/>
              </a:lnSpc>
              <a:spcBef>
                <a:spcPts val="600"/>
              </a:spcBef>
              <a:buClr>
                <a:srgbClr val="009B5F"/>
              </a:buClr>
              <a:buSzPct val="133000"/>
              <a:tabLst>
                <a:tab pos="803235" algn="l"/>
              </a:tabLst>
            </a:pPr>
            <a:endParaRPr lang="en-US" sz="800" dirty="0">
              <a:solidFill>
                <a:prstClr val="black"/>
              </a:solidFill>
              <a:latin typeface="Arial"/>
            </a:endParaRPr>
          </a:p>
        </p:txBody>
      </p:sp>
      <p:sp>
        <p:nvSpPr>
          <p:cNvPr id="12" name="Slide Number Placeholder 3"/>
          <p:cNvSpPr>
            <a:spLocks noGrp="1"/>
          </p:cNvSpPr>
          <p:nvPr>
            <p:ph type="sldNum" sz="quarter" idx="19"/>
          </p:nvPr>
        </p:nvSpPr>
        <p:spPr>
          <a:xfrm>
            <a:off x="8607765" y="4846820"/>
            <a:ext cx="525046" cy="304373"/>
          </a:xfrm>
        </p:spPr>
        <p:txBody>
          <a:bodyPr/>
          <a:lstStyle/>
          <a:p>
            <a:fld id="{98BD2159-827C-4021-9B0E-DCD852BEB59E}" type="slidenum">
              <a:rPr lang="en-GB" smtClean="0"/>
              <a:pPr/>
              <a:t>6</a:t>
            </a:fld>
            <a:endParaRPr lang="en-GB" dirty="0"/>
          </a:p>
        </p:txBody>
      </p:sp>
      <p:sp>
        <p:nvSpPr>
          <p:cNvPr id="6" name="Rectangle 5"/>
          <p:cNvSpPr/>
          <p:nvPr/>
        </p:nvSpPr>
        <p:spPr>
          <a:xfrm>
            <a:off x="409651" y="4579315"/>
            <a:ext cx="7314712" cy="282381"/>
          </a:xfrm>
          <a:prstGeom prst="rect">
            <a:avLst/>
          </a:prstGeom>
        </p:spPr>
        <p:txBody>
          <a:bodyPr wrap="square" lIns="96770" tIns="48385" rIns="96770" bIns="48385">
            <a:spAutoFit/>
          </a:bodyPr>
          <a:lstStyle/>
          <a:p>
            <a:pPr defTabSz="1019722">
              <a:spcBef>
                <a:spcPct val="0"/>
              </a:spcBef>
              <a:tabLst>
                <a:tab pos="633338" algn="l"/>
              </a:tabLst>
            </a:pPr>
            <a:endParaRPr lang="en-US" sz="600" dirty="0">
              <a:solidFill>
                <a:prstClr val="black"/>
              </a:solidFill>
              <a:latin typeface="Arial"/>
            </a:endParaRPr>
          </a:p>
          <a:p>
            <a:pPr marL="228600" indent="-228600" defTabSz="1019722">
              <a:spcBef>
                <a:spcPct val="0"/>
              </a:spcBef>
              <a:buAutoNum type="arabicPlain"/>
              <a:tabLst>
                <a:tab pos="633338" algn="l"/>
              </a:tabLst>
            </a:pPr>
            <a:r>
              <a:rPr lang="en-US" sz="600" dirty="0">
                <a:solidFill>
                  <a:prstClr val="black"/>
                </a:solidFill>
              </a:rPr>
              <a:t>Abarth, Alfa Romeo, Chrysler, Citroën, Dodge, DS Automobiles, Fiat, Jeep, Lancia, Maserati, Opel, Peugeot, Ram and Vauxhall</a:t>
            </a:r>
          </a:p>
        </p:txBody>
      </p:sp>
    </p:spTree>
    <p:extLst>
      <p:ext uri="{BB962C8B-B14F-4D97-AF65-F5344CB8AC3E}">
        <p14:creationId xmlns:p14="http://schemas.microsoft.com/office/powerpoint/2010/main" val="34272751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294967295"/>
          </p:nvPr>
        </p:nvSpPr>
        <p:spPr bwMode="gray"/>
        <p:txBody>
          <a:bodyPr/>
          <a:lstStyle/>
          <a:p>
            <a:fld id="{98BD2159-827C-4021-9B0E-DCD852BEB59E}" type="slidenum">
              <a:rPr lang="en-GB"/>
              <a:pPr/>
              <a:t>60</a:t>
            </a:fld>
            <a:endParaRPr lang="en-GB" dirty="0"/>
          </a:p>
          <a:p>
            <a:endParaRPr lang="fr-FR" dirty="0"/>
          </a:p>
        </p:txBody>
      </p:sp>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pPr defTabSz="1219170"/>
            <a:r>
              <a:rPr lang="fr-FR" sz="2400" dirty="0" err="1">
                <a:solidFill>
                  <a:prstClr val="black"/>
                </a:solidFill>
                <a:latin typeface="Avenir Next LT Pro"/>
              </a:rPr>
              <a:t>Assignments</a:t>
            </a:r>
            <a:endParaRPr lang="en-US" sz="2400" dirty="0">
              <a:solidFill>
                <a:prstClr val="black"/>
              </a:solidFill>
              <a:latin typeface="Avenir Next LT Pro"/>
            </a:endParaRPr>
          </a:p>
        </p:txBody>
      </p:sp>
      <p:sp>
        <p:nvSpPr>
          <p:cNvPr id="6" name="Rectangle 2"/>
          <p:cNvSpPr>
            <a:spLocks noChangeArrowheads="1"/>
          </p:cNvSpPr>
          <p:nvPr/>
        </p:nvSpPr>
        <p:spPr bwMode="auto">
          <a:xfrm>
            <a:off x="424901" y="970434"/>
            <a:ext cx="8117173" cy="368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285750" indent="-285750" algn="just">
              <a:lnSpc>
                <a:spcPct val="150000"/>
              </a:lnSpc>
              <a:spcBef>
                <a:spcPct val="50000"/>
              </a:spcBef>
              <a:buClr>
                <a:srgbClr val="000000"/>
              </a:buClr>
              <a:buSzPct val="120000"/>
              <a:buFontTx/>
              <a:buBlip>
                <a:blip r:embed="rId2"/>
              </a:buBlip>
            </a:pPr>
            <a:r>
              <a:rPr lang="en-US" sz="1000" dirty="0">
                <a:solidFill>
                  <a:srgbClr val="000000"/>
                </a:solidFill>
                <a:cs typeface="Arial" charset="0"/>
              </a:rPr>
              <a:t>The audit set-up of Crédit Agricole Consumer Finance, fully complies with banking regulation, in line with the procedures and organization of Crédit Agricole S.A.</a:t>
            </a:r>
          </a:p>
          <a:p>
            <a:pPr marL="285750" indent="-285750" algn="just">
              <a:lnSpc>
                <a:spcPct val="150000"/>
              </a:lnSpc>
              <a:spcBef>
                <a:spcPct val="50000"/>
              </a:spcBef>
              <a:buClr>
                <a:srgbClr val="000000"/>
              </a:buClr>
              <a:buSzPct val="120000"/>
              <a:buFontTx/>
              <a:buBlip>
                <a:blip r:embed="rId2"/>
              </a:buBlip>
            </a:pPr>
            <a:endParaRPr lang="en-US" sz="1000" dirty="0">
              <a:solidFill>
                <a:srgbClr val="000000"/>
              </a:solidFill>
              <a:cs typeface="Arial" charset="0"/>
            </a:endParaRPr>
          </a:p>
          <a:p>
            <a:pPr marL="285750" indent="-285750" algn="just">
              <a:lnSpc>
                <a:spcPct val="150000"/>
              </a:lnSpc>
              <a:spcBef>
                <a:spcPct val="50000"/>
              </a:spcBef>
              <a:buClr>
                <a:srgbClr val="000000"/>
              </a:buClr>
              <a:buSzPct val="120000"/>
              <a:buFontTx/>
              <a:buBlip>
                <a:blip r:embed="rId2"/>
              </a:buBlip>
            </a:pPr>
            <a:r>
              <a:rPr lang="en-US" sz="1000" dirty="0">
                <a:solidFill>
                  <a:srgbClr val="000000"/>
                </a:solidFill>
                <a:cs typeface="Arial" charset="0"/>
              </a:rPr>
              <a:t>The Internal Audit Department covers the whole scope periodic controls (France and international). </a:t>
            </a:r>
          </a:p>
          <a:p>
            <a:pPr marL="285750" indent="-285750" algn="just">
              <a:lnSpc>
                <a:spcPct val="150000"/>
              </a:lnSpc>
              <a:spcBef>
                <a:spcPct val="50000"/>
              </a:spcBef>
              <a:buClr>
                <a:srgbClr val="000000"/>
              </a:buClr>
              <a:buSzPct val="120000"/>
              <a:buFontTx/>
              <a:buBlip>
                <a:blip r:embed="rId2"/>
              </a:buBlip>
            </a:pPr>
            <a:endParaRPr lang="en-US" sz="1000" dirty="0">
              <a:solidFill>
                <a:srgbClr val="000000"/>
              </a:solidFill>
              <a:cs typeface="Arial" charset="0"/>
            </a:endParaRPr>
          </a:p>
          <a:p>
            <a:pPr marL="285750" indent="-285750" algn="just">
              <a:lnSpc>
                <a:spcPct val="150000"/>
              </a:lnSpc>
              <a:spcBef>
                <a:spcPct val="50000"/>
              </a:spcBef>
              <a:buClr>
                <a:srgbClr val="000000"/>
              </a:buClr>
              <a:buSzPct val="120000"/>
              <a:buFontTx/>
              <a:buBlip>
                <a:blip r:embed="rId2"/>
              </a:buBlip>
            </a:pPr>
            <a:r>
              <a:rPr lang="en-US" sz="1000" dirty="0">
                <a:solidFill>
                  <a:srgbClr val="000000"/>
                </a:solidFill>
                <a:cs typeface="Arial" charset="0"/>
              </a:rPr>
              <a:t>Its main assignments: </a:t>
            </a:r>
          </a:p>
          <a:p>
            <a:pPr marL="742950" lvl="1" indent="-285750" algn="just">
              <a:lnSpc>
                <a:spcPct val="150000"/>
              </a:lnSpc>
              <a:spcBef>
                <a:spcPct val="50000"/>
              </a:spcBef>
              <a:buClr>
                <a:srgbClr val="000000"/>
              </a:buClr>
              <a:buSzPct val="120000"/>
              <a:buFontTx/>
              <a:buBlip>
                <a:blip r:embed="rId2"/>
              </a:buBlip>
            </a:pPr>
            <a:r>
              <a:rPr lang="en-US" sz="1000" dirty="0">
                <a:solidFill>
                  <a:srgbClr val="000000"/>
                </a:solidFill>
                <a:cs typeface="Arial" charset="0"/>
              </a:rPr>
              <a:t> make sure of the proper and effective functioning of the internal control set-up deployed in the CA CF Group, </a:t>
            </a:r>
          </a:p>
          <a:p>
            <a:pPr marL="742950" lvl="1" indent="-285750" algn="just">
              <a:lnSpc>
                <a:spcPct val="150000"/>
              </a:lnSpc>
              <a:spcBef>
                <a:spcPct val="50000"/>
              </a:spcBef>
              <a:buClr>
                <a:srgbClr val="000000"/>
              </a:buClr>
              <a:buSzPct val="120000"/>
              <a:buFontTx/>
              <a:buBlip>
                <a:blip r:embed="rId2"/>
              </a:buBlip>
            </a:pPr>
            <a:r>
              <a:rPr lang="en-US" sz="1000" dirty="0">
                <a:solidFill>
                  <a:srgbClr val="000000"/>
                </a:solidFill>
                <a:cs typeface="Arial" charset="0"/>
              </a:rPr>
              <a:t> independent supervision (3</a:t>
            </a:r>
            <a:r>
              <a:rPr lang="en-US" sz="1000" baseline="30000" dirty="0">
                <a:solidFill>
                  <a:srgbClr val="000000"/>
                </a:solidFill>
                <a:cs typeface="Arial" charset="0"/>
              </a:rPr>
              <a:t>rd</a:t>
            </a:r>
            <a:r>
              <a:rPr lang="en-US" sz="1000" dirty="0">
                <a:solidFill>
                  <a:srgbClr val="000000"/>
                </a:solidFill>
                <a:cs typeface="Arial" charset="0"/>
              </a:rPr>
              <a:t> level) of the different types of risks (e.g. counterparty, operational, financial / accounting, regulatory and compliance) </a:t>
            </a:r>
          </a:p>
          <a:p>
            <a:pPr marL="742950" lvl="1" indent="-285750" algn="just">
              <a:lnSpc>
                <a:spcPct val="150000"/>
              </a:lnSpc>
              <a:spcBef>
                <a:spcPct val="50000"/>
              </a:spcBef>
              <a:buClr>
                <a:srgbClr val="000000"/>
              </a:buClr>
              <a:buSzPct val="120000"/>
              <a:buFontTx/>
              <a:buBlip>
                <a:blip r:embed="rId2"/>
              </a:buBlip>
            </a:pPr>
            <a:r>
              <a:rPr lang="en-US" sz="1000" dirty="0">
                <a:solidFill>
                  <a:srgbClr val="000000"/>
                </a:solidFill>
                <a:cs typeface="Arial" charset="0"/>
              </a:rPr>
              <a:t> issue reports with the aim of correcting the anomalies and dysfunction detected during the audit assignments defined by the annual plan of audit or exceptional,</a:t>
            </a:r>
          </a:p>
          <a:p>
            <a:pPr marL="742950" lvl="1" indent="-285750" algn="just">
              <a:lnSpc>
                <a:spcPct val="150000"/>
              </a:lnSpc>
              <a:spcBef>
                <a:spcPct val="50000"/>
              </a:spcBef>
              <a:buClr>
                <a:srgbClr val="000000"/>
              </a:buClr>
              <a:buSzPct val="120000"/>
              <a:buFontTx/>
              <a:buBlip>
                <a:blip r:embed="rId2"/>
              </a:buBlip>
            </a:pPr>
            <a:r>
              <a:rPr lang="en-US" sz="1000" dirty="0">
                <a:solidFill>
                  <a:srgbClr val="000000"/>
                </a:solidFill>
                <a:cs typeface="Arial" charset="0"/>
              </a:rPr>
              <a:t>assure the monitoring of the corrective action plans proposed following audit assignments </a:t>
            </a:r>
            <a:r>
              <a:rPr lang="en-US" sz="1000" dirty="0">
                <a:cs typeface="Arial" charset="0"/>
              </a:rPr>
              <a:t>and assess the residual risk after the actions plan have been undertaken. </a:t>
            </a:r>
          </a:p>
        </p:txBody>
      </p:sp>
    </p:spTree>
    <p:extLst>
      <p:ext uri="{BB962C8B-B14F-4D97-AF65-F5344CB8AC3E}">
        <p14:creationId xmlns:p14="http://schemas.microsoft.com/office/powerpoint/2010/main" val="27976616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294967295"/>
          </p:nvPr>
        </p:nvSpPr>
        <p:spPr bwMode="gray"/>
        <p:txBody>
          <a:bodyPr/>
          <a:lstStyle/>
          <a:p>
            <a:fld id="{98BD2159-827C-4021-9B0E-DCD852BEB59E}" type="slidenum">
              <a:rPr lang="en-GB"/>
              <a:pPr/>
              <a:t>61</a:t>
            </a:fld>
            <a:endParaRPr lang="en-GB" dirty="0"/>
          </a:p>
          <a:p>
            <a:endParaRPr lang="fr-FR" dirty="0"/>
          </a:p>
        </p:txBody>
      </p:sp>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fr-FR" dirty="0">
                <a:solidFill>
                  <a:prstClr val="black"/>
                </a:solidFill>
              </a:rPr>
              <a:t>Organisation</a:t>
            </a:r>
            <a:endParaRPr lang="en-US" dirty="0">
              <a:solidFill>
                <a:prstClr val="black"/>
              </a:solidFill>
            </a:endParaRPr>
          </a:p>
        </p:txBody>
      </p:sp>
      <p:sp>
        <p:nvSpPr>
          <p:cNvPr id="7" name="Text Box 3"/>
          <p:cNvSpPr txBox="1">
            <a:spLocks noChangeArrowheads="1"/>
          </p:cNvSpPr>
          <p:nvPr/>
        </p:nvSpPr>
        <p:spPr bwMode="auto">
          <a:xfrm>
            <a:off x="540395" y="1212850"/>
            <a:ext cx="7920037" cy="1901867"/>
          </a:xfrm>
          <a:prstGeom prst="rect">
            <a:avLst/>
          </a:prstGeom>
          <a:noFill/>
          <a:ln w="9525" algn="ctr">
            <a:noFill/>
            <a:miter lim="800000"/>
            <a:headEnd/>
            <a:tailEnd/>
          </a:ln>
          <a:effectLst/>
        </p:spPr>
        <p:txBody>
          <a:bodyPr>
            <a:spAutoFit/>
          </a:bodyPr>
          <a:lstStyle/>
          <a:p>
            <a:pPr marL="285750" indent="-285750" algn="just">
              <a:lnSpc>
                <a:spcPct val="200000"/>
              </a:lnSpc>
              <a:spcBef>
                <a:spcPct val="50000"/>
              </a:spcBef>
              <a:buClr>
                <a:srgbClr val="000000"/>
              </a:buClr>
              <a:buSzPct val="120000"/>
              <a:buFontTx/>
              <a:buBlip>
                <a:blip r:embed="rId2"/>
              </a:buBlip>
              <a:defRPr/>
            </a:pPr>
            <a:r>
              <a:rPr lang="fr-FR" sz="1100" dirty="0">
                <a:solidFill>
                  <a:srgbClr val="000000"/>
                </a:solidFill>
                <a:cs typeface="Arial" charset="0"/>
              </a:rPr>
              <a:t>The </a:t>
            </a:r>
            <a:r>
              <a:rPr lang="fr-FR" sz="1100" dirty="0" err="1">
                <a:solidFill>
                  <a:srgbClr val="000000"/>
                </a:solidFill>
                <a:cs typeface="Arial" charset="0"/>
              </a:rPr>
              <a:t>Internal</a:t>
            </a:r>
            <a:r>
              <a:rPr lang="fr-FR" sz="1100" dirty="0">
                <a:solidFill>
                  <a:srgbClr val="000000"/>
                </a:solidFill>
                <a:cs typeface="Arial" charset="0"/>
              </a:rPr>
              <a:t> audit </a:t>
            </a:r>
            <a:r>
              <a:rPr lang="fr-FR" sz="1100" dirty="0" err="1">
                <a:solidFill>
                  <a:srgbClr val="000000"/>
                </a:solidFill>
                <a:cs typeface="Arial" charset="0"/>
              </a:rPr>
              <a:t>board</a:t>
            </a:r>
            <a:r>
              <a:rPr lang="fr-FR" sz="1100" dirty="0">
                <a:solidFill>
                  <a:srgbClr val="000000"/>
                </a:solidFill>
                <a:cs typeface="Arial" charset="0"/>
              </a:rPr>
              <a:t> </a:t>
            </a:r>
            <a:r>
              <a:rPr lang="fr-FR" sz="1100" dirty="0" err="1">
                <a:solidFill>
                  <a:srgbClr val="000000"/>
                </a:solidFill>
                <a:cs typeface="Arial" charset="0"/>
              </a:rPr>
              <a:t>consists</a:t>
            </a:r>
            <a:r>
              <a:rPr lang="fr-FR" sz="1100" dirty="0">
                <a:solidFill>
                  <a:srgbClr val="000000"/>
                </a:solidFill>
                <a:cs typeface="Arial" charset="0"/>
              </a:rPr>
              <a:t> of </a:t>
            </a:r>
          </a:p>
          <a:p>
            <a:pPr marL="742950" lvl="1" indent="-285750" algn="just">
              <a:lnSpc>
                <a:spcPct val="200000"/>
              </a:lnSpc>
              <a:spcBef>
                <a:spcPct val="50000"/>
              </a:spcBef>
              <a:buClr>
                <a:srgbClr val="000000"/>
              </a:buClr>
              <a:buSzPct val="120000"/>
              <a:buFontTx/>
              <a:buBlip>
                <a:blip r:embed="rId2"/>
              </a:buBlip>
              <a:defRPr/>
            </a:pPr>
            <a:r>
              <a:rPr lang="fr-FR" sz="1100" dirty="0">
                <a:solidFill>
                  <a:srgbClr val="000000"/>
                </a:solidFill>
                <a:cs typeface="Arial" charset="0"/>
              </a:rPr>
              <a:t>central Audit in charge of </a:t>
            </a:r>
            <a:r>
              <a:rPr lang="fr-FR" sz="1100" dirty="0" err="1">
                <a:solidFill>
                  <a:srgbClr val="000000"/>
                </a:solidFill>
                <a:cs typeface="Arial" charset="0"/>
              </a:rPr>
              <a:t>conducting</a:t>
            </a:r>
            <a:r>
              <a:rPr lang="fr-FR" sz="1100" dirty="0">
                <a:solidFill>
                  <a:srgbClr val="000000"/>
                </a:solidFill>
                <a:cs typeface="Arial" charset="0"/>
              </a:rPr>
              <a:t> audit </a:t>
            </a:r>
            <a:r>
              <a:rPr lang="fr-FR" sz="1100" dirty="0" err="1">
                <a:solidFill>
                  <a:srgbClr val="000000"/>
                </a:solidFill>
                <a:cs typeface="Arial" charset="0"/>
              </a:rPr>
              <a:t>assignment</a:t>
            </a:r>
            <a:r>
              <a:rPr lang="fr-FR" sz="1100" dirty="0">
                <a:solidFill>
                  <a:srgbClr val="000000"/>
                </a:solidFill>
                <a:cs typeface="Arial" charset="0"/>
              </a:rPr>
              <a:t> in France, the supervision of audit </a:t>
            </a:r>
            <a:r>
              <a:rPr lang="fr-FR" sz="1100" dirty="0" err="1">
                <a:solidFill>
                  <a:srgbClr val="000000"/>
                </a:solidFill>
                <a:cs typeface="Arial" charset="0"/>
              </a:rPr>
              <a:t>assignment</a:t>
            </a:r>
            <a:r>
              <a:rPr lang="fr-FR" sz="1100" dirty="0">
                <a:solidFill>
                  <a:srgbClr val="000000"/>
                </a:solidFill>
                <a:cs typeface="Arial" charset="0"/>
              </a:rPr>
              <a:t> </a:t>
            </a:r>
            <a:r>
              <a:rPr lang="fr-FR" sz="1100" dirty="0" err="1">
                <a:solidFill>
                  <a:srgbClr val="000000"/>
                </a:solidFill>
                <a:cs typeface="Arial" charset="0"/>
              </a:rPr>
              <a:t>abroad</a:t>
            </a:r>
            <a:r>
              <a:rPr lang="fr-FR" sz="1100" dirty="0">
                <a:solidFill>
                  <a:srgbClr val="000000"/>
                </a:solidFill>
                <a:cs typeface="Arial" charset="0"/>
              </a:rPr>
              <a:t> or the </a:t>
            </a:r>
            <a:r>
              <a:rPr lang="fr-FR" sz="1100" dirty="0" err="1">
                <a:solidFill>
                  <a:srgbClr val="000000"/>
                </a:solidFill>
                <a:cs typeface="Arial" charset="0"/>
              </a:rPr>
              <a:t>execution</a:t>
            </a:r>
            <a:r>
              <a:rPr lang="fr-FR" sz="1100" dirty="0">
                <a:solidFill>
                  <a:srgbClr val="000000"/>
                </a:solidFill>
                <a:cs typeface="Arial" charset="0"/>
              </a:rPr>
              <a:t> of cross-countries/</a:t>
            </a:r>
            <a:r>
              <a:rPr lang="fr-FR" sz="1100" dirty="0" err="1">
                <a:solidFill>
                  <a:srgbClr val="000000"/>
                </a:solidFill>
                <a:cs typeface="Arial" charset="0"/>
              </a:rPr>
              <a:t>entities</a:t>
            </a:r>
            <a:r>
              <a:rPr lang="fr-FR" sz="1100" dirty="0">
                <a:solidFill>
                  <a:srgbClr val="000000"/>
                </a:solidFill>
                <a:cs typeface="Arial" charset="0"/>
              </a:rPr>
              <a:t> audit </a:t>
            </a:r>
            <a:r>
              <a:rPr lang="fr-FR" sz="1100" dirty="0" err="1">
                <a:solidFill>
                  <a:srgbClr val="000000"/>
                </a:solidFill>
                <a:cs typeface="Arial" charset="0"/>
              </a:rPr>
              <a:t>assignment</a:t>
            </a:r>
            <a:r>
              <a:rPr lang="fr-FR" sz="1100" dirty="0">
                <a:solidFill>
                  <a:srgbClr val="000000"/>
                </a:solidFill>
                <a:cs typeface="Arial" charset="0"/>
              </a:rPr>
              <a:t>;</a:t>
            </a:r>
          </a:p>
          <a:p>
            <a:pPr marL="742950" lvl="1" indent="-285750" algn="just">
              <a:lnSpc>
                <a:spcPct val="200000"/>
              </a:lnSpc>
              <a:spcBef>
                <a:spcPct val="50000"/>
              </a:spcBef>
              <a:buClr>
                <a:srgbClr val="000000"/>
              </a:buClr>
              <a:buSzPct val="120000"/>
              <a:buFontTx/>
              <a:buBlip>
                <a:blip r:embed="rId2"/>
              </a:buBlip>
              <a:defRPr/>
            </a:pPr>
            <a:r>
              <a:rPr lang="fr-FR" sz="1100" dirty="0">
                <a:solidFill>
                  <a:srgbClr val="000000"/>
                </a:solidFill>
                <a:cs typeface="Arial" charset="0"/>
              </a:rPr>
              <a:t>international coordination of audit teams (</a:t>
            </a:r>
            <a:r>
              <a:rPr lang="fr-FR" sz="1100" dirty="0" err="1">
                <a:solidFill>
                  <a:srgbClr val="000000"/>
                </a:solidFill>
                <a:cs typeface="Arial" charset="0"/>
              </a:rPr>
              <a:t>subsidiaries</a:t>
            </a:r>
            <a:r>
              <a:rPr lang="fr-FR" sz="1100" dirty="0">
                <a:solidFill>
                  <a:srgbClr val="000000"/>
                </a:solidFill>
                <a:cs typeface="Arial" charset="0"/>
              </a:rPr>
              <a:t> and Joint-venture CA CF) and management of the </a:t>
            </a:r>
            <a:r>
              <a:rPr lang="fr-FR" sz="1100" dirty="0" err="1">
                <a:solidFill>
                  <a:srgbClr val="000000"/>
                </a:solidFill>
                <a:cs typeface="Arial" charset="0"/>
              </a:rPr>
              <a:t>Heads</a:t>
            </a:r>
            <a:r>
              <a:rPr lang="fr-FR" sz="1100" dirty="0">
                <a:solidFill>
                  <a:srgbClr val="000000"/>
                </a:solidFill>
                <a:cs typeface="Arial" charset="0"/>
              </a:rPr>
              <a:t> of Audit of the </a:t>
            </a:r>
            <a:r>
              <a:rPr lang="fr-FR" sz="1100" dirty="0" err="1">
                <a:solidFill>
                  <a:srgbClr val="000000"/>
                </a:solidFill>
                <a:cs typeface="Arial" charset="0"/>
              </a:rPr>
              <a:t>different</a:t>
            </a:r>
            <a:r>
              <a:rPr lang="fr-FR" sz="1100" dirty="0">
                <a:solidFill>
                  <a:srgbClr val="000000"/>
                </a:solidFill>
                <a:cs typeface="Arial" charset="0"/>
              </a:rPr>
              <a:t> </a:t>
            </a:r>
            <a:r>
              <a:rPr lang="en-US" sz="1100" dirty="0">
                <a:solidFill>
                  <a:srgbClr val="000000"/>
                </a:solidFill>
                <a:cs typeface="Arial" charset="0"/>
              </a:rPr>
              <a:t>subsidiaries</a:t>
            </a:r>
            <a:r>
              <a:rPr lang="fr-FR" sz="1100" dirty="0">
                <a:solidFill>
                  <a:srgbClr val="000000"/>
                </a:solidFill>
                <a:cs typeface="Arial" charset="0"/>
              </a:rPr>
              <a:t>. </a:t>
            </a:r>
          </a:p>
        </p:txBody>
      </p:sp>
    </p:spTree>
    <p:extLst>
      <p:ext uri="{BB962C8B-B14F-4D97-AF65-F5344CB8AC3E}">
        <p14:creationId xmlns:p14="http://schemas.microsoft.com/office/powerpoint/2010/main" val="11200963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294967295"/>
          </p:nvPr>
        </p:nvSpPr>
        <p:spPr bwMode="gray"/>
        <p:txBody>
          <a:bodyPr/>
          <a:lstStyle/>
          <a:p>
            <a:fld id="{98BD2159-827C-4021-9B0E-DCD852BEB59E}" type="slidenum">
              <a:rPr lang="en-GB"/>
              <a:pPr/>
              <a:t>62</a:t>
            </a:fld>
            <a:endParaRPr lang="en-GB" dirty="0"/>
          </a:p>
          <a:p>
            <a:endParaRPr lang="fr-FR" dirty="0"/>
          </a:p>
        </p:txBody>
      </p:sp>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fr-FR" dirty="0">
                <a:solidFill>
                  <a:prstClr val="black"/>
                </a:solidFill>
              </a:rPr>
              <a:t>Functioning</a:t>
            </a:r>
            <a:endParaRPr lang="en-US" dirty="0">
              <a:solidFill>
                <a:prstClr val="black"/>
              </a:solidFill>
            </a:endParaRPr>
          </a:p>
        </p:txBody>
      </p:sp>
      <p:sp>
        <p:nvSpPr>
          <p:cNvPr id="6" name="Text Box 3"/>
          <p:cNvSpPr txBox="1">
            <a:spLocks noChangeArrowheads="1"/>
          </p:cNvSpPr>
          <p:nvPr/>
        </p:nvSpPr>
        <p:spPr bwMode="auto">
          <a:xfrm>
            <a:off x="444411" y="1141369"/>
            <a:ext cx="7921625" cy="3062377"/>
          </a:xfrm>
          <a:prstGeom prst="rect">
            <a:avLst/>
          </a:prstGeom>
          <a:noFill/>
          <a:ln w="9525">
            <a:noFill/>
            <a:miter lim="800000"/>
            <a:headEnd/>
            <a:tailEnd/>
          </a:ln>
        </p:spPr>
        <p:txBody>
          <a:bodyPr>
            <a:spAutoFit/>
          </a:bodyPr>
          <a:lstStyle/>
          <a:p>
            <a:pPr marL="285750" indent="-285750" algn="just">
              <a:spcBef>
                <a:spcPct val="50000"/>
              </a:spcBef>
              <a:buClr>
                <a:srgbClr val="000000"/>
              </a:buClr>
              <a:buSzPct val="120000"/>
              <a:buFontTx/>
              <a:buBlip>
                <a:blip r:embed="rId2"/>
              </a:buBlip>
              <a:defRPr/>
            </a:pPr>
            <a:r>
              <a:rPr lang="fr-FR" sz="1000" b="1" dirty="0">
                <a:solidFill>
                  <a:srgbClr val="000000"/>
                </a:solidFill>
                <a:cs typeface="Arial" charset="0"/>
              </a:rPr>
              <a:t> </a:t>
            </a:r>
            <a:r>
              <a:rPr lang="en-IE" sz="1000" b="1" dirty="0">
                <a:solidFill>
                  <a:srgbClr val="000000"/>
                </a:solidFill>
                <a:cs typeface="Arial" charset="0"/>
              </a:rPr>
              <a:t>Independence</a:t>
            </a:r>
          </a:p>
          <a:p>
            <a:pPr marL="742950" lvl="1" indent="-285750" algn="just">
              <a:spcBef>
                <a:spcPct val="50000"/>
              </a:spcBef>
              <a:buClr>
                <a:srgbClr val="000000"/>
              </a:buClr>
              <a:buSzPct val="120000"/>
              <a:buFontTx/>
              <a:buBlip>
                <a:blip r:embed="rId2"/>
              </a:buBlip>
              <a:defRPr/>
            </a:pPr>
            <a:r>
              <a:rPr lang="en-US" sz="1000" dirty="0">
                <a:solidFill>
                  <a:srgbClr val="000000"/>
                </a:solidFill>
                <a:cs typeface="Arial" charset="0"/>
              </a:rPr>
              <a:t>In order to ensure its independence, </a:t>
            </a:r>
            <a:r>
              <a:rPr lang="en-IE" sz="1000" dirty="0">
                <a:solidFill>
                  <a:srgbClr val="000000"/>
                </a:solidFill>
                <a:cs typeface="Arial" charset="0"/>
              </a:rPr>
              <a:t>the Head of Internal Audit reports:</a:t>
            </a:r>
          </a:p>
          <a:p>
            <a:pPr marL="1200150" lvl="2" indent="-285750" algn="just">
              <a:spcBef>
                <a:spcPct val="50000"/>
              </a:spcBef>
              <a:buClr>
                <a:srgbClr val="000000"/>
              </a:buClr>
              <a:buSzPct val="120000"/>
              <a:buFontTx/>
              <a:buBlip>
                <a:blip r:embed="rId2"/>
              </a:buBlip>
              <a:defRPr/>
            </a:pPr>
            <a:r>
              <a:rPr lang="en-IE" sz="1000" dirty="0">
                <a:solidFill>
                  <a:srgbClr val="000000"/>
                </a:solidFill>
                <a:cs typeface="Arial" charset="0"/>
              </a:rPr>
              <a:t>hierarchically to the Head of Inspection General of Crédit Agricole S.A.;</a:t>
            </a:r>
          </a:p>
          <a:p>
            <a:pPr marL="1200150" lvl="2" indent="-285750" algn="just">
              <a:spcBef>
                <a:spcPct val="50000"/>
              </a:spcBef>
              <a:buClr>
                <a:srgbClr val="000000"/>
              </a:buClr>
              <a:buSzPct val="120000"/>
              <a:buFontTx/>
              <a:buBlip>
                <a:blip r:embed="rId2"/>
              </a:buBlip>
              <a:defRPr/>
            </a:pPr>
            <a:r>
              <a:rPr lang="en-IE" sz="1000" dirty="0">
                <a:solidFill>
                  <a:srgbClr val="000000"/>
                </a:solidFill>
                <a:cs typeface="Arial" charset="0"/>
              </a:rPr>
              <a:t>functionally to CA CF Chief Executive Officer.</a:t>
            </a:r>
          </a:p>
          <a:p>
            <a:pPr lvl="2" algn="just">
              <a:spcBef>
                <a:spcPct val="50000"/>
              </a:spcBef>
              <a:buClr>
                <a:srgbClr val="000000"/>
              </a:buClr>
              <a:buSzPct val="120000"/>
              <a:defRPr/>
            </a:pPr>
            <a:endParaRPr lang="en-IE" sz="1000" dirty="0">
              <a:solidFill>
                <a:srgbClr val="000000"/>
              </a:solidFill>
              <a:cs typeface="Arial" charset="0"/>
            </a:endParaRPr>
          </a:p>
          <a:p>
            <a:pPr marL="285750" indent="-285750" algn="just">
              <a:spcBef>
                <a:spcPct val="50000"/>
              </a:spcBef>
              <a:buClr>
                <a:srgbClr val="000000"/>
              </a:buClr>
              <a:buSzPct val="120000"/>
              <a:buFontTx/>
              <a:buBlip>
                <a:blip r:embed="rId2"/>
              </a:buBlip>
              <a:defRPr/>
            </a:pPr>
            <a:r>
              <a:rPr lang="en-IE" sz="1000" dirty="0">
                <a:solidFill>
                  <a:srgbClr val="000000"/>
                </a:solidFill>
                <a:cs typeface="Arial" charset="0"/>
              </a:rPr>
              <a:t> </a:t>
            </a:r>
            <a:r>
              <a:rPr lang="en-IE" sz="1000" b="1" dirty="0">
                <a:solidFill>
                  <a:srgbClr val="000000"/>
                </a:solidFill>
                <a:cs typeface="Arial" charset="0"/>
              </a:rPr>
              <a:t>Supervision of risk and internal control set-up: </a:t>
            </a:r>
            <a:endParaRPr lang="en-IE" sz="1000" dirty="0">
              <a:solidFill>
                <a:srgbClr val="000000"/>
              </a:solidFill>
              <a:cs typeface="Arial" charset="0"/>
            </a:endParaRPr>
          </a:p>
          <a:p>
            <a:pPr marL="685800" lvl="1" indent="-228600" algn="just">
              <a:spcBef>
                <a:spcPct val="30000"/>
              </a:spcBef>
              <a:buClr>
                <a:srgbClr val="000000"/>
              </a:buClr>
              <a:buSzPct val="120000"/>
              <a:buFontTx/>
              <a:buBlip>
                <a:blip r:embed="rId2"/>
              </a:buBlip>
              <a:defRPr/>
            </a:pPr>
            <a:r>
              <a:rPr lang="en-IE" sz="1000" dirty="0">
                <a:solidFill>
                  <a:srgbClr val="000000"/>
                </a:solidFill>
                <a:cs typeface="Arial" charset="0"/>
              </a:rPr>
              <a:t>identification of all risks through a risk mapping, regularly updated, defining an associated audit cycle detailing each auditable subject;</a:t>
            </a:r>
            <a:endParaRPr lang="en-IE" sz="1000" dirty="0">
              <a:solidFill>
                <a:srgbClr val="FF0000"/>
              </a:solidFill>
              <a:cs typeface="Arial" charset="0"/>
            </a:endParaRPr>
          </a:p>
          <a:p>
            <a:pPr marL="685800" lvl="1" indent="-228600" algn="just">
              <a:spcBef>
                <a:spcPct val="30000"/>
              </a:spcBef>
              <a:buClr>
                <a:srgbClr val="000000"/>
              </a:buClr>
              <a:buSzPct val="120000"/>
              <a:buFontTx/>
              <a:buBlip>
                <a:blip r:embed="rId2"/>
              </a:buBlip>
              <a:defRPr/>
            </a:pPr>
            <a:r>
              <a:rPr lang="en-IE" sz="1000" dirty="0">
                <a:solidFill>
                  <a:srgbClr val="000000"/>
                </a:solidFill>
                <a:cs typeface="Arial" charset="0"/>
              </a:rPr>
              <a:t>construction of an annual audit plan based on the mapping and audit cycle;</a:t>
            </a:r>
          </a:p>
          <a:p>
            <a:pPr marL="685800" lvl="1" indent="-228600" algn="just">
              <a:spcBef>
                <a:spcPct val="30000"/>
              </a:spcBef>
              <a:buClr>
                <a:srgbClr val="000000"/>
              </a:buClr>
              <a:buSzPct val="120000"/>
              <a:buFontTx/>
              <a:buBlip>
                <a:blip r:embed="rId2"/>
              </a:buBlip>
              <a:defRPr/>
            </a:pPr>
            <a:r>
              <a:rPr lang="en-IE" sz="1000" dirty="0">
                <a:solidFill>
                  <a:srgbClr val="000000"/>
                </a:solidFill>
                <a:cs typeface="Arial" charset="0"/>
              </a:rPr>
              <a:t>issuance of reports and recommendations resulting from audit missions addressed to CA CF managers and monitoring the implementation of the corresponding action plans; </a:t>
            </a:r>
          </a:p>
          <a:p>
            <a:pPr marL="685800" lvl="1" indent="-228600" algn="just">
              <a:spcBef>
                <a:spcPct val="30000"/>
              </a:spcBef>
              <a:buClr>
                <a:srgbClr val="000000"/>
              </a:buClr>
              <a:buSzPct val="120000"/>
              <a:buFontTx/>
              <a:buBlip>
                <a:blip r:embed="rId2"/>
              </a:buBlip>
              <a:defRPr/>
            </a:pPr>
            <a:r>
              <a:rPr lang="en-IE" sz="1000" dirty="0">
                <a:solidFill>
                  <a:srgbClr val="000000"/>
                </a:solidFill>
                <a:cs typeface="Arial" charset="0"/>
              </a:rPr>
              <a:t>regular presentation of the audit conclusions to the Chief Executive Officer, the Internal Control Committee, Audit and Accounts Committee, and to the </a:t>
            </a:r>
            <a:r>
              <a:rPr lang="en-IE" sz="1000" i="1" dirty="0">
                <a:solidFill>
                  <a:srgbClr val="000000"/>
                </a:solidFill>
                <a:cs typeface="Arial" charset="0"/>
              </a:rPr>
              <a:t>Inspection </a:t>
            </a:r>
            <a:r>
              <a:rPr lang="en-IE" sz="1000" i="1" dirty="0" err="1">
                <a:solidFill>
                  <a:srgbClr val="000000"/>
                </a:solidFill>
                <a:cs typeface="Arial" charset="0"/>
              </a:rPr>
              <a:t>Générale</a:t>
            </a:r>
            <a:r>
              <a:rPr lang="en-IE" sz="1000" dirty="0">
                <a:solidFill>
                  <a:srgbClr val="000000"/>
                </a:solidFill>
                <a:cs typeface="Arial" charset="0"/>
              </a:rPr>
              <a:t> of the CASA Group;</a:t>
            </a:r>
          </a:p>
          <a:p>
            <a:pPr marL="685800" lvl="1" indent="-228600" algn="just">
              <a:spcBef>
                <a:spcPct val="30000"/>
              </a:spcBef>
              <a:buClr>
                <a:srgbClr val="000000"/>
              </a:buClr>
              <a:buSzPct val="120000"/>
              <a:buFontTx/>
              <a:buBlip>
                <a:blip r:embed="rId2"/>
              </a:buBlip>
              <a:defRPr/>
            </a:pPr>
            <a:r>
              <a:rPr lang="en-IE" sz="1000" dirty="0">
                <a:solidFill>
                  <a:srgbClr val="000000"/>
                </a:solidFill>
                <a:cs typeface="Arial" charset="0"/>
              </a:rPr>
              <a:t>participation to the Audit and Accounts Committee and the Internal Control Committee;</a:t>
            </a:r>
          </a:p>
          <a:p>
            <a:pPr marL="685800" lvl="1" indent="-228600" algn="just">
              <a:spcBef>
                <a:spcPct val="30000"/>
              </a:spcBef>
              <a:buClr>
                <a:srgbClr val="000000"/>
              </a:buClr>
              <a:buSzPct val="120000"/>
              <a:buFontTx/>
              <a:buBlip>
                <a:blip r:embed="rId2"/>
              </a:buBlip>
              <a:defRPr/>
            </a:pPr>
            <a:r>
              <a:rPr lang="en-IE" sz="1000" dirty="0">
                <a:solidFill>
                  <a:srgbClr val="000000"/>
                </a:solidFill>
                <a:cs typeface="Arial" charset="0"/>
              </a:rPr>
              <a:t>contribution to the various regulatory reports related to Periodic Control.</a:t>
            </a:r>
          </a:p>
        </p:txBody>
      </p:sp>
    </p:spTree>
    <p:extLst>
      <p:ext uri="{BB962C8B-B14F-4D97-AF65-F5344CB8AC3E}">
        <p14:creationId xmlns:p14="http://schemas.microsoft.com/office/powerpoint/2010/main" val="32187303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294967295"/>
          </p:nvPr>
        </p:nvSpPr>
        <p:spPr bwMode="gray"/>
        <p:txBody>
          <a:bodyPr/>
          <a:lstStyle/>
          <a:p>
            <a:fld id="{98BD2159-827C-4021-9B0E-DCD852BEB59E}" type="slidenum">
              <a:rPr lang="en-GB"/>
              <a:pPr/>
              <a:t>63</a:t>
            </a:fld>
            <a:endParaRPr lang="en-GB" dirty="0"/>
          </a:p>
          <a:p>
            <a:endParaRPr lang="fr-FR" dirty="0"/>
          </a:p>
        </p:txBody>
      </p:sp>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fr-FR" dirty="0" err="1">
                <a:solidFill>
                  <a:prstClr val="black"/>
                </a:solidFill>
              </a:rPr>
              <a:t>Example</a:t>
            </a:r>
            <a:r>
              <a:rPr lang="fr-FR" dirty="0">
                <a:solidFill>
                  <a:prstClr val="black"/>
                </a:solidFill>
              </a:rPr>
              <a:t> of </a:t>
            </a:r>
            <a:r>
              <a:rPr lang="fr-FR" dirty="0" err="1">
                <a:solidFill>
                  <a:prstClr val="black"/>
                </a:solidFill>
              </a:rPr>
              <a:t>controls</a:t>
            </a:r>
            <a:r>
              <a:rPr lang="fr-FR" dirty="0">
                <a:solidFill>
                  <a:prstClr val="black"/>
                </a:solidFill>
              </a:rPr>
              <a:t> </a:t>
            </a:r>
            <a:r>
              <a:rPr lang="fr-FR" dirty="0" err="1">
                <a:solidFill>
                  <a:prstClr val="black"/>
                </a:solidFill>
              </a:rPr>
              <a:t>done</a:t>
            </a:r>
            <a:r>
              <a:rPr lang="fr-FR" dirty="0">
                <a:solidFill>
                  <a:prstClr val="black"/>
                </a:solidFill>
              </a:rPr>
              <a:t> </a:t>
            </a:r>
            <a:r>
              <a:rPr lang="fr-FR" dirty="0" err="1">
                <a:solidFill>
                  <a:prstClr val="black"/>
                </a:solidFill>
              </a:rPr>
              <a:t>during</a:t>
            </a:r>
            <a:r>
              <a:rPr lang="fr-FR" dirty="0">
                <a:solidFill>
                  <a:prstClr val="black"/>
                </a:solidFill>
              </a:rPr>
              <a:t> an </a:t>
            </a:r>
            <a:r>
              <a:rPr lang="fr-FR" dirty="0" err="1">
                <a:solidFill>
                  <a:prstClr val="black"/>
                </a:solidFill>
              </a:rPr>
              <a:t>assignment</a:t>
            </a:r>
            <a:endParaRPr lang="en-US" dirty="0">
              <a:solidFill>
                <a:prstClr val="black"/>
              </a:solidFill>
            </a:endParaRPr>
          </a:p>
        </p:txBody>
      </p:sp>
      <p:sp>
        <p:nvSpPr>
          <p:cNvPr id="7" name="Text Box 3"/>
          <p:cNvSpPr txBox="1">
            <a:spLocks noChangeArrowheads="1"/>
          </p:cNvSpPr>
          <p:nvPr/>
        </p:nvSpPr>
        <p:spPr bwMode="auto">
          <a:xfrm>
            <a:off x="467469" y="984224"/>
            <a:ext cx="7921625" cy="386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just">
              <a:spcBef>
                <a:spcPct val="50000"/>
              </a:spcBef>
              <a:buClr>
                <a:srgbClr val="000000"/>
              </a:buClr>
              <a:buSzPct val="120000"/>
              <a:buFontTx/>
              <a:buBlip>
                <a:blip r:embed="rId2"/>
              </a:buBlip>
            </a:pPr>
            <a:r>
              <a:rPr lang="fr-FR" sz="1000" b="1" dirty="0">
                <a:solidFill>
                  <a:srgbClr val="000000"/>
                </a:solidFill>
                <a:cs typeface="Arial" charset="0"/>
              </a:rPr>
              <a:t> </a:t>
            </a:r>
            <a:r>
              <a:rPr lang="en-IE" sz="1000" b="1" dirty="0">
                <a:solidFill>
                  <a:srgbClr val="000000"/>
                </a:solidFill>
                <a:cs typeface="Arial" charset="0"/>
              </a:rPr>
              <a:t>Review of organization</a:t>
            </a:r>
          </a:p>
          <a:p>
            <a:pPr lvl="1" algn="just">
              <a:spcBef>
                <a:spcPct val="50000"/>
              </a:spcBef>
              <a:buClr>
                <a:srgbClr val="000000"/>
              </a:buClr>
              <a:buSzPct val="120000"/>
              <a:buFontTx/>
              <a:buBlip>
                <a:blip r:embed="rId2"/>
              </a:buBlip>
            </a:pPr>
            <a:r>
              <a:rPr lang="en-IE" sz="1000" dirty="0">
                <a:solidFill>
                  <a:srgbClr val="000000"/>
                </a:solidFill>
                <a:cs typeface="Arial" charset="0"/>
              </a:rPr>
              <a:t>Segregation of duties (Front-Office, Back-office, Middle-Office et Permanent Control)</a:t>
            </a:r>
          </a:p>
          <a:p>
            <a:pPr lvl="1" algn="just">
              <a:spcBef>
                <a:spcPct val="50000"/>
              </a:spcBef>
              <a:buClr>
                <a:srgbClr val="000000"/>
              </a:buClr>
              <a:buSzPct val="120000"/>
              <a:buFontTx/>
              <a:buBlip>
                <a:blip r:embed="rId2"/>
              </a:buBlip>
            </a:pPr>
            <a:r>
              <a:rPr lang="en-US" sz="1000" dirty="0">
                <a:solidFill>
                  <a:srgbClr val="000000"/>
                </a:solidFill>
                <a:cs typeface="Arial" charset="0"/>
              </a:rPr>
              <a:t>Correct definition of human and IT resources dedicated to </a:t>
            </a:r>
            <a:r>
              <a:rPr lang="en-US" sz="1000" dirty="0" err="1">
                <a:solidFill>
                  <a:srgbClr val="000000"/>
                </a:solidFill>
                <a:cs typeface="Arial" charset="0"/>
              </a:rPr>
              <a:t>securitisation</a:t>
            </a:r>
            <a:r>
              <a:rPr lang="en-US" sz="1000" dirty="0">
                <a:solidFill>
                  <a:srgbClr val="000000"/>
                </a:solidFill>
                <a:cs typeface="Arial" charset="0"/>
              </a:rPr>
              <a:t> operations</a:t>
            </a:r>
          </a:p>
          <a:p>
            <a:pPr lvl="1" algn="just">
              <a:spcBef>
                <a:spcPct val="50000"/>
              </a:spcBef>
              <a:buClr>
                <a:srgbClr val="000000"/>
              </a:buClr>
              <a:buSzPct val="120000"/>
              <a:buFontTx/>
              <a:buBlip>
                <a:blip r:embed="rId2"/>
              </a:buBlip>
            </a:pPr>
            <a:r>
              <a:rPr lang="en-IE" sz="1000" dirty="0">
                <a:solidFill>
                  <a:srgbClr val="000000"/>
                </a:solidFill>
                <a:cs typeface="Arial" charset="0"/>
              </a:rPr>
              <a:t>Appropriate governance and framework (committees, reports, procedures, limits)</a:t>
            </a:r>
          </a:p>
          <a:p>
            <a:pPr algn="just">
              <a:spcBef>
                <a:spcPct val="50000"/>
              </a:spcBef>
              <a:buClr>
                <a:srgbClr val="000000"/>
              </a:buClr>
              <a:buSzPct val="120000"/>
              <a:buFontTx/>
              <a:buBlip>
                <a:blip r:embed="rId2"/>
              </a:buBlip>
            </a:pPr>
            <a:r>
              <a:rPr lang="en-IE" sz="1000" dirty="0">
                <a:solidFill>
                  <a:srgbClr val="000000"/>
                </a:solidFill>
                <a:cs typeface="Arial" charset="0"/>
              </a:rPr>
              <a:t> </a:t>
            </a:r>
            <a:r>
              <a:rPr lang="en-IE" sz="1000" b="1" dirty="0">
                <a:solidFill>
                  <a:srgbClr val="000000"/>
                </a:solidFill>
                <a:cs typeface="Arial" charset="0"/>
              </a:rPr>
              <a:t>Review of operations </a:t>
            </a:r>
          </a:p>
          <a:p>
            <a:pPr lvl="1" algn="just">
              <a:spcBef>
                <a:spcPct val="50000"/>
              </a:spcBef>
              <a:buClr>
                <a:srgbClr val="000000"/>
              </a:buClr>
              <a:buSzPct val="120000"/>
              <a:buFontTx/>
              <a:buBlip>
                <a:blip r:embed="rId2"/>
              </a:buBlip>
            </a:pPr>
            <a:r>
              <a:rPr lang="en-IE" sz="1000" dirty="0">
                <a:solidFill>
                  <a:srgbClr val="000000"/>
                </a:solidFill>
                <a:cs typeface="Arial" charset="0"/>
              </a:rPr>
              <a:t>Review of relationships with external partners (arranger, servicer) and their </a:t>
            </a:r>
            <a:r>
              <a:rPr lang="en-IE" sz="1000" dirty="0" err="1">
                <a:solidFill>
                  <a:srgbClr val="000000"/>
                </a:solidFill>
                <a:cs typeface="Arial" charset="0"/>
              </a:rPr>
              <a:t>contractualisation</a:t>
            </a:r>
            <a:r>
              <a:rPr lang="en-IE" sz="1000" dirty="0">
                <a:solidFill>
                  <a:srgbClr val="000000"/>
                </a:solidFill>
                <a:cs typeface="Arial" charset="0"/>
              </a:rPr>
              <a:t> </a:t>
            </a:r>
          </a:p>
          <a:p>
            <a:pPr lvl="1" algn="just">
              <a:spcBef>
                <a:spcPct val="50000"/>
              </a:spcBef>
              <a:buClr>
                <a:srgbClr val="000000"/>
              </a:buClr>
              <a:buSzPct val="120000"/>
              <a:buFontTx/>
              <a:buBlip>
                <a:blip r:embed="rId2"/>
              </a:buBlip>
            </a:pPr>
            <a:r>
              <a:rPr lang="en-IE" sz="1000" dirty="0">
                <a:solidFill>
                  <a:srgbClr val="000000"/>
                </a:solidFill>
                <a:cs typeface="Arial" charset="0"/>
              </a:rPr>
              <a:t>Calculation of fees payments (</a:t>
            </a:r>
            <a:r>
              <a:rPr lang="en-US" sz="1000" dirty="0">
                <a:solidFill>
                  <a:srgbClr val="000000"/>
                </a:solidFill>
                <a:cs typeface="Arial" charset="0"/>
              </a:rPr>
              <a:t>servicing fees, administrative fees, trustee fees, guarantee fees, remuneration of credit enhancements) </a:t>
            </a:r>
          </a:p>
          <a:p>
            <a:pPr lvl="1" algn="just">
              <a:spcBef>
                <a:spcPct val="50000"/>
              </a:spcBef>
              <a:buClr>
                <a:srgbClr val="000000"/>
              </a:buClr>
              <a:buSzPct val="120000"/>
              <a:buFontTx/>
              <a:buBlip>
                <a:blip r:embed="rId2"/>
              </a:buBlip>
            </a:pPr>
            <a:r>
              <a:rPr lang="en-US" sz="1000" dirty="0">
                <a:solidFill>
                  <a:srgbClr val="000000"/>
                </a:solidFill>
                <a:cs typeface="Arial" charset="0"/>
              </a:rPr>
              <a:t>Correct selection of loans at the initialization and during the replenishment, trigger follow-up</a:t>
            </a:r>
          </a:p>
          <a:p>
            <a:pPr lvl="1" algn="just">
              <a:spcBef>
                <a:spcPct val="50000"/>
              </a:spcBef>
              <a:buClr>
                <a:srgbClr val="000000"/>
              </a:buClr>
              <a:buSzPct val="120000"/>
              <a:buFontTx/>
              <a:buBlip>
                <a:blip r:embed="rId2"/>
              </a:buBlip>
            </a:pPr>
            <a:r>
              <a:rPr lang="en-IE" sz="1000" dirty="0">
                <a:solidFill>
                  <a:srgbClr val="000000"/>
                </a:solidFill>
                <a:cs typeface="Arial" charset="0"/>
              </a:rPr>
              <a:t>Review of IT systems and IT controls</a:t>
            </a:r>
          </a:p>
          <a:p>
            <a:pPr lvl="1" algn="just">
              <a:spcBef>
                <a:spcPct val="50000"/>
              </a:spcBef>
              <a:buClr>
                <a:srgbClr val="000000"/>
              </a:buClr>
              <a:buSzPct val="120000"/>
              <a:buFontTx/>
              <a:buBlip>
                <a:blip r:embed="rId2"/>
              </a:buBlip>
            </a:pPr>
            <a:r>
              <a:rPr lang="en-IE" sz="1000" dirty="0">
                <a:solidFill>
                  <a:srgbClr val="000000"/>
                </a:solidFill>
                <a:cs typeface="Arial" charset="0"/>
              </a:rPr>
              <a:t>Verification of securitisation reports (ECB and investors) and their reliability</a:t>
            </a:r>
          </a:p>
          <a:p>
            <a:pPr lvl="1" algn="just">
              <a:spcBef>
                <a:spcPct val="50000"/>
              </a:spcBef>
              <a:buClr>
                <a:srgbClr val="000000"/>
              </a:buClr>
              <a:buSzPct val="120000"/>
              <a:buFontTx/>
              <a:buBlip>
                <a:blip r:embed="rId2"/>
              </a:buBlip>
            </a:pPr>
            <a:r>
              <a:rPr lang="en-IE" sz="1000" dirty="0">
                <a:solidFill>
                  <a:srgbClr val="000000"/>
                </a:solidFill>
                <a:cs typeface="Arial" charset="0"/>
              </a:rPr>
              <a:t>Analysis of all impacts on ALM policy</a:t>
            </a:r>
          </a:p>
          <a:p>
            <a:pPr lvl="1" algn="just">
              <a:spcBef>
                <a:spcPct val="50000"/>
              </a:spcBef>
              <a:buClr>
                <a:srgbClr val="000000"/>
              </a:buClr>
              <a:buSzPct val="120000"/>
              <a:buFontTx/>
              <a:buBlip>
                <a:blip r:embed="rId2"/>
              </a:buBlip>
            </a:pPr>
            <a:r>
              <a:rPr lang="en-IE" sz="1000" dirty="0">
                <a:solidFill>
                  <a:srgbClr val="000000"/>
                </a:solidFill>
                <a:cs typeface="Arial" charset="0"/>
              </a:rPr>
              <a:t>Analysis of accounting registrations linked to securitisations</a:t>
            </a:r>
          </a:p>
          <a:p>
            <a:pPr algn="just">
              <a:spcBef>
                <a:spcPct val="50000"/>
              </a:spcBef>
              <a:buClr>
                <a:srgbClr val="000000"/>
              </a:buClr>
              <a:buSzPct val="120000"/>
              <a:buFontTx/>
              <a:buBlip>
                <a:blip r:embed="rId2"/>
              </a:buBlip>
            </a:pPr>
            <a:r>
              <a:rPr lang="en-IE" sz="1000" b="1" dirty="0">
                <a:solidFill>
                  <a:srgbClr val="000000"/>
                </a:solidFill>
                <a:cs typeface="Arial" charset="0"/>
              </a:rPr>
              <a:t>Review of Risk and Permanent controls</a:t>
            </a:r>
          </a:p>
          <a:p>
            <a:pPr lvl="1" algn="just">
              <a:spcBef>
                <a:spcPct val="50000"/>
              </a:spcBef>
              <a:buClr>
                <a:srgbClr val="000000"/>
              </a:buClr>
              <a:buSzPct val="120000"/>
              <a:buFontTx/>
              <a:buBlip>
                <a:blip r:embed="rId2"/>
              </a:buBlip>
            </a:pPr>
            <a:r>
              <a:rPr lang="en-IE" sz="1000" dirty="0">
                <a:solidFill>
                  <a:srgbClr val="000000"/>
                </a:solidFill>
                <a:cs typeface="Arial" charset="0"/>
              </a:rPr>
              <a:t>Review of Risk opinions on securitisation </a:t>
            </a:r>
          </a:p>
          <a:p>
            <a:pPr lvl="1" algn="just">
              <a:spcBef>
                <a:spcPct val="50000"/>
              </a:spcBef>
              <a:buClr>
                <a:srgbClr val="000000"/>
              </a:buClr>
              <a:buSzPct val="120000"/>
              <a:buFontTx/>
              <a:buBlip>
                <a:blip r:embed="rId2"/>
              </a:buBlip>
            </a:pPr>
            <a:r>
              <a:rPr lang="en-IE" sz="1000" dirty="0">
                <a:solidFill>
                  <a:srgbClr val="000000"/>
                </a:solidFill>
                <a:cs typeface="Arial" charset="0"/>
              </a:rPr>
              <a:t>Presence of Risk opinions on ALM models including and excluding securitisations </a:t>
            </a:r>
          </a:p>
          <a:p>
            <a:pPr lvl="1" algn="just">
              <a:spcBef>
                <a:spcPct val="50000"/>
              </a:spcBef>
              <a:buClr>
                <a:srgbClr val="000000"/>
              </a:buClr>
              <a:buSzPct val="120000"/>
              <a:buFontTx/>
              <a:buBlip>
                <a:blip r:embed="rId2"/>
              </a:buBlip>
            </a:pPr>
            <a:r>
              <a:rPr lang="en-IE" sz="1000" dirty="0">
                <a:solidFill>
                  <a:srgbClr val="000000"/>
                </a:solidFill>
                <a:cs typeface="Arial" charset="0"/>
              </a:rPr>
              <a:t>Review of 1</a:t>
            </a:r>
            <a:r>
              <a:rPr lang="en-IE" sz="1000" baseline="30000" dirty="0">
                <a:solidFill>
                  <a:srgbClr val="000000"/>
                </a:solidFill>
                <a:cs typeface="Arial" charset="0"/>
              </a:rPr>
              <a:t>st</a:t>
            </a:r>
            <a:r>
              <a:rPr lang="en-IE" sz="1000" dirty="0">
                <a:solidFill>
                  <a:srgbClr val="000000"/>
                </a:solidFill>
                <a:cs typeface="Arial" charset="0"/>
              </a:rPr>
              <a:t> and 2</a:t>
            </a:r>
            <a:r>
              <a:rPr lang="en-IE" sz="1000" baseline="30000" dirty="0">
                <a:solidFill>
                  <a:srgbClr val="000000"/>
                </a:solidFill>
                <a:cs typeface="Arial" charset="0"/>
              </a:rPr>
              <a:t>nd</a:t>
            </a:r>
            <a:r>
              <a:rPr lang="en-IE" sz="1000" dirty="0">
                <a:solidFill>
                  <a:srgbClr val="000000"/>
                </a:solidFill>
                <a:cs typeface="Arial" charset="0"/>
              </a:rPr>
              <a:t> level controls performed on securitisations</a:t>
            </a:r>
          </a:p>
        </p:txBody>
      </p:sp>
    </p:spTree>
    <p:extLst>
      <p:ext uri="{BB962C8B-B14F-4D97-AF65-F5344CB8AC3E}">
        <p14:creationId xmlns:p14="http://schemas.microsoft.com/office/powerpoint/2010/main" val="13738902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7. CACF IT System</a:t>
            </a:r>
            <a:endParaRPr lang="en-US" dirty="0"/>
          </a:p>
        </p:txBody>
      </p:sp>
      <p:sp>
        <p:nvSpPr>
          <p:cNvPr id="3" name="Slide Number Placeholder 2"/>
          <p:cNvSpPr>
            <a:spLocks noGrp="1"/>
          </p:cNvSpPr>
          <p:nvPr>
            <p:ph type="sldNum" sz="quarter" idx="19"/>
          </p:nvPr>
        </p:nvSpPr>
        <p:spPr/>
        <p:txBody>
          <a:bodyPr/>
          <a:lstStyle/>
          <a:p>
            <a:fld id="{98BD2159-827C-4021-9B0E-DCD852BEB59E}" type="slidenum">
              <a:rPr lang="en-GB" smtClean="0"/>
              <a:pPr/>
              <a:t>64</a:t>
            </a:fld>
            <a:endParaRPr lang="en-GB" dirty="0"/>
          </a:p>
        </p:txBody>
      </p:sp>
    </p:spTree>
    <p:extLst>
      <p:ext uri="{BB962C8B-B14F-4D97-AF65-F5344CB8AC3E}">
        <p14:creationId xmlns:p14="http://schemas.microsoft.com/office/powerpoint/2010/main" val="2391710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fr-FR" dirty="0">
                <a:solidFill>
                  <a:prstClr val="black"/>
                </a:solidFill>
              </a:rPr>
              <a:t>CACF IT System – </a:t>
            </a:r>
            <a:r>
              <a:rPr lang="fr-FR" dirty="0" err="1">
                <a:solidFill>
                  <a:prstClr val="black"/>
                </a:solidFill>
              </a:rPr>
              <a:t>Context</a:t>
            </a:r>
            <a:endParaRPr lang="en-US" dirty="0">
              <a:solidFill>
                <a:prstClr val="black"/>
              </a:solidFill>
            </a:endParaRPr>
          </a:p>
        </p:txBody>
      </p:sp>
      <p:sp>
        <p:nvSpPr>
          <p:cNvPr id="7" name="Text Box 3"/>
          <p:cNvSpPr txBox="1">
            <a:spLocks noChangeArrowheads="1"/>
          </p:cNvSpPr>
          <p:nvPr/>
        </p:nvSpPr>
        <p:spPr bwMode="auto">
          <a:xfrm>
            <a:off x="345781" y="625648"/>
            <a:ext cx="6193331" cy="432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just">
              <a:spcBef>
                <a:spcPct val="50000"/>
              </a:spcBef>
              <a:buClr>
                <a:srgbClr val="000000"/>
              </a:buClr>
              <a:buSzPct val="120000"/>
              <a:buFontTx/>
              <a:buBlip>
                <a:blip r:embed="rId2"/>
              </a:buBlip>
            </a:pPr>
            <a:r>
              <a:rPr lang="en-US" sz="1000" b="1" dirty="0">
                <a:solidFill>
                  <a:srgbClr val="000000"/>
                </a:solidFill>
                <a:cs typeface="Arial" charset="0"/>
              </a:rPr>
              <a:t>Major IT Projects</a:t>
            </a:r>
          </a:p>
          <a:p>
            <a:pPr lvl="1" algn="just">
              <a:spcBef>
                <a:spcPct val="50000"/>
              </a:spcBef>
              <a:buClr>
                <a:srgbClr val="000000"/>
              </a:buClr>
              <a:buSzPct val="120000"/>
              <a:buFontTx/>
              <a:buBlip>
                <a:blip r:embed="rId2"/>
              </a:buBlip>
            </a:pPr>
            <a:r>
              <a:rPr lang="en-US" sz="1000" dirty="0">
                <a:solidFill>
                  <a:srgbClr val="000000"/>
                </a:solidFill>
                <a:cs typeface="Arial" charset="0"/>
              </a:rPr>
              <a:t>IT merging program “Horus” : front harmonization has been made with the innovative ONE Portal, Renovation of the distribution platform to increase business and optimize CACF sales and litigation processes </a:t>
            </a:r>
          </a:p>
          <a:p>
            <a:pPr lvl="1" algn="just">
              <a:spcBef>
                <a:spcPct val="50000"/>
              </a:spcBef>
              <a:buClr>
                <a:srgbClr val="000000"/>
              </a:buClr>
              <a:buSzPct val="120000"/>
              <a:buFontTx/>
              <a:buBlip>
                <a:blip r:embed="rId2"/>
              </a:buBlip>
            </a:pPr>
            <a:r>
              <a:rPr lang="en-US" sz="1000" dirty="0">
                <a:solidFill>
                  <a:srgbClr val="000000"/>
                </a:solidFill>
                <a:cs typeface="Arial" charset="0"/>
              </a:rPr>
              <a:t>Upgrade of call center IT systems (program “AIDA”) : new call center deployed for 1,100 users </a:t>
            </a:r>
          </a:p>
          <a:p>
            <a:pPr lvl="1" algn="just">
              <a:spcBef>
                <a:spcPct val="50000"/>
              </a:spcBef>
              <a:buClr>
                <a:srgbClr val="000000"/>
              </a:buClr>
              <a:buSzPct val="120000"/>
              <a:buFontTx/>
              <a:buBlip>
                <a:blip r:embed="rId2"/>
              </a:buBlip>
            </a:pPr>
            <a:r>
              <a:rPr lang="en-US" sz="1000" dirty="0">
                <a:solidFill>
                  <a:srgbClr val="000000"/>
                </a:solidFill>
                <a:cs typeface="Arial" charset="0"/>
              </a:rPr>
              <a:t>Convergence with Credit </a:t>
            </a:r>
            <a:r>
              <a:rPr lang="en-US" sz="1000" dirty="0" err="1">
                <a:solidFill>
                  <a:srgbClr val="000000"/>
                </a:solidFill>
                <a:cs typeface="Arial" charset="0"/>
              </a:rPr>
              <a:t>Agricole</a:t>
            </a:r>
            <a:r>
              <a:rPr lang="en-US" sz="1000" dirty="0">
                <a:solidFill>
                  <a:srgbClr val="000000"/>
                </a:solidFill>
                <a:cs typeface="Arial" charset="0"/>
              </a:rPr>
              <a:t> IT system (program “NICE”) : 360 vision of the client portfolio on the new credit </a:t>
            </a:r>
            <a:r>
              <a:rPr lang="en-US" sz="1000" dirty="0" err="1">
                <a:solidFill>
                  <a:srgbClr val="000000"/>
                </a:solidFill>
                <a:cs typeface="Arial" charset="0"/>
              </a:rPr>
              <a:t>Agricole</a:t>
            </a:r>
            <a:r>
              <a:rPr lang="en-US" sz="1000" dirty="0">
                <a:solidFill>
                  <a:srgbClr val="000000"/>
                </a:solidFill>
                <a:cs typeface="Arial" charset="0"/>
              </a:rPr>
              <a:t> Portal (39 branches)</a:t>
            </a:r>
          </a:p>
          <a:p>
            <a:pPr lvl="1" algn="just">
              <a:spcBef>
                <a:spcPct val="50000"/>
              </a:spcBef>
              <a:buClr>
                <a:srgbClr val="000000"/>
              </a:buClr>
              <a:buSzPct val="120000"/>
              <a:buFontTx/>
              <a:buBlip>
                <a:blip r:embed="rId2"/>
              </a:buBlip>
            </a:pPr>
            <a:r>
              <a:rPr lang="en-US" sz="1000" dirty="0">
                <a:solidFill>
                  <a:srgbClr val="000000"/>
                </a:solidFill>
                <a:cs typeface="Arial" charset="0"/>
              </a:rPr>
              <a:t>SEPA program : 7M contract have been tipped-over the new mandate</a:t>
            </a:r>
          </a:p>
          <a:p>
            <a:pPr lvl="1" algn="just">
              <a:spcBef>
                <a:spcPct val="50000"/>
              </a:spcBef>
              <a:buClr>
                <a:srgbClr val="000000"/>
              </a:buClr>
              <a:buSzPct val="120000"/>
              <a:buFontTx/>
              <a:buBlip>
                <a:blip r:embed="rId2"/>
              </a:buBlip>
            </a:pPr>
            <a:r>
              <a:rPr lang="en-US" sz="1000" dirty="0">
                <a:solidFill>
                  <a:srgbClr val="000000"/>
                </a:solidFill>
                <a:cs typeface="Arial" charset="0"/>
              </a:rPr>
              <a:t>New Business Model : industrialize and build a new CACF partner offering</a:t>
            </a:r>
          </a:p>
          <a:p>
            <a:pPr lvl="1" algn="just">
              <a:spcBef>
                <a:spcPct val="50000"/>
              </a:spcBef>
              <a:buClr>
                <a:srgbClr val="000000"/>
              </a:buClr>
              <a:buSzPct val="120000"/>
              <a:buFontTx/>
              <a:buBlip>
                <a:blip r:embed="rId2"/>
              </a:buBlip>
            </a:pPr>
            <a:r>
              <a:rPr lang="en-US" sz="1000" dirty="0" err="1">
                <a:solidFill>
                  <a:srgbClr val="000000"/>
                </a:solidFill>
                <a:cs typeface="Arial" charset="0"/>
              </a:rPr>
              <a:t>Conso</a:t>
            </a:r>
            <a:r>
              <a:rPr lang="en-US" sz="1000" dirty="0">
                <a:solidFill>
                  <a:srgbClr val="000000"/>
                </a:solidFill>
                <a:cs typeface="Arial" charset="0"/>
              </a:rPr>
              <a:t> 2.0 : multichannel distribution and CACF loan product enhancement</a:t>
            </a:r>
          </a:p>
          <a:p>
            <a:pPr lvl="1" algn="just">
              <a:spcBef>
                <a:spcPct val="50000"/>
              </a:spcBef>
              <a:buClr>
                <a:srgbClr val="000000"/>
              </a:buClr>
              <a:buSzPct val="120000"/>
              <a:buFontTx/>
              <a:buBlip>
                <a:blip r:embed="rId2"/>
              </a:buBlip>
            </a:pPr>
            <a:r>
              <a:rPr lang="en-US" sz="1000" dirty="0">
                <a:solidFill>
                  <a:srgbClr val="000000"/>
                </a:solidFill>
                <a:cs typeface="Arial" charset="0"/>
              </a:rPr>
              <a:t>Electronic Signature : dematerialized subscription on different channels and different devices (mobile, web, etc..)</a:t>
            </a:r>
          </a:p>
          <a:p>
            <a:pPr algn="just">
              <a:spcBef>
                <a:spcPct val="50000"/>
              </a:spcBef>
              <a:buClr>
                <a:srgbClr val="000000"/>
              </a:buClr>
              <a:buSzPct val="120000"/>
              <a:buFontTx/>
              <a:buBlip>
                <a:blip r:embed="rId2"/>
              </a:buBlip>
            </a:pPr>
            <a:endParaRPr lang="en-US" sz="1000" b="1" dirty="0">
              <a:solidFill>
                <a:srgbClr val="000000"/>
              </a:solidFill>
              <a:cs typeface="Arial" charset="0"/>
            </a:endParaRPr>
          </a:p>
          <a:p>
            <a:pPr algn="just">
              <a:spcBef>
                <a:spcPct val="50000"/>
              </a:spcBef>
              <a:buClr>
                <a:srgbClr val="000000"/>
              </a:buClr>
              <a:buSzPct val="120000"/>
              <a:buFontTx/>
              <a:buBlip>
                <a:blip r:embed="rId2"/>
              </a:buBlip>
            </a:pPr>
            <a:r>
              <a:rPr lang="en-US" sz="1000" b="1" dirty="0">
                <a:solidFill>
                  <a:srgbClr val="000000"/>
                </a:solidFill>
                <a:cs typeface="Arial" charset="0"/>
              </a:rPr>
              <a:t>IT in numbers</a:t>
            </a:r>
          </a:p>
          <a:p>
            <a:pPr lvl="1" algn="just">
              <a:spcBef>
                <a:spcPct val="50000"/>
              </a:spcBef>
              <a:buClr>
                <a:srgbClr val="000000"/>
              </a:buClr>
              <a:buSzPct val="120000"/>
              <a:buFontTx/>
              <a:buBlip>
                <a:blip r:embed="rId2"/>
              </a:buBlip>
            </a:pPr>
            <a:r>
              <a:rPr lang="en-US" sz="1000" dirty="0">
                <a:solidFill>
                  <a:srgbClr val="000000"/>
                </a:solidFill>
                <a:cs typeface="Arial" charset="0"/>
              </a:rPr>
              <a:t>RUN</a:t>
            </a:r>
          </a:p>
          <a:p>
            <a:pPr lvl="2" algn="just">
              <a:spcBef>
                <a:spcPct val="50000"/>
              </a:spcBef>
              <a:buClr>
                <a:srgbClr val="000000"/>
              </a:buClr>
              <a:buSzPct val="120000"/>
              <a:buFontTx/>
              <a:buBlip>
                <a:blip r:embed="rId2"/>
              </a:buBlip>
            </a:pPr>
            <a:r>
              <a:rPr lang="en-US" sz="1000" dirty="0">
                <a:solidFill>
                  <a:srgbClr val="000000"/>
                </a:solidFill>
                <a:cs typeface="Arial" charset="0"/>
              </a:rPr>
              <a:t>2,200 workstations have been upgraded to windows 11</a:t>
            </a:r>
          </a:p>
          <a:p>
            <a:pPr lvl="2" algn="just">
              <a:spcBef>
                <a:spcPct val="50000"/>
              </a:spcBef>
              <a:buClr>
                <a:srgbClr val="000000"/>
              </a:buClr>
              <a:buSzPct val="120000"/>
              <a:buFontTx/>
              <a:buBlip>
                <a:blip r:embed="rId2"/>
              </a:buBlip>
            </a:pPr>
            <a:r>
              <a:rPr lang="en-US" sz="1000" dirty="0">
                <a:solidFill>
                  <a:srgbClr val="000000"/>
                </a:solidFill>
                <a:cs typeface="Arial" charset="0"/>
              </a:rPr>
              <a:t>23 IT/Business rescue plans have been tested</a:t>
            </a:r>
          </a:p>
          <a:p>
            <a:pPr lvl="1" algn="just">
              <a:spcBef>
                <a:spcPct val="50000"/>
              </a:spcBef>
              <a:buClr>
                <a:srgbClr val="000000"/>
              </a:buClr>
              <a:buSzPct val="120000"/>
              <a:buFontTx/>
              <a:buBlip>
                <a:blip r:embed="rId2"/>
              </a:buBlip>
            </a:pPr>
            <a:r>
              <a:rPr lang="en-US" sz="1000" dirty="0">
                <a:solidFill>
                  <a:srgbClr val="000000"/>
                </a:solidFill>
                <a:cs typeface="Arial" charset="0"/>
              </a:rPr>
              <a:t>BUILD</a:t>
            </a:r>
          </a:p>
          <a:p>
            <a:pPr lvl="2" algn="just">
              <a:spcBef>
                <a:spcPct val="50000"/>
              </a:spcBef>
              <a:buClr>
                <a:srgbClr val="000000"/>
              </a:buClr>
              <a:buSzPct val="120000"/>
              <a:buFontTx/>
              <a:buBlip>
                <a:blip r:embed="rId2"/>
              </a:buBlip>
            </a:pPr>
            <a:r>
              <a:rPr lang="en-US" sz="1000" dirty="0">
                <a:solidFill>
                  <a:srgbClr val="000000"/>
                </a:solidFill>
                <a:cs typeface="Arial" charset="0"/>
              </a:rPr>
              <a:t>€35m business projects have been delivered</a:t>
            </a:r>
          </a:p>
          <a:p>
            <a:pPr lvl="2" algn="just">
              <a:spcBef>
                <a:spcPct val="50000"/>
              </a:spcBef>
              <a:buClr>
                <a:srgbClr val="000000"/>
              </a:buClr>
              <a:buSzPct val="120000"/>
              <a:buFontTx/>
              <a:buBlip>
                <a:blip r:embed="rId2"/>
              </a:buBlip>
            </a:pPr>
            <a:r>
              <a:rPr lang="en-US" sz="1000" dirty="0">
                <a:solidFill>
                  <a:srgbClr val="000000"/>
                </a:solidFill>
                <a:cs typeface="Arial" charset="0"/>
              </a:rPr>
              <a:t>60 IT projects released </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0619" y="3344456"/>
            <a:ext cx="3307268" cy="1257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8725906" y="4895871"/>
            <a:ext cx="312906" cy="230832"/>
          </a:xfrm>
          <a:prstGeom prst="rect">
            <a:avLst/>
          </a:prstGeom>
        </p:spPr>
        <p:txBody>
          <a:bodyPr wrap="none">
            <a:spAutoFit/>
          </a:bodyPr>
          <a:lstStyle/>
          <a:p>
            <a:r>
              <a:rPr lang="en-GB" sz="900" b="1" dirty="0">
                <a:solidFill>
                  <a:schemeClr val="bg1"/>
                </a:solidFill>
              </a:rPr>
              <a:t>54</a:t>
            </a:r>
            <a:endParaRPr lang="fr-FR" sz="900" b="1" dirty="0">
              <a:solidFill>
                <a:schemeClr val="bg1"/>
              </a:solidFill>
            </a:endParaRPr>
          </a:p>
        </p:txBody>
      </p:sp>
    </p:spTree>
    <p:extLst>
      <p:ext uri="{BB962C8B-B14F-4D97-AF65-F5344CB8AC3E}">
        <p14:creationId xmlns:p14="http://schemas.microsoft.com/office/powerpoint/2010/main" val="18320447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544331" y="213351"/>
            <a:ext cx="8415251"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en-US" dirty="0">
                <a:solidFill>
                  <a:prstClr val="black"/>
                </a:solidFill>
              </a:rPr>
              <a:t>CACF IT system – main securitization applications concerned</a:t>
            </a:r>
          </a:p>
        </p:txBody>
      </p:sp>
      <p:sp>
        <p:nvSpPr>
          <p:cNvPr id="45" name="Rectangle 44"/>
          <p:cNvSpPr>
            <a:spLocks noChangeArrowheads="1"/>
          </p:cNvSpPr>
          <p:nvPr/>
        </p:nvSpPr>
        <p:spPr bwMode="gray">
          <a:xfrm>
            <a:off x="4404857" y="2338703"/>
            <a:ext cx="732535" cy="351326"/>
          </a:xfrm>
          <a:prstGeom prst="rect">
            <a:avLst/>
          </a:prstGeom>
          <a:solidFill>
            <a:srgbClr val="C0504D">
              <a:lumMod val="75000"/>
            </a:srgbClr>
          </a:solidFill>
          <a:ln w="6350">
            <a:solidFill>
              <a:sysClr val="window" lastClr="FFFFFF"/>
            </a:solidFill>
            <a:miter lim="800000"/>
            <a:headEnd/>
            <a:tailEnd/>
          </a:ln>
        </p:spPr>
        <p:txBody>
          <a:bodyPr lIns="0" tIns="0" rIns="0" bIns="0" anchor="ctr"/>
          <a:lstStyle/>
          <a:p>
            <a:pPr algn="ctr">
              <a:lnSpc>
                <a:spcPts val="536"/>
              </a:lnSpc>
              <a:defRPr/>
            </a:pPr>
            <a:r>
              <a:rPr lang="fr-FR" sz="600" kern="0" dirty="0" err="1">
                <a:solidFill>
                  <a:srgbClr val="FFFFFF"/>
                </a:solidFill>
                <a:latin typeface="Calibri" pitchFamily="34" charset="0"/>
                <a:cs typeface="Calibri" pitchFamily="34" charset="0"/>
              </a:rPr>
              <a:t>Loan</a:t>
            </a:r>
            <a:r>
              <a:rPr lang="fr-FR" sz="600" kern="0" dirty="0">
                <a:solidFill>
                  <a:srgbClr val="FFFFFF"/>
                </a:solidFill>
                <a:latin typeface="Calibri" pitchFamily="34" charset="0"/>
                <a:cs typeface="Calibri" pitchFamily="34" charset="0"/>
              </a:rPr>
              <a:t> </a:t>
            </a:r>
            <a:r>
              <a:rPr lang="fr-FR" sz="600" kern="0" dirty="0" err="1">
                <a:solidFill>
                  <a:srgbClr val="FFFFFF"/>
                </a:solidFill>
                <a:latin typeface="Calibri" pitchFamily="34" charset="0"/>
                <a:cs typeface="Calibri" pitchFamily="34" charset="0"/>
              </a:rPr>
              <a:t>Factory</a:t>
            </a:r>
            <a:r>
              <a:rPr lang="fr-FR" sz="600" kern="0" dirty="0">
                <a:solidFill>
                  <a:srgbClr val="FFFFFF"/>
                </a:solidFill>
                <a:latin typeface="Calibri" pitchFamily="34" charset="0"/>
                <a:cs typeface="Calibri" pitchFamily="34" charset="0"/>
              </a:rPr>
              <a:t> - SYPRETS</a:t>
            </a:r>
          </a:p>
        </p:txBody>
      </p:sp>
      <p:sp>
        <p:nvSpPr>
          <p:cNvPr id="46" name="Rectangle 45"/>
          <p:cNvSpPr>
            <a:spLocks noChangeArrowheads="1"/>
          </p:cNvSpPr>
          <p:nvPr/>
        </p:nvSpPr>
        <p:spPr bwMode="gray">
          <a:xfrm>
            <a:off x="6699191" y="2322036"/>
            <a:ext cx="1120898" cy="367994"/>
          </a:xfrm>
          <a:prstGeom prst="rect">
            <a:avLst/>
          </a:prstGeom>
          <a:solidFill>
            <a:schemeClr val="accent2">
              <a:lumMod val="75000"/>
            </a:schemeClr>
          </a:solidFill>
          <a:ln w="6350">
            <a:solidFill>
              <a:sysClr val="window" lastClr="FFFFFF"/>
            </a:solidFill>
            <a:miter lim="800000"/>
            <a:headEnd/>
            <a:tailEnd/>
          </a:ln>
        </p:spPr>
        <p:txBody>
          <a:bodyPr lIns="0" tIns="0" rIns="0" bIns="0" anchor="ctr"/>
          <a:lstStyle/>
          <a:p>
            <a:pPr algn="ctr">
              <a:lnSpc>
                <a:spcPts val="536"/>
              </a:lnSpc>
              <a:defRPr/>
            </a:pPr>
            <a:r>
              <a:rPr lang="fr-FR" sz="600" kern="0" dirty="0">
                <a:solidFill>
                  <a:srgbClr val="FFFFFF"/>
                </a:solidFill>
                <a:latin typeface="Calibri" pitchFamily="34" charset="0"/>
                <a:cs typeface="Calibri" pitchFamily="34" charset="0"/>
              </a:rPr>
              <a:t>Judicial </a:t>
            </a:r>
            <a:r>
              <a:rPr lang="fr-FR" sz="600" kern="0" dirty="0" err="1">
                <a:solidFill>
                  <a:srgbClr val="FFFFFF"/>
                </a:solidFill>
                <a:latin typeface="Calibri" pitchFamily="34" charset="0"/>
                <a:cs typeface="Calibri" pitchFamily="34" charset="0"/>
              </a:rPr>
              <a:t>Recovery</a:t>
            </a:r>
            <a:r>
              <a:rPr lang="fr-FR" sz="600" kern="0" dirty="0">
                <a:solidFill>
                  <a:srgbClr val="FFFFFF"/>
                </a:solidFill>
                <a:latin typeface="Calibri" pitchFamily="34" charset="0"/>
                <a:cs typeface="Calibri" pitchFamily="34" charset="0"/>
              </a:rPr>
              <a:t> – CONTENTIEUX IMX</a:t>
            </a:r>
          </a:p>
        </p:txBody>
      </p:sp>
      <p:sp>
        <p:nvSpPr>
          <p:cNvPr id="47" name="Rectangle 46"/>
          <p:cNvSpPr>
            <a:spLocks noChangeArrowheads="1"/>
          </p:cNvSpPr>
          <p:nvPr/>
        </p:nvSpPr>
        <p:spPr bwMode="gray">
          <a:xfrm>
            <a:off x="5396647" y="2322036"/>
            <a:ext cx="939403" cy="355680"/>
          </a:xfrm>
          <a:prstGeom prst="rect">
            <a:avLst/>
          </a:prstGeom>
          <a:solidFill>
            <a:schemeClr val="accent2">
              <a:lumMod val="75000"/>
            </a:schemeClr>
          </a:solidFill>
          <a:ln w="6350">
            <a:solidFill>
              <a:sysClr val="window" lastClr="FFFFFF"/>
            </a:solidFill>
            <a:miter lim="800000"/>
            <a:headEnd/>
            <a:tailEnd/>
          </a:ln>
        </p:spPr>
        <p:txBody>
          <a:bodyPr lIns="0" tIns="0" rIns="0" bIns="0" anchor="ctr"/>
          <a:lstStyle/>
          <a:p>
            <a:pPr algn="ctr">
              <a:lnSpc>
                <a:spcPts val="536"/>
              </a:lnSpc>
              <a:defRPr/>
            </a:pPr>
            <a:r>
              <a:rPr lang="fr-FR" sz="600" kern="0" dirty="0" err="1">
                <a:solidFill>
                  <a:srgbClr val="FFFFFF"/>
                </a:solidFill>
                <a:latin typeface="Calibri" pitchFamily="34" charset="0"/>
                <a:cs typeface="Calibri" pitchFamily="34" charset="0"/>
              </a:rPr>
              <a:t>Overindebtedness</a:t>
            </a:r>
            <a:r>
              <a:rPr lang="fr-FR" sz="600" kern="0" dirty="0">
                <a:solidFill>
                  <a:srgbClr val="FFFFFF"/>
                </a:solidFill>
                <a:latin typeface="Calibri" pitchFamily="34" charset="0"/>
                <a:cs typeface="Calibri" pitchFamily="34" charset="0"/>
              </a:rPr>
              <a:t> – GESTION DU SURENDETTEMENT</a:t>
            </a:r>
          </a:p>
        </p:txBody>
      </p:sp>
      <p:sp>
        <p:nvSpPr>
          <p:cNvPr id="48" name="Rectangle 47"/>
          <p:cNvSpPr>
            <a:spLocks noChangeArrowheads="1"/>
          </p:cNvSpPr>
          <p:nvPr/>
        </p:nvSpPr>
        <p:spPr bwMode="gray">
          <a:xfrm>
            <a:off x="6453923" y="4317414"/>
            <a:ext cx="905124" cy="287811"/>
          </a:xfrm>
          <a:prstGeom prst="rect">
            <a:avLst/>
          </a:prstGeom>
          <a:solidFill>
            <a:srgbClr val="C0504D">
              <a:lumMod val="75000"/>
            </a:srgbClr>
          </a:solidFill>
          <a:ln w="6350">
            <a:solidFill>
              <a:sysClr val="window" lastClr="FFFFFF"/>
            </a:solidFill>
            <a:miter lim="800000"/>
            <a:headEnd/>
            <a:tailEnd/>
          </a:ln>
        </p:spPr>
        <p:txBody>
          <a:bodyPr lIns="0" tIns="0" rIns="0" bIns="0" anchor="ctr"/>
          <a:lstStyle/>
          <a:p>
            <a:pPr algn="ctr">
              <a:lnSpc>
                <a:spcPts val="536"/>
              </a:lnSpc>
              <a:defRPr/>
            </a:pPr>
            <a:r>
              <a:rPr lang="fr-FR" sz="600" kern="0" dirty="0">
                <a:solidFill>
                  <a:srgbClr val="FFFFFF"/>
                </a:solidFill>
                <a:latin typeface="Calibri" pitchFamily="34" charset="0"/>
                <a:cs typeface="Calibri" pitchFamily="34" charset="0"/>
              </a:rPr>
              <a:t>Financial Dashboard</a:t>
            </a:r>
          </a:p>
        </p:txBody>
      </p:sp>
      <p:sp>
        <p:nvSpPr>
          <p:cNvPr id="49" name="Rectangle 48"/>
          <p:cNvSpPr>
            <a:spLocks noChangeArrowheads="1"/>
          </p:cNvSpPr>
          <p:nvPr/>
        </p:nvSpPr>
        <p:spPr bwMode="gray">
          <a:xfrm>
            <a:off x="3492839" y="3141186"/>
            <a:ext cx="747713" cy="324389"/>
          </a:xfrm>
          <a:prstGeom prst="rect">
            <a:avLst/>
          </a:prstGeom>
          <a:solidFill>
            <a:srgbClr val="C0504D">
              <a:lumMod val="75000"/>
            </a:srgbClr>
          </a:solidFill>
          <a:ln w="6350">
            <a:solidFill>
              <a:sysClr val="window" lastClr="FFFFFF"/>
            </a:solidFill>
            <a:miter lim="800000"/>
            <a:headEnd/>
            <a:tailEnd/>
          </a:ln>
        </p:spPr>
        <p:txBody>
          <a:bodyPr lIns="0" tIns="0" rIns="0" bIns="0" anchor="ctr"/>
          <a:lstStyle/>
          <a:p>
            <a:pPr algn="ctr">
              <a:lnSpc>
                <a:spcPts val="536"/>
              </a:lnSpc>
              <a:defRPr/>
            </a:pPr>
            <a:r>
              <a:rPr lang="fr-FR" sz="600" kern="0" dirty="0" err="1">
                <a:solidFill>
                  <a:srgbClr val="FFFFFF"/>
                </a:solidFill>
                <a:latin typeface="Calibri" pitchFamily="34" charset="0"/>
                <a:cs typeface="Calibri" pitchFamily="34" charset="0"/>
              </a:rPr>
              <a:t>Accounting</a:t>
            </a:r>
            <a:r>
              <a:rPr lang="fr-FR" sz="600" kern="0" dirty="0">
                <a:solidFill>
                  <a:srgbClr val="FFFFFF"/>
                </a:solidFill>
                <a:latin typeface="Calibri" pitchFamily="34" charset="0"/>
                <a:cs typeface="Calibri" pitchFamily="34" charset="0"/>
              </a:rPr>
              <a:t> </a:t>
            </a:r>
            <a:r>
              <a:rPr lang="fr-FR" sz="600" kern="0" dirty="0" err="1">
                <a:solidFill>
                  <a:srgbClr val="FFFFFF"/>
                </a:solidFill>
                <a:latin typeface="Calibri" pitchFamily="34" charset="0"/>
                <a:cs typeface="Calibri" pitchFamily="34" charset="0"/>
              </a:rPr>
              <a:t>Factory</a:t>
            </a:r>
            <a:r>
              <a:rPr lang="fr-FR" sz="600" kern="0" dirty="0">
                <a:solidFill>
                  <a:srgbClr val="FFFFFF"/>
                </a:solidFill>
                <a:latin typeface="Calibri" pitchFamily="34" charset="0"/>
                <a:cs typeface="Calibri" pitchFamily="34" charset="0"/>
              </a:rPr>
              <a:t> – MOTEUR COMPTABILIITE GENERALE CA-CF</a:t>
            </a:r>
          </a:p>
        </p:txBody>
      </p:sp>
      <p:sp>
        <p:nvSpPr>
          <p:cNvPr id="50" name="Rectangle 49"/>
          <p:cNvSpPr>
            <a:spLocks noChangeArrowheads="1"/>
          </p:cNvSpPr>
          <p:nvPr/>
        </p:nvSpPr>
        <p:spPr bwMode="gray">
          <a:xfrm>
            <a:off x="3382173" y="3638129"/>
            <a:ext cx="979383" cy="274408"/>
          </a:xfrm>
          <a:prstGeom prst="rect">
            <a:avLst/>
          </a:prstGeom>
          <a:solidFill>
            <a:schemeClr val="accent2">
              <a:lumMod val="75000"/>
            </a:schemeClr>
          </a:solidFill>
          <a:ln w="31750">
            <a:solidFill>
              <a:schemeClr val="tx1"/>
            </a:solidFill>
            <a:miter lim="800000"/>
            <a:headEnd/>
            <a:tailEnd/>
          </a:ln>
        </p:spPr>
        <p:txBody>
          <a:bodyPr lIns="0" tIns="0" rIns="0" bIns="0" anchor="ctr"/>
          <a:lstStyle/>
          <a:p>
            <a:pPr algn="ctr">
              <a:lnSpc>
                <a:spcPts val="536"/>
              </a:lnSpc>
              <a:defRPr/>
            </a:pPr>
            <a:r>
              <a:rPr lang="fr-FR" sz="600" kern="0" dirty="0" err="1">
                <a:solidFill>
                  <a:srgbClr val="FFFFFF"/>
                </a:solidFill>
                <a:latin typeface="Calibri" pitchFamily="34" charset="0"/>
                <a:cs typeface="Calibri" pitchFamily="34" charset="0"/>
              </a:rPr>
              <a:t>Securitization</a:t>
            </a:r>
            <a:r>
              <a:rPr lang="fr-FR" sz="600" kern="0" dirty="0">
                <a:solidFill>
                  <a:srgbClr val="FFFFFF"/>
                </a:solidFill>
                <a:latin typeface="Calibri" pitchFamily="34" charset="0"/>
                <a:cs typeface="Calibri" pitchFamily="34" charset="0"/>
              </a:rPr>
              <a:t> - TITRISATION</a:t>
            </a:r>
          </a:p>
        </p:txBody>
      </p:sp>
      <p:sp>
        <p:nvSpPr>
          <p:cNvPr id="51" name="Rectangle 50"/>
          <p:cNvSpPr>
            <a:spLocks noChangeArrowheads="1"/>
          </p:cNvSpPr>
          <p:nvPr/>
        </p:nvSpPr>
        <p:spPr bwMode="gray">
          <a:xfrm>
            <a:off x="5931239" y="4027865"/>
            <a:ext cx="767952" cy="339555"/>
          </a:xfrm>
          <a:prstGeom prst="rect">
            <a:avLst/>
          </a:prstGeom>
          <a:solidFill>
            <a:srgbClr val="C0504D">
              <a:lumMod val="75000"/>
            </a:srgbClr>
          </a:solidFill>
          <a:ln w="6350">
            <a:solidFill>
              <a:sysClr val="window" lastClr="FFFFFF"/>
            </a:solidFill>
            <a:miter lim="800000"/>
            <a:headEnd/>
            <a:tailEnd/>
          </a:ln>
        </p:spPr>
        <p:txBody>
          <a:bodyPr lIns="0" tIns="0" rIns="0" bIns="0" anchor="ctr"/>
          <a:lstStyle/>
          <a:p>
            <a:pPr algn="ctr">
              <a:lnSpc>
                <a:spcPts val="536"/>
              </a:lnSpc>
              <a:defRPr/>
            </a:pPr>
            <a:r>
              <a:rPr lang="fr-FR" sz="600" kern="0" dirty="0" err="1">
                <a:solidFill>
                  <a:srgbClr val="FFFFFF"/>
                </a:solidFill>
                <a:latin typeface="Calibri" pitchFamily="34" charset="0"/>
                <a:cs typeface="Calibri" pitchFamily="34" charset="0"/>
              </a:rPr>
              <a:t>Risk</a:t>
            </a:r>
            <a:r>
              <a:rPr lang="fr-FR" sz="600" kern="0" dirty="0">
                <a:solidFill>
                  <a:srgbClr val="FFFFFF"/>
                </a:solidFill>
                <a:latin typeface="Calibri" pitchFamily="34" charset="0"/>
                <a:cs typeface="Calibri" pitchFamily="34" charset="0"/>
              </a:rPr>
              <a:t> Dashboard</a:t>
            </a:r>
          </a:p>
        </p:txBody>
      </p:sp>
      <p:sp>
        <p:nvSpPr>
          <p:cNvPr id="52" name="Rectangle 51"/>
          <p:cNvSpPr>
            <a:spLocks noChangeArrowheads="1"/>
          </p:cNvSpPr>
          <p:nvPr/>
        </p:nvSpPr>
        <p:spPr bwMode="gray">
          <a:xfrm>
            <a:off x="4739423" y="894982"/>
            <a:ext cx="936820" cy="409885"/>
          </a:xfrm>
          <a:prstGeom prst="rect">
            <a:avLst/>
          </a:prstGeom>
          <a:solidFill>
            <a:schemeClr val="accent2">
              <a:lumMod val="75000"/>
            </a:schemeClr>
          </a:solidFill>
          <a:ln w="6350">
            <a:solidFill>
              <a:sysClr val="window" lastClr="FFFFFF"/>
            </a:solidFill>
            <a:miter lim="800000"/>
            <a:headEnd/>
            <a:tailEnd/>
          </a:ln>
        </p:spPr>
        <p:txBody>
          <a:bodyPr lIns="0" tIns="0" rIns="0" bIns="0" anchor="ctr"/>
          <a:lstStyle/>
          <a:p>
            <a:pPr algn="ctr">
              <a:lnSpc>
                <a:spcPts val="536"/>
              </a:lnSpc>
              <a:defRPr/>
            </a:pPr>
            <a:r>
              <a:rPr lang="fr-FR" sz="600" kern="0" dirty="0">
                <a:solidFill>
                  <a:srgbClr val="FFFFFF"/>
                </a:solidFill>
                <a:latin typeface="Calibri" pitchFamily="34" charset="0"/>
                <a:cs typeface="Calibri" pitchFamily="34" charset="0"/>
              </a:rPr>
              <a:t>CACF Employees business portal - ONE</a:t>
            </a:r>
          </a:p>
        </p:txBody>
      </p:sp>
      <p:sp>
        <p:nvSpPr>
          <p:cNvPr id="53" name="Rectangle 52"/>
          <p:cNvSpPr>
            <a:spLocks noChangeArrowheads="1"/>
          </p:cNvSpPr>
          <p:nvPr/>
        </p:nvSpPr>
        <p:spPr bwMode="gray">
          <a:xfrm>
            <a:off x="3080750" y="871395"/>
            <a:ext cx="1038655" cy="429441"/>
          </a:xfrm>
          <a:prstGeom prst="rect">
            <a:avLst/>
          </a:prstGeom>
          <a:solidFill>
            <a:schemeClr val="accent2">
              <a:lumMod val="75000"/>
            </a:schemeClr>
          </a:solidFill>
          <a:ln w="6350">
            <a:solidFill>
              <a:sysClr val="window" lastClr="FFFFFF"/>
            </a:solidFill>
            <a:miter lim="800000"/>
            <a:headEnd/>
            <a:tailEnd/>
          </a:ln>
        </p:spPr>
        <p:txBody>
          <a:bodyPr lIns="0" tIns="0" rIns="0" bIns="0" anchor="ctr"/>
          <a:lstStyle/>
          <a:p>
            <a:pPr algn="ctr">
              <a:lnSpc>
                <a:spcPts val="536"/>
              </a:lnSpc>
              <a:defRPr/>
            </a:pPr>
            <a:r>
              <a:rPr lang="fr-FR" sz="600" kern="0" dirty="0">
                <a:solidFill>
                  <a:srgbClr val="FFFFFF"/>
                </a:solidFill>
                <a:latin typeface="Calibri" pitchFamily="34" charset="0"/>
                <a:cs typeface="Calibri" pitchFamily="34" charset="0"/>
              </a:rPr>
              <a:t>Customer Web Portal – SOFINCO.FR</a:t>
            </a:r>
          </a:p>
        </p:txBody>
      </p:sp>
      <p:sp>
        <p:nvSpPr>
          <p:cNvPr id="54" name="Rectangle 53"/>
          <p:cNvSpPr>
            <a:spLocks noChangeArrowheads="1"/>
          </p:cNvSpPr>
          <p:nvPr/>
        </p:nvSpPr>
        <p:spPr bwMode="gray">
          <a:xfrm>
            <a:off x="3066595" y="2354072"/>
            <a:ext cx="807243" cy="338228"/>
          </a:xfrm>
          <a:prstGeom prst="rect">
            <a:avLst/>
          </a:prstGeom>
          <a:solidFill>
            <a:schemeClr val="accent2">
              <a:lumMod val="75000"/>
            </a:schemeClr>
          </a:solidFill>
          <a:ln w="6350">
            <a:solidFill>
              <a:sysClr val="window" lastClr="FFFFFF"/>
            </a:solidFill>
            <a:miter lim="800000"/>
            <a:headEnd/>
            <a:tailEnd/>
          </a:ln>
        </p:spPr>
        <p:txBody>
          <a:bodyPr lIns="0" tIns="0" rIns="0" bIns="0" anchor="ctr"/>
          <a:lstStyle/>
          <a:p>
            <a:pPr algn="ctr">
              <a:lnSpc>
                <a:spcPts val="536"/>
              </a:lnSpc>
              <a:defRPr/>
            </a:pPr>
            <a:r>
              <a:rPr lang="fr-FR" sz="600" kern="0" dirty="0">
                <a:solidFill>
                  <a:srgbClr val="FFFFFF"/>
                </a:solidFill>
                <a:latin typeface="Calibri" pitchFamily="34" charset="0"/>
                <a:cs typeface="Calibri" pitchFamily="34" charset="0"/>
              </a:rPr>
              <a:t>CACF Employees mainframe Access - MODREC</a:t>
            </a:r>
          </a:p>
        </p:txBody>
      </p:sp>
      <p:cxnSp>
        <p:nvCxnSpPr>
          <p:cNvPr id="55" name="Connecteur droit 54"/>
          <p:cNvCxnSpPr>
            <a:cxnSpLocks/>
          </p:cNvCxnSpPr>
          <p:nvPr/>
        </p:nvCxnSpPr>
        <p:spPr>
          <a:xfrm>
            <a:off x="691963" y="3919317"/>
            <a:ext cx="70264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6" name="Rectangle 55"/>
          <p:cNvSpPr>
            <a:spLocks noChangeArrowheads="1"/>
          </p:cNvSpPr>
          <p:nvPr/>
        </p:nvSpPr>
        <p:spPr bwMode="gray">
          <a:xfrm>
            <a:off x="5447844" y="4320986"/>
            <a:ext cx="864395" cy="284239"/>
          </a:xfrm>
          <a:prstGeom prst="rect">
            <a:avLst/>
          </a:prstGeom>
          <a:solidFill>
            <a:srgbClr val="C0504D">
              <a:lumMod val="75000"/>
            </a:srgbClr>
          </a:solidFill>
          <a:ln w="6350">
            <a:solidFill>
              <a:sysClr val="window" lastClr="FFFFFF"/>
            </a:solidFill>
            <a:miter lim="800000"/>
            <a:headEnd/>
            <a:tailEnd/>
          </a:ln>
        </p:spPr>
        <p:txBody>
          <a:bodyPr lIns="0" tIns="0" rIns="0" bIns="0" anchor="ctr"/>
          <a:lstStyle/>
          <a:p>
            <a:pPr algn="ctr">
              <a:lnSpc>
                <a:spcPts val="536"/>
              </a:lnSpc>
              <a:defRPr/>
            </a:pPr>
            <a:r>
              <a:rPr lang="fr-FR" sz="600" kern="0" dirty="0">
                <a:solidFill>
                  <a:srgbClr val="FFFFFF"/>
                </a:solidFill>
                <a:latin typeface="Calibri" pitchFamily="34" charset="0"/>
                <a:cs typeface="Calibri" pitchFamily="34" charset="0"/>
              </a:rPr>
              <a:t>Commercial Dashboard</a:t>
            </a:r>
          </a:p>
        </p:txBody>
      </p:sp>
      <p:sp>
        <p:nvSpPr>
          <p:cNvPr id="57" name="ZoneTexte 26"/>
          <p:cNvSpPr txBox="1">
            <a:spLocks noChangeArrowheads="1"/>
          </p:cNvSpPr>
          <p:nvPr/>
        </p:nvSpPr>
        <p:spPr bwMode="auto">
          <a:xfrm>
            <a:off x="979170" y="842073"/>
            <a:ext cx="111761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a:r>
              <a:rPr lang="fr-FR" sz="1350" dirty="0"/>
              <a:t>Distribution </a:t>
            </a:r>
          </a:p>
          <a:p>
            <a:pPr algn="ctr"/>
            <a:r>
              <a:rPr lang="fr-FR" sz="1350" dirty="0"/>
              <a:t>Applications</a:t>
            </a:r>
          </a:p>
        </p:txBody>
      </p:sp>
      <p:sp>
        <p:nvSpPr>
          <p:cNvPr id="58" name="ZoneTexte 30"/>
          <p:cNvSpPr txBox="1">
            <a:spLocks noChangeArrowheads="1"/>
          </p:cNvSpPr>
          <p:nvPr/>
        </p:nvSpPr>
        <p:spPr bwMode="auto">
          <a:xfrm>
            <a:off x="948257" y="1630267"/>
            <a:ext cx="114967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a:r>
              <a:rPr lang="fr-FR" sz="1350" dirty="0" err="1"/>
              <a:t>MiddleWare</a:t>
            </a:r>
            <a:r>
              <a:rPr lang="fr-FR" sz="1350" dirty="0"/>
              <a:t> </a:t>
            </a:r>
          </a:p>
          <a:p>
            <a:pPr algn="ctr"/>
            <a:r>
              <a:rPr lang="fr-FR" sz="1350" dirty="0"/>
              <a:t>Applications</a:t>
            </a:r>
          </a:p>
        </p:txBody>
      </p:sp>
      <p:sp>
        <p:nvSpPr>
          <p:cNvPr id="59" name="Rectangle 58"/>
          <p:cNvSpPr>
            <a:spLocks noChangeArrowheads="1"/>
          </p:cNvSpPr>
          <p:nvPr/>
        </p:nvSpPr>
        <p:spPr bwMode="gray">
          <a:xfrm>
            <a:off x="4739423" y="1659643"/>
            <a:ext cx="1021345" cy="293299"/>
          </a:xfrm>
          <a:prstGeom prst="rect">
            <a:avLst/>
          </a:prstGeom>
          <a:solidFill>
            <a:srgbClr val="C0504D">
              <a:lumMod val="75000"/>
            </a:srgbClr>
          </a:solidFill>
          <a:ln w="6350">
            <a:solidFill>
              <a:sysClr val="window" lastClr="FFFFFF"/>
            </a:solidFill>
            <a:miter lim="800000"/>
            <a:headEnd/>
            <a:tailEnd/>
          </a:ln>
        </p:spPr>
        <p:txBody>
          <a:bodyPr lIns="0" tIns="0" rIns="0" bIns="0" anchor="ctr"/>
          <a:lstStyle/>
          <a:p>
            <a:pPr algn="ctr">
              <a:lnSpc>
                <a:spcPts val="536"/>
              </a:lnSpc>
              <a:defRPr/>
            </a:pPr>
            <a:r>
              <a:rPr lang="fr-FR" sz="600" kern="0" dirty="0">
                <a:solidFill>
                  <a:srgbClr val="FFFFFF"/>
                </a:solidFill>
                <a:latin typeface="Calibri" pitchFamily="34" charset="0"/>
                <a:cs typeface="Calibri" pitchFamily="34" charset="0"/>
              </a:rPr>
              <a:t>B</a:t>
            </a:r>
            <a:r>
              <a:rPr lang="fr-FR" sz="600" kern="0" dirty="0" err="1">
                <a:solidFill>
                  <a:srgbClr val="FFFFFF"/>
                </a:solidFill>
                <a:latin typeface="Calibri" pitchFamily="34" charset="0"/>
                <a:cs typeface="Calibri" pitchFamily="34" charset="0"/>
              </a:rPr>
              <a:t>usiness</a:t>
            </a:r>
            <a:r>
              <a:rPr lang="fr-FR" sz="600" kern="0" dirty="0">
                <a:solidFill>
                  <a:srgbClr val="FFFFFF"/>
                </a:solidFill>
                <a:latin typeface="Calibri" pitchFamily="34" charset="0"/>
                <a:cs typeface="Calibri" pitchFamily="34" charset="0"/>
              </a:rPr>
              <a:t>  </a:t>
            </a:r>
            <a:r>
              <a:rPr lang="fr-FR" sz="600" kern="0" dirty="0" err="1">
                <a:solidFill>
                  <a:srgbClr val="FFFFFF"/>
                </a:solidFill>
                <a:latin typeface="Calibri" pitchFamily="34" charset="0"/>
                <a:cs typeface="Calibri" pitchFamily="34" charset="0"/>
              </a:rPr>
              <a:t>Integration</a:t>
            </a:r>
            <a:r>
              <a:rPr lang="fr-FR" sz="600" kern="0" dirty="0">
                <a:solidFill>
                  <a:srgbClr val="FFFFFF"/>
                </a:solidFill>
                <a:latin typeface="Calibri" pitchFamily="34" charset="0"/>
                <a:cs typeface="Calibri" pitchFamily="34" charset="0"/>
              </a:rPr>
              <a:t> Layer - ONE</a:t>
            </a:r>
          </a:p>
        </p:txBody>
      </p:sp>
      <p:sp>
        <p:nvSpPr>
          <p:cNvPr id="60" name="ZoneTexte 33"/>
          <p:cNvSpPr txBox="1">
            <a:spLocks noChangeArrowheads="1"/>
          </p:cNvSpPr>
          <p:nvPr/>
        </p:nvSpPr>
        <p:spPr bwMode="auto">
          <a:xfrm>
            <a:off x="964287" y="3001216"/>
            <a:ext cx="111761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a:r>
              <a:rPr lang="fr-FR" sz="1350" dirty="0"/>
              <a:t>Financial</a:t>
            </a:r>
          </a:p>
          <a:p>
            <a:pPr algn="ctr"/>
            <a:r>
              <a:rPr lang="fr-FR" sz="1350" dirty="0"/>
              <a:t>Applications</a:t>
            </a:r>
          </a:p>
        </p:txBody>
      </p:sp>
      <p:cxnSp>
        <p:nvCxnSpPr>
          <p:cNvPr id="61" name="Connecteur droit avec flèche 60"/>
          <p:cNvCxnSpPr>
            <a:cxnSpLocks/>
            <a:stCxn id="52" idx="2"/>
          </p:cNvCxnSpPr>
          <p:nvPr/>
        </p:nvCxnSpPr>
        <p:spPr>
          <a:xfrm>
            <a:off x="5207833" y="1304867"/>
            <a:ext cx="0" cy="35477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 name="Connecteur droit avec flèche 61"/>
          <p:cNvCxnSpPr>
            <a:cxnSpLocks/>
            <a:stCxn id="59" idx="2"/>
            <a:endCxn id="47" idx="0"/>
          </p:cNvCxnSpPr>
          <p:nvPr/>
        </p:nvCxnSpPr>
        <p:spPr>
          <a:xfrm>
            <a:off x="5250096" y="1952942"/>
            <a:ext cx="616253" cy="36909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3" name="Connecteur droit avec flèche 62"/>
          <p:cNvCxnSpPr>
            <a:cxnSpLocks/>
            <a:endCxn id="45" idx="0"/>
          </p:cNvCxnSpPr>
          <p:nvPr/>
        </p:nvCxnSpPr>
        <p:spPr>
          <a:xfrm flipH="1">
            <a:off x="4771125" y="1952942"/>
            <a:ext cx="366267" cy="38576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4" name="Connecteur droit avec flèche 63"/>
          <p:cNvCxnSpPr>
            <a:cxnSpLocks/>
            <a:endCxn id="45" idx="1"/>
          </p:cNvCxnSpPr>
          <p:nvPr/>
        </p:nvCxnSpPr>
        <p:spPr>
          <a:xfrm>
            <a:off x="3873838" y="2483411"/>
            <a:ext cx="531019" cy="30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5" name="Rectangle 64"/>
          <p:cNvSpPr>
            <a:spLocks noChangeArrowheads="1"/>
          </p:cNvSpPr>
          <p:nvPr/>
        </p:nvSpPr>
        <p:spPr bwMode="gray">
          <a:xfrm>
            <a:off x="3095170" y="1659643"/>
            <a:ext cx="808434" cy="327441"/>
          </a:xfrm>
          <a:prstGeom prst="rect">
            <a:avLst/>
          </a:prstGeom>
          <a:solidFill>
            <a:srgbClr val="C0504D">
              <a:lumMod val="75000"/>
            </a:srgbClr>
          </a:solidFill>
          <a:ln w="6350">
            <a:solidFill>
              <a:sysClr val="window" lastClr="FFFFFF"/>
            </a:solidFill>
            <a:miter lim="800000"/>
            <a:headEnd/>
            <a:tailEnd/>
          </a:ln>
        </p:spPr>
        <p:txBody>
          <a:bodyPr lIns="0" tIns="0" rIns="0" bIns="0" anchor="ctr"/>
          <a:lstStyle/>
          <a:p>
            <a:pPr algn="ctr">
              <a:lnSpc>
                <a:spcPts val="536"/>
              </a:lnSpc>
              <a:defRPr/>
            </a:pPr>
            <a:r>
              <a:rPr lang="fr-FR" sz="600" kern="0" dirty="0" err="1">
                <a:solidFill>
                  <a:srgbClr val="FFFFFF"/>
                </a:solidFill>
                <a:latin typeface="Calibri" pitchFamily="34" charset="0"/>
                <a:cs typeface="Calibri" pitchFamily="34" charset="0"/>
              </a:rPr>
              <a:t>Mediatio</a:t>
            </a:r>
            <a:r>
              <a:rPr lang="fr-FR" sz="600" kern="0" dirty="0">
                <a:solidFill>
                  <a:srgbClr val="FFFFFF"/>
                </a:solidFill>
                <a:latin typeface="Calibri" pitchFamily="34" charset="0"/>
                <a:cs typeface="Calibri" pitchFamily="34" charset="0"/>
              </a:rPr>
              <a:t>n Layer - </a:t>
            </a:r>
            <a:r>
              <a:rPr lang="fr-FR" sz="600" kern="0" dirty="0" err="1">
                <a:solidFill>
                  <a:srgbClr val="FFFFFF"/>
                </a:solidFill>
                <a:latin typeface="Calibri" pitchFamily="34" charset="0"/>
                <a:cs typeface="Calibri" pitchFamily="34" charset="0"/>
              </a:rPr>
              <a:t>Mediation</a:t>
            </a:r>
            <a:endParaRPr lang="fr-FR" sz="600" kern="0" dirty="0">
              <a:solidFill>
                <a:srgbClr val="FFFFFF"/>
              </a:solidFill>
              <a:latin typeface="Calibri" pitchFamily="34" charset="0"/>
              <a:cs typeface="Calibri" pitchFamily="34" charset="0"/>
            </a:endParaRPr>
          </a:p>
        </p:txBody>
      </p:sp>
      <p:cxnSp>
        <p:nvCxnSpPr>
          <p:cNvPr id="66" name="Connecteur droit avec flèche 65"/>
          <p:cNvCxnSpPr>
            <a:cxnSpLocks/>
            <a:endCxn id="65" idx="0"/>
          </p:cNvCxnSpPr>
          <p:nvPr/>
        </p:nvCxnSpPr>
        <p:spPr>
          <a:xfrm>
            <a:off x="3492839" y="1304867"/>
            <a:ext cx="6548" cy="35477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7" name="Connecteur droit avec flèche 66"/>
          <p:cNvCxnSpPr>
            <a:cxnSpLocks/>
            <a:stCxn id="65" idx="2"/>
            <a:endCxn id="45" idx="0"/>
          </p:cNvCxnSpPr>
          <p:nvPr/>
        </p:nvCxnSpPr>
        <p:spPr>
          <a:xfrm>
            <a:off x="3499387" y="1987084"/>
            <a:ext cx="1271738" cy="35161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8" name="Connecteur droit avec flèche 67"/>
          <p:cNvCxnSpPr>
            <a:cxnSpLocks/>
            <a:stCxn id="45" idx="1"/>
          </p:cNvCxnSpPr>
          <p:nvPr/>
        </p:nvCxnSpPr>
        <p:spPr>
          <a:xfrm flipH="1">
            <a:off x="3715200" y="2514366"/>
            <a:ext cx="689657" cy="6268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9" name="Connecteur droit avec flèche 68"/>
          <p:cNvCxnSpPr>
            <a:stCxn id="49" idx="2"/>
            <a:endCxn id="50" idx="0"/>
          </p:cNvCxnSpPr>
          <p:nvPr/>
        </p:nvCxnSpPr>
        <p:spPr>
          <a:xfrm>
            <a:off x="3866696" y="3465575"/>
            <a:ext cx="5169" cy="17255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Connecteur droit avec flèche 69"/>
          <p:cNvCxnSpPr>
            <a:stCxn id="47" idx="1"/>
            <a:endCxn id="49" idx="0"/>
          </p:cNvCxnSpPr>
          <p:nvPr/>
        </p:nvCxnSpPr>
        <p:spPr>
          <a:xfrm flipH="1">
            <a:off x="3866696" y="2499876"/>
            <a:ext cx="1529951" cy="64131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1" name="Connecteur droit avec flèche 70"/>
          <p:cNvCxnSpPr>
            <a:cxnSpLocks/>
            <a:stCxn id="46" idx="1"/>
          </p:cNvCxnSpPr>
          <p:nvPr/>
        </p:nvCxnSpPr>
        <p:spPr>
          <a:xfrm flipH="1">
            <a:off x="4119405" y="2506033"/>
            <a:ext cx="2579786" cy="63515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Connecteur droit avec flèche 71"/>
          <p:cNvCxnSpPr>
            <a:cxnSpLocks/>
          </p:cNvCxnSpPr>
          <p:nvPr/>
        </p:nvCxnSpPr>
        <p:spPr>
          <a:xfrm flipH="1">
            <a:off x="6447588" y="2726218"/>
            <a:ext cx="680412" cy="13016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Connecteur droit avec flèche 72"/>
          <p:cNvCxnSpPr>
            <a:cxnSpLocks/>
            <a:stCxn id="47" idx="2"/>
            <a:endCxn id="51" idx="0"/>
          </p:cNvCxnSpPr>
          <p:nvPr/>
        </p:nvCxnSpPr>
        <p:spPr>
          <a:xfrm>
            <a:off x="5866349" y="2677716"/>
            <a:ext cx="448866" cy="13501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Connecteur droit avec flèche 73"/>
          <p:cNvCxnSpPr>
            <a:cxnSpLocks/>
            <a:stCxn id="45" idx="2"/>
          </p:cNvCxnSpPr>
          <p:nvPr/>
        </p:nvCxnSpPr>
        <p:spPr>
          <a:xfrm>
            <a:off x="4771125" y="2690029"/>
            <a:ext cx="1418097" cy="133783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Connecteur droit 74"/>
          <p:cNvCxnSpPr>
            <a:cxnSpLocks/>
          </p:cNvCxnSpPr>
          <p:nvPr/>
        </p:nvCxnSpPr>
        <p:spPr>
          <a:xfrm>
            <a:off x="697155" y="2191125"/>
            <a:ext cx="7021245"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6" name="Connecteur droit 75"/>
          <p:cNvCxnSpPr>
            <a:cxnSpLocks/>
          </p:cNvCxnSpPr>
          <p:nvPr/>
        </p:nvCxnSpPr>
        <p:spPr>
          <a:xfrm>
            <a:off x="691963" y="2893203"/>
            <a:ext cx="7128126"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7" name="Connecteur droit 76"/>
          <p:cNvCxnSpPr/>
          <p:nvPr/>
        </p:nvCxnSpPr>
        <p:spPr>
          <a:xfrm>
            <a:off x="2443945" y="746301"/>
            <a:ext cx="0" cy="3969544"/>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8" name="Connecteur droit 77"/>
          <p:cNvCxnSpPr>
            <a:cxnSpLocks/>
          </p:cNvCxnSpPr>
          <p:nvPr/>
        </p:nvCxnSpPr>
        <p:spPr>
          <a:xfrm>
            <a:off x="697155" y="1543053"/>
            <a:ext cx="7021245"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9" name="ZoneTexte 32"/>
          <p:cNvSpPr txBox="1">
            <a:spLocks noChangeArrowheads="1"/>
          </p:cNvSpPr>
          <p:nvPr/>
        </p:nvSpPr>
        <p:spPr bwMode="auto">
          <a:xfrm>
            <a:off x="768485" y="2299138"/>
            <a:ext cx="167546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a:r>
              <a:rPr lang="fr-FR" sz="1350" dirty="0" err="1"/>
              <a:t>Loan</a:t>
            </a:r>
            <a:r>
              <a:rPr lang="fr-FR" sz="1350" dirty="0"/>
              <a:t> Management </a:t>
            </a:r>
          </a:p>
          <a:p>
            <a:pPr algn="ctr"/>
            <a:r>
              <a:rPr lang="fr-FR" sz="1350" dirty="0"/>
              <a:t>Applications</a:t>
            </a:r>
          </a:p>
        </p:txBody>
      </p:sp>
      <p:sp>
        <p:nvSpPr>
          <p:cNvPr id="80" name="ZoneTexte 34"/>
          <p:cNvSpPr txBox="1">
            <a:spLocks noChangeArrowheads="1"/>
          </p:cNvSpPr>
          <p:nvPr/>
        </p:nvSpPr>
        <p:spPr bwMode="auto">
          <a:xfrm>
            <a:off x="669609" y="3973324"/>
            <a:ext cx="181011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a:r>
              <a:rPr lang="fr-FR" sz="1350"/>
              <a:t>Business Intelligence</a:t>
            </a:r>
          </a:p>
          <a:p>
            <a:pPr algn="ctr"/>
            <a:r>
              <a:rPr lang="fr-FR" sz="1350"/>
              <a:t>Applications</a:t>
            </a:r>
          </a:p>
        </p:txBody>
      </p:sp>
      <p:sp>
        <p:nvSpPr>
          <p:cNvPr id="99" name="Rectangle 98"/>
          <p:cNvSpPr/>
          <p:nvPr/>
        </p:nvSpPr>
        <p:spPr>
          <a:xfrm>
            <a:off x="8731201" y="4892078"/>
            <a:ext cx="312906" cy="230832"/>
          </a:xfrm>
          <a:prstGeom prst="rect">
            <a:avLst/>
          </a:prstGeom>
        </p:spPr>
        <p:txBody>
          <a:bodyPr wrap="none">
            <a:spAutoFit/>
          </a:bodyPr>
          <a:lstStyle/>
          <a:p>
            <a:r>
              <a:rPr lang="fr-FR" sz="900" b="1" dirty="0">
                <a:solidFill>
                  <a:schemeClr val="bg1"/>
                </a:solidFill>
              </a:rPr>
              <a:t>55</a:t>
            </a:r>
          </a:p>
        </p:txBody>
      </p:sp>
    </p:spTree>
    <p:extLst>
      <p:ext uri="{BB962C8B-B14F-4D97-AF65-F5344CB8AC3E}">
        <p14:creationId xmlns:p14="http://schemas.microsoft.com/office/powerpoint/2010/main" val="190612302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544332" y="213351"/>
            <a:ext cx="7997742" cy="82459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200" b="1" kern="1200">
                <a:solidFill>
                  <a:schemeClr val="bg2"/>
                </a:solidFill>
                <a:latin typeface="+mj-lt"/>
                <a:ea typeface="+mj-ea"/>
                <a:cs typeface="+mj-cs"/>
              </a:defRPr>
            </a:lvl1pPr>
          </a:lstStyle>
          <a:p>
            <a:r>
              <a:rPr lang="en-US" dirty="0">
                <a:solidFill>
                  <a:prstClr val="black"/>
                </a:solidFill>
              </a:rPr>
              <a:t>CACF IT System - SYPRETS  Security aspects </a:t>
            </a:r>
          </a:p>
        </p:txBody>
      </p:sp>
      <p:sp>
        <p:nvSpPr>
          <p:cNvPr id="7" name="Text Box 3"/>
          <p:cNvSpPr txBox="1">
            <a:spLocks noChangeArrowheads="1"/>
          </p:cNvSpPr>
          <p:nvPr/>
        </p:nvSpPr>
        <p:spPr bwMode="auto">
          <a:xfrm>
            <a:off x="507145" y="676194"/>
            <a:ext cx="6162595" cy="4366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just">
              <a:spcBef>
                <a:spcPct val="50000"/>
              </a:spcBef>
              <a:buClr>
                <a:srgbClr val="000000"/>
              </a:buClr>
              <a:buSzPct val="120000"/>
              <a:buBlip>
                <a:blip r:embed="rId2"/>
              </a:buBlip>
              <a:defRPr/>
            </a:pPr>
            <a:r>
              <a:rPr lang="en-US" sz="1100" dirty="0">
                <a:solidFill>
                  <a:srgbClr val="000000"/>
                </a:solidFill>
                <a:cs typeface="Arial" charset="0"/>
              </a:rPr>
              <a:t>The </a:t>
            </a:r>
            <a:r>
              <a:rPr lang="en-US" sz="1100" dirty="0" err="1">
                <a:solidFill>
                  <a:srgbClr val="000000"/>
                </a:solidFill>
                <a:cs typeface="Arial" charset="0"/>
              </a:rPr>
              <a:t>Syprets</a:t>
            </a:r>
            <a:r>
              <a:rPr lang="en-US" sz="1100" dirty="0">
                <a:solidFill>
                  <a:srgbClr val="000000"/>
                </a:solidFill>
                <a:cs typeface="Arial" charset="0"/>
              </a:rPr>
              <a:t> application is an IBM mainframe application</a:t>
            </a:r>
          </a:p>
          <a:p>
            <a:pPr algn="just">
              <a:spcBef>
                <a:spcPct val="50000"/>
              </a:spcBef>
              <a:buClr>
                <a:srgbClr val="000000"/>
              </a:buClr>
              <a:buSzPct val="120000"/>
              <a:buBlip>
                <a:blip r:embed="rId2"/>
              </a:buBlip>
              <a:defRPr/>
            </a:pPr>
            <a:endParaRPr lang="en-US" sz="1100" dirty="0">
              <a:solidFill>
                <a:srgbClr val="000000"/>
              </a:solidFill>
              <a:cs typeface="Arial" charset="0"/>
            </a:endParaRPr>
          </a:p>
          <a:p>
            <a:pPr algn="just">
              <a:spcBef>
                <a:spcPct val="50000"/>
              </a:spcBef>
              <a:buClr>
                <a:srgbClr val="000000"/>
              </a:buClr>
              <a:buSzPct val="120000"/>
              <a:buBlip>
                <a:blip r:embed="rId2"/>
              </a:buBlip>
              <a:defRPr/>
            </a:pPr>
            <a:r>
              <a:rPr lang="en-US" sz="1100" dirty="0">
                <a:solidFill>
                  <a:srgbClr val="000000"/>
                </a:solidFill>
                <a:cs typeface="Arial" charset="0"/>
              </a:rPr>
              <a:t> </a:t>
            </a:r>
            <a:r>
              <a:rPr lang="en-US" sz="1100" dirty="0" err="1">
                <a:solidFill>
                  <a:srgbClr val="000000"/>
                </a:solidFill>
                <a:cs typeface="Arial" charset="0"/>
              </a:rPr>
              <a:t>Syprets</a:t>
            </a:r>
            <a:r>
              <a:rPr lang="en-US" sz="1100" dirty="0">
                <a:solidFill>
                  <a:srgbClr val="000000"/>
                </a:solidFill>
                <a:cs typeface="Arial" charset="0"/>
              </a:rPr>
              <a:t> Infrastructure consists in four Mainframes IBM Z10-716 computers maintained by SILCA (Credit </a:t>
            </a:r>
            <a:r>
              <a:rPr lang="en-US" sz="1100" dirty="0" err="1">
                <a:solidFill>
                  <a:srgbClr val="000000"/>
                </a:solidFill>
                <a:cs typeface="Arial" charset="0"/>
              </a:rPr>
              <a:t>Agricole</a:t>
            </a:r>
            <a:r>
              <a:rPr lang="en-US" sz="1100" dirty="0">
                <a:solidFill>
                  <a:srgbClr val="000000"/>
                </a:solidFill>
                <a:cs typeface="Arial" charset="0"/>
              </a:rPr>
              <a:t> Group Infrastructure Subsidiary), in 3 separated and distant datacenters of Credit </a:t>
            </a:r>
            <a:r>
              <a:rPr lang="en-US" sz="1100" dirty="0" err="1">
                <a:solidFill>
                  <a:srgbClr val="000000"/>
                </a:solidFill>
                <a:cs typeface="Arial" charset="0"/>
              </a:rPr>
              <a:t>Agricole</a:t>
            </a:r>
            <a:r>
              <a:rPr lang="en-US" sz="1100" dirty="0">
                <a:solidFill>
                  <a:srgbClr val="000000"/>
                </a:solidFill>
                <a:cs typeface="Arial" charset="0"/>
              </a:rPr>
              <a:t> Group </a:t>
            </a:r>
          </a:p>
          <a:p>
            <a:pPr algn="just">
              <a:spcBef>
                <a:spcPct val="50000"/>
              </a:spcBef>
              <a:buClr>
                <a:srgbClr val="000000"/>
              </a:buClr>
              <a:buSzPct val="120000"/>
              <a:defRPr/>
            </a:pPr>
            <a:endParaRPr lang="en-US" sz="1100" dirty="0">
              <a:solidFill>
                <a:srgbClr val="000000"/>
              </a:solidFill>
              <a:cs typeface="Arial" charset="0"/>
            </a:endParaRPr>
          </a:p>
          <a:p>
            <a:pPr algn="just">
              <a:spcBef>
                <a:spcPct val="50000"/>
              </a:spcBef>
              <a:buClr>
                <a:srgbClr val="000000"/>
              </a:buClr>
              <a:buSzPct val="120000"/>
              <a:buBlip>
                <a:blip r:embed="rId2"/>
              </a:buBlip>
              <a:defRPr/>
            </a:pPr>
            <a:r>
              <a:rPr lang="en-US" sz="1100" dirty="0">
                <a:solidFill>
                  <a:srgbClr val="000000"/>
                </a:solidFill>
                <a:cs typeface="Arial" charset="0"/>
              </a:rPr>
              <a:t> </a:t>
            </a:r>
            <a:r>
              <a:rPr lang="en-US" sz="1100" dirty="0" err="1">
                <a:solidFill>
                  <a:srgbClr val="000000"/>
                </a:solidFill>
                <a:cs typeface="Arial" charset="0"/>
              </a:rPr>
              <a:t>Datas</a:t>
            </a:r>
            <a:r>
              <a:rPr lang="en-US" sz="1100" dirty="0">
                <a:solidFill>
                  <a:srgbClr val="000000"/>
                </a:solidFill>
                <a:cs typeface="Arial" charset="0"/>
              </a:rPr>
              <a:t> are replicated in 2 remote disk arrays </a:t>
            </a:r>
          </a:p>
          <a:p>
            <a:pPr algn="just">
              <a:spcBef>
                <a:spcPct val="50000"/>
              </a:spcBef>
              <a:buClr>
                <a:srgbClr val="000000"/>
              </a:buClr>
              <a:buSzPct val="120000"/>
              <a:buBlip>
                <a:blip r:embed="rId2"/>
              </a:buBlip>
              <a:defRPr/>
            </a:pPr>
            <a:endParaRPr lang="en-US" sz="1100" dirty="0">
              <a:solidFill>
                <a:srgbClr val="000000"/>
              </a:solidFill>
              <a:cs typeface="Arial" charset="0"/>
            </a:endParaRPr>
          </a:p>
          <a:p>
            <a:pPr algn="just">
              <a:spcBef>
                <a:spcPct val="50000"/>
              </a:spcBef>
              <a:buClr>
                <a:srgbClr val="000000"/>
              </a:buClr>
              <a:buSzPct val="120000"/>
              <a:buBlip>
                <a:blip r:embed="rId2"/>
              </a:buBlip>
              <a:defRPr/>
            </a:pPr>
            <a:r>
              <a:rPr lang="en-US" sz="1100" dirty="0">
                <a:solidFill>
                  <a:srgbClr val="000000"/>
                </a:solidFill>
                <a:cs typeface="Arial" charset="0"/>
              </a:rPr>
              <a:t> Back-up: </a:t>
            </a:r>
          </a:p>
          <a:p>
            <a:pPr lvl="1" algn="just">
              <a:spcBef>
                <a:spcPct val="50000"/>
              </a:spcBef>
              <a:buClr>
                <a:srgbClr val="000000"/>
              </a:buClr>
              <a:buSzPct val="120000"/>
              <a:buBlip>
                <a:blip r:embed="rId2"/>
              </a:buBlip>
              <a:defRPr/>
            </a:pPr>
            <a:r>
              <a:rPr lang="en-US" sz="1100" dirty="0">
                <a:solidFill>
                  <a:srgbClr val="000000"/>
                </a:solidFill>
                <a:cs typeface="Arial" charset="0"/>
              </a:rPr>
              <a:t>Backup of all files every week </a:t>
            </a:r>
          </a:p>
          <a:p>
            <a:pPr lvl="1" algn="just">
              <a:spcBef>
                <a:spcPct val="50000"/>
              </a:spcBef>
              <a:buClr>
                <a:srgbClr val="000000"/>
              </a:buClr>
              <a:buSzPct val="120000"/>
              <a:buBlip>
                <a:blip r:embed="rId2"/>
              </a:buBlip>
              <a:defRPr/>
            </a:pPr>
            <a:r>
              <a:rPr lang="en-US" sz="1100" dirty="0">
                <a:solidFill>
                  <a:srgbClr val="000000"/>
                </a:solidFill>
                <a:cs typeface="Arial" charset="0"/>
              </a:rPr>
              <a:t>Back-up of DB2 databases: </a:t>
            </a:r>
          </a:p>
          <a:p>
            <a:pPr marL="1200150" lvl="2" indent="-285750" algn="just">
              <a:spcBef>
                <a:spcPct val="50000"/>
              </a:spcBef>
              <a:buClr>
                <a:srgbClr val="000000"/>
              </a:buClr>
              <a:buSzPct val="120000"/>
              <a:buBlip>
                <a:blip r:embed="rId2"/>
              </a:buBlip>
            </a:pPr>
            <a:r>
              <a:rPr lang="en-US" sz="1100" dirty="0">
                <a:solidFill>
                  <a:srgbClr val="000000"/>
                </a:solidFill>
                <a:cs typeface="Arial" charset="0"/>
              </a:rPr>
              <a:t>Full backup of each database on </a:t>
            </a:r>
            <a:r>
              <a:rPr lang="en-US" sz="1100" dirty="0" err="1">
                <a:solidFill>
                  <a:srgbClr val="000000"/>
                </a:solidFill>
                <a:cs typeface="Arial" charset="0"/>
              </a:rPr>
              <a:t>saturday</a:t>
            </a:r>
            <a:r>
              <a:rPr lang="en-US" sz="1100" dirty="0">
                <a:solidFill>
                  <a:srgbClr val="000000"/>
                </a:solidFill>
                <a:cs typeface="Arial" charset="0"/>
              </a:rPr>
              <a:t> night </a:t>
            </a:r>
          </a:p>
          <a:p>
            <a:pPr marL="1200150" lvl="2" indent="-285750" algn="just">
              <a:spcBef>
                <a:spcPct val="50000"/>
              </a:spcBef>
              <a:buClr>
                <a:srgbClr val="000000"/>
              </a:buClr>
              <a:buSzPct val="120000"/>
              <a:buBlip>
                <a:blip r:embed="rId2"/>
              </a:buBlip>
            </a:pPr>
            <a:r>
              <a:rPr lang="en-US" sz="1100" dirty="0">
                <a:solidFill>
                  <a:srgbClr val="000000"/>
                </a:solidFill>
                <a:cs typeface="Arial" charset="0"/>
              </a:rPr>
              <a:t>Incremental backups every evening from Monday to Friday </a:t>
            </a:r>
          </a:p>
          <a:p>
            <a:pPr marL="1200150" lvl="2" indent="-285750" algn="just">
              <a:spcBef>
                <a:spcPct val="50000"/>
              </a:spcBef>
              <a:buClr>
                <a:srgbClr val="000000"/>
              </a:buClr>
              <a:buSzPct val="120000"/>
              <a:buBlip>
                <a:blip r:embed="rId2"/>
              </a:buBlip>
            </a:pPr>
            <a:r>
              <a:rPr lang="en-US" sz="1100" dirty="0">
                <a:solidFill>
                  <a:srgbClr val="000000"/>
                </a:solidFill>
                <a:cs typeface="Arial" charset="0"/>
              </a:rPr>
              <a:t>Incremental backups and logging are made on disk </a:t>
            </a:r>
          </a:p>
          <a:p>
            <a:pPr lvl="1" algn="just">
              <a:spcBef>
                <a:spcPct val="50000"/>
              </a:spcBef>
              <a:buClr>
                <a:srgbClr val="000000"/>
              </a:buClr>
              <a:buSzPct val="120000"/>
              <a:buBlip>
                <a:blip r:embed="rId2"/>
              </a:buBlip>
              <a:defRPr/>
            </a:pPr>
            <a:r>
              <a:rPr lang="en-US" sz="1100" dirty="0">
                <a:solidFill>
                  <a:srgbClr val="000000"/>
                </a:solidFill>
                <a:cs typeface="Arial" charset="0"/>
              </a:rPr>
              <a:t>Full backups are cloned, then stored on physical </a:t>
            </a:r>
            <a:r>
              <a:rPr lang="en-US" sz="1100" dirty="0" err="1">
                <a:solidFill>
                  <a:srgbClr val="000000"/>
                </a:solidFill>
                <a:cs typeface="Arial" charset="0"/>
              </a:rPr>
              <a:t>cartdridges</a:t>
            </a:r>
            <a:endParaRPr lang="en-US" sz="1100" dirty="0">
              <a:solidFill>
                <a:srgbClr val="000000"/>
              </a:solidFill>
              <a:cs typeface="Arial" charset="0"/>
            </a:endParaRPr>
          </a:p>
          <a:p>
            <a:pPr lvl="1" algn="just">
              <a:spcBef>
                <a:spcPct val="50000"/>
              </a:spcBef>
              <a:buClr>
                <a:srgbClr val="000000"/>
              </a:buClr>
              <a:buSzPct val="120000"/>
              <a:buBlip>
                <a:blip r:embed="rId2"/>
              </a:buBlip>
              <a:defRPr/>
            </a:pPr>
            <a:r>
              <a:rPr lang="en-US" sz="1100" dirty="0">
                <a:solidFill>
                  <a:srgbClr val="000000"/>
                </a:solidFill>
                <a:cs typeface="Arial" charset="0"/>
              </a:rPr>
              <a:t>The estimated time to restore the database (DB2) based on back-ups is 4h. </a:t>
            </a:r>
          </a:p>
          <a:p>
            <a:pPr lvl="1" algn="just">
              <a:spcBef>
                <a:spcPct val="50000"/>
              </a:spcBef>
              <a:buClr>
                <a:srgbClr val="000000"/>
              </a:buClr>
              <a:buSzPct val="120000"/>
              <a:buBlip>
                <a:blip r:embed="rId2"/>
              </a:buBlip>
              <a:defRPr/>
            </a:pPr>
            <a:r>
              <a:rPr lang="en-US" sz="1100" dirty="0">
                <a:solidFill>
                  <a:srgbClr val="000000"/>
                </a:solidFill>
                <a:cs typeface="Arial" charset="0"/>
              </a:rPr>
              <a:t>One annual business continuity plan test</a:t>
            </a:r>
          </a:p>
          <a:p>
            <a:pPr algn="just">
              <a:spcBef>
                <a:spcPct val="50000"/>
              </a:spcBef>
              <a:buClr>
                <a:srgbClr val="000000"/>
              </a:buClr>
              <a:buSzPct val="120000"/>
              <a:buFontTx/>
              <a:buBlip>
                <a:blip r:embed="rId2"/>
              </a:buBlip>
            </a:pPr>
            <a:endParaRPr lang="en-US" sz="1000" b="1" dirty="0">
              <a:solidFill>
                <a:srgbClr val="000000"/>
              </a:solidFill>
              <a:cs typeface="Arial" charset="0"/>
            </a:endParaRPr>
          </a:p>
        </p:txBody>
      </p:sp>
      <p:sp>
        <p:nvSpPr>
          <p:cNvPr id="9" name="Rectangle 8"/>
          <p:cNvSpPr/>
          <p:nvPr/>
        </p:nvSpPr>
        <p:spPr>
          <a:xfrm>
            <a:off x="8723517" y="4869026"/>
            <a:ext cx="312906" cy="230832"/>
          </a:xfrm>
          <a:prstGeom prst="rect">
            <a:avLst/>
          </a:prstGeom>
        </p:spPr>
        <p:txBody>
          <a:bodyPr wrap="none">
            <a:spAutoFit/>
          </a:bodyPr>
          <a:lstStyle/>
          <a:p>
            <a:r>
              <a:rPr lang="fr-FR" sz="900" b="1" dirty="0">
                <a:solidFill>
                  <a:schemeClr val="bg1"/>
                </a:solidFill>
              </a:rPr>
              <a:t>56</a:t>
            </a:r>
          </a:p>
        </p:txBody>
      </p:sp>
    </p:spTree>
    <p:extLst>
      <p:ext uri="{BB962C8B-B14F-4D97-AF65-F5344CB8AC3E}">
        <p14:creationId xmlns:p14="http://schemas.microsoft.com/office/powerpoint/2010/main" val="38400060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97183" y="1724722"/>
            <a:ext cx="3793351" cy="1694054"/>
          </a:xfrm>
        </p:spPr>
        <p:txBody>
          <a:bodyPr/>
          <a:lstStyle/>
          <a:p>
            <a:r>
              <a:rPr lang="en-US" sz="2400" dirty="0"/>
              <a:t>8. Environmental, Social, And Governance</a:t>
            </a:r>
            <a:endParaRPr lang="en-US" dirty="0"/>
          </a:p>
        </p:txBody>
      </p:sp>
      <p:sp>
        <p:nvSpPr>
          <p:cNvPr id="3" name="Slide Number Placeholder 2"/>
          <p:cNvSpPr>
            <a:spLocks noGrp="1"/>
          </p:cNvSpPr>
          <p:nvPr>
            <p:ph type="sldNum" sz="quarter" idx="19"/>
          </p:nvPr>
        </p:nvSpPr>
        <p:spPr/>
        <p:txBody>
          <a:bodyPr/>
          <a:lstStyle/>
          <a:p>
            <a:fld id="{98BD2159-827C-4021-9B0E-DCD852BEB59E}" type="slidenum">
              <a:rPr lang="en-GB" smtClean="0"/>
              <a:pPr/>
              <a:t>68</a:t>
            </a:fld>
            <a:endParaRPr lang="en-GB" dirty="0"/>
          </a:p>
        </p:txBody>
      </p:sp>
    </p:spTree>
    <p:extLst>
      <p:ext uri="{BB962C8B-B14F-4D97-AF65-F5344CB8AC3E}">
        <p14:creationId xmlns:p14="http://schemas.microsoft.com/office/powerpoint/2010/main" val="315817282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54" name="Groupe 53">
            <a:extLst>
              <a:ext uri="{FF2B5EF4-FFF2-40B4-BE49-F238E27FC236}">
                <a16:creationId xmlns:a16="http://schemas.microsoft.com/office/drawing/2014/main" id="{AA3F9918-FA5B-6361-0963-F8A9B73298F3}"/>
              </a:ext>
            </a:extLst>
          </p:cNvPr>
          <p:cNvGrpSpPr/>
          <p:nvPr/>
        </p:nvGrpSpPr>
        <p:grpSpPr>
          <a:xfrm>
            <a:off x="541580" y="793705"/>
            <a:ext cx="8201025" cy="3283405"/>
            <a:chOff x="2473284" y="1718224"/>
            <a:chExt cx="9332110" cy="1531264"/>
          </a:xfrm>
        </p:grpSpPr>
        <p:sp>
          <p:nvSpPr>
            <p:cNvPr id="46" name="Rectangle 45">
              <a:extLst>
                <a:ext uri="{FF2B5EF4-FFF2-40B4-BE49-F238E27FC236}">
                  <a16:creationId xmlns:a16="http://schemas.microsoft.com/office/drawing/2014/main" id="{32F1E520-E7E7-F2CA-62E4-CAFCA68018E4}"/>
                </a:ext>
              </a:extLst>
            </p:cNvPr>
            <p:cNvSpPr/>
            <p:nvPr/>
          </p:nvSpPr>
          <p:spPr>
            <a:xfrm>
              <a:off x="4403309" y="1718224"/>
              <a:ext cx="1634435" cy="1531264"/>
            </a:xfrm>
            <a:prstGeom prst="rect">
              <a:avLst/>
            </a:prstGeom>
            <a:solidFill>
              <a:srgbClr val="7030A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48" name="Rectangle 47">
              <a:extLst>
                <a:ext uri="{FF2B5EF4-FFF2-40B4-BE49-F238E27FC236}">
                  <a16:creationId xmlns:a16="http://schemas.microsoft.com/office/drawing/2014/main" id="{DCC7ACFD-8B08-9812-20D5-81F295967B10}"/>
                </a:ext>
              </a:extLst>
            </p:cNvPr>
            <p:cNvSpPr/>
            <p:nvPr/>
          </p:nvSpPr>
          <p:spPr>
            <a:xfrm>
              <a:off x="6331588" y="1718224"/>
              <a:ext cx="1634435" cy="1531264"/>
            </a:xfrm>
            <a:prstGeom prst="rect">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50" name="Rectangle 49">
              <a:extLst>
                <a:ext uri="{FF2B5EF4-FFF2-40B4-BE49-F238E27FC236}">
                  <a16:creationId xmlns:a16="http://schemas.microsoft.com/office/drawing/2014/main" id="{90AD50A3-D58D-9BA6-7C2E-82F3D551B2D6}"/>
                </a:ext>
              </a:extLst>
            </p:cNvPr>
            <p:cNvSpPr/>
            <p:nvPr/>
          </p:nvSpPr>
          <p:spPr>
            <a:xfrm>
              <a:off x="8247508" y="1718224"/>
              <a:ext cx="1634435" cy="1531264"/>
            </a:xfrm>
            <a:prstGeom prst="rect">
              <a:avLst/>
            </a:prstGeom>
            <a:solidFill>
              <a:srgbClr val="00664B"/>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52" name="Rectangle 51">
              <a:extLst>
                <a:ext uri="{FF2B5EF4-FFF2-40B4-BE49-F238E27FC236}">
                  <a16:creationId xmlns:a16="http://schemas.microsoft.com/office/drawing/2014/main" id="{72117A02-6759-1275-CFFB-E6CBD11736B2}"/>
                </a:ext>
              </a:extLst>
            </p:cNvPr>
            <p:cNvSpPr/>
            <p:nvPr/>
          </p:nvSpPr>
          <p:spPr>
            <a:xfrm>
              <a:off x="10170959" y="1718224"/>
              <a:ext cx="1634435" cy="1531264"/>
            </a:xfrm>
            <a:prstGeom prst="rect">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41" name="Rectangle 40">
              <a:extLst>
                <a:ext uri="{FF2B5EF4-FFF2-40B4-BE49-F238E27FC236}">
                  <a16:creationId xmlns:a16="http://schemas.microsoft.com/office/drawing/2014/main" id="{D512B2E1-B286-64CB-90BD-183A3716250B}"/>
                </a:ext>
              </a:extLst>
            </p:cNvPr>
            <p:cNvSpPr/>
            <p:nvPr/>
          </p:nvSpPr>
          <p:spPr>
            <a:xfrm>
              <a:off x="2473284" y="1718224"/>
              <a:ext cx="1634435" cy="1531264"/>
            </a:xfrm>
            <a:prstGeom prst="rect">
              <a:avLst/>
            </a:prstGeom>
            <a:solidFill>
              <a:srgbClr val="008B9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aphicFrame>
        <p:nvGraphicFramePr>
          <p:cNvPr id="4" name="Objet 3" hidden="1"/>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2097" name="Diapositive think-cell" r:id="rId5" imgW="416" imgH="416" progId="TCLayout.ActiveDocument.1">
                  <p:embed/>
                </p:oleObj>
              </mc:Choice>
              <mc:Fallback>
                <p:oleObj name="Diapositive think-cell" r:id="rId5" imgW="416" imgH="416" progId="TCLayout.ActiveDocument.1">
                  <p:embed/>
                  <p:pic>
                    <p:nvPicPr>
                      <p:cNvPr id="4" name="Objet 3" hidden="1"/>
                      <p:cNvPicPr/>
                      <p:nvPr/>
                    </p:nvPicPr>
                    <p:blipFill>
                      <a:blip r:embed="rId6"/>
                      <a:stretch>
                        <a:fillRect/>
                      </a:stretch>
                    </p:blipFill>
                    <p:spPr>
                      <a:xfrm>
                        <a:off x="1192" y="1192"/>
                        <a:ext cx="1191" cy="1191"/>
                      </a:xfrm>
                      <a:prstGeom prst="rect">
                        <a:avLst/>
                      </a:prstGeom>
                    </p:spPr>
                  </p:pic>
                </p:oleObj>
              </mc:Fallback>
            </mc:AlternateContent>
          </a:graphicData>
        </a:graphic>
      </p:graphicFrame>
      <p:grpSp>
        <p:nvGrpSpPr>
          <p:cNvPr id="2" name="Groupe 1">
            <a:extLst>
              <a:ext uri="{FF2B5EF4-FFF2-40B4-BE49-F238E27FC236}">
                <a16:creationId xmlns:a16="http://schemas.microsoft.com/office/drawing/2014/main" id="{ED8A5615-81A5-C097-6C28-18C917164D12}"/>
              </a:ext>
            </a:extLst>
          </p:cNvPr>
          <p:cNvGrpSpPr/>
          <p:nvPr/>
        </p:nvGrpSpPr>
        <p:grpSpPr>
          <a:xfrm>
            <a:off x="626301" y="1979812"/>
            <a:ext cx="7994662" cy="2262158"/>
            <a:chOff x="769548" y="2650168"/>
            <a:chExt cx="10659549" cy="3016207"/>
          </a:xfrm>
        </p:grpSpPr>
        <p:sp>
          <p:nvSpPr>
            <p:cNvPr id="22" name="ZoneTexte 21">
              <a:extLst>
                <a:ext uri="{FF2B5EF4-FFF2-40B4-BE49-F238E27FC236}">
                  <a16:creationId xmlns:a16="http://schemas.microsoft.com/office/drawing/2014/main" id="{BC1851F8-667F-55D0-E5A6-04E6E2A3164E}"/>
                </a:ext>
              </a:extLst>
            </p:cNvPr>
            <p:cNvSpPr txBox="1"/>
            <p:nvPr/>
          </p:nvSpPr>
          <p:spPr>
            <a:xfrm>
              <a:off x="769548" y="2650168"/>
              <a:ext cx="1642457" cy="20621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457189"/>
              <a:r>
                <a:rPr lang="fr-FR" sz="1050" b="1" dirty="0">
                  <a:solidFill>
                    <a:prstClr val="white"/>
                  </a:solidFill>
                  <a:latin typeface="Arial"/>
                </a:rPr>
                <a:t>We want a just, positive and non- </a:t>
              </a:r>
              <a:r>
                <a:rPr lang="fr-FR" sz="1050" b="1" dirty="0" err="1">
                  <a:solidFill>
                    <a:prstClr val="white"/>
                  </a:solidFill>
                  <a:latin typeface="Arial"/>
                </a:rPr>
                <a:t>guilt</a:t>
              </a:r>
              <a:r>
                <a:rPr lang="fr-FR" sz="1050" b="1" dirty="0">
                  <a:solidFill>
                    <a:prstClr val="white"/>
                  </a:solidFill>
                  <a:latin typeface="Arial"/>
                </a:rPr>
                <a:t> energy and social transition to encourage progressive but powerful movements</a:t>
              </a:r>
            </a:p>
          </p:txBody>
        </p:sp>
        <p:sp>
          <p:nvSpPr>
            <p:cNvPr id="31" name="ZoneTexte 30">
              <a:extLst>
                <a:ext uri="{FF2B5EF4-FFF2-40B4-BE49-F238E27FC236}">
                  <a16:creationId xmlns:a16="http://schemas.microsoft.com/office/drawing/2014/main" id="{866159C8-343B-B5F0-D222-EB77628C0CF5}"/>
                </a:ext>
              </a:extLst>
            </p:cNvPr>
            <p:cNvSpPr txBox="1"/>
            <p:nvPr/>
          </p:nvSpPr>
          <p:spPr>
            <a:xfrm>
              <a:off x="3021224" y="2650168"/>
              <a:ext cx="1620531" cy="120032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457189"/>
              <a:r>
                <a:rPr lang="fr-FR" sz="1050" b="1" dirty="0">
                  <a:solidFill>
                    <a:prstClr val="white"/>
                  </a:solidFill>
                  <a:latin typeface="Arial"/>
                </a:rPr>
                <a:t>We want to be the </a:t>
              </a:r>
              <a:r>
                <a:rPr lang="fr-FR" sz="1050" b="1" dirty="0" err="1">
                  <a:solidFill>
                    <a:prstClr val="white"/>
                  </a:solidFill>
                  <a:latin typeface="Arial"/>
                </a:rPr>
                <a:t>reference</a:t>
              </a:r>
              <a:r>
                <a:rPr lang="fr-FR" sz="1050" b="1" dirty="0">
                  <a:solidFill>
                    <a:prstClr val="white"/>
                  </a:solidFill>
                  <a:latin typeface="Arial"/>
                </a:rPr>
                <a:t> for </a:t>
              </a:r>
              <a:r>
                <a:rPr lang="fr-FR" sz="1050" b="1" dirty="0" err="1">
                  <a:solidFill>
                    <a:prstClr val="white"/>
                  </a:solidFill>
                  <a:latin typeface="Arial"/>
                </a:rPr>
                <a:t>societal</a:t>
              </a:r>
              <a:r>
                <a:rPr lang="fr-FR" sz="1050" b="1" dirty="0">
                  <a:solidFill>
                    <a:prstClr val="white"/>
                  </a:solidFill>
                  <a:latin typeface="Arial"/>
                </a:rPr>
                <a:t> </a:t>
              </a:r>
              <a:r>
                <a:rPr lang="fr-FR" sz="1050" b="1" dirty="0" err="1">
                  <a:solidFill>
                    <a:prstClr val="white"/>
                  </a:solidFill>
                  <a:latin typeface="Arial"/>
                </a:rPr>
                <a:t>commitments</a:t>
              </a:r>
              <a:endParaRPr lang="fr-FR" sz="1050" b="1" dirty="0">
                <a:solidFill>
                  <a:prstClr val="white"/>
                </a:solidFill>
                <a:latin typeface="Arial"/>
              </a:endParaRPr>
            </a:p>
            <a:p>
              <a:pPr algn="ctr" defTabSz="457189"/>
              <a:endParaRPr lang="fr-FR" sz="1050" b="1" dirty="0">
                <a:solidFill>
                  <a:prstClr val="white"/>
                </a:solidFill>
                <a:latin typeface="Arial"/>
              </a:endParaRPr>
            </a:p>
          </p:txBody>
        </p:sp>
        <p:sp>
          <p:nvSpPr>
            <p:cNvPr id="32" name="ZoneTexte 31">
              <a:extLst>
                <a:ext uri="{FF2B5EF4-FFF2-40B4-BE49-F238E27FC236}">
                  <a16:creationId xmlns:a16="http://schemas.microsoft.com/office/drawing/2014/main" id="{481173EA-23C5-AA97-25C5-645918EB38A7}"/>
                </a:ext>
              </a:extLst>
            </p:cNvPr>
            <p:cNvSpPr txBox="1"/>
            <p:nvPr/>
          </p:nvSpPr>
          <p:spPr>
            <a:xfrm>
              <a:off x="5275737" y="2650168"/>
              <a:ext cx="1634435" cy="141577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457189"/>
              <a:r>
                <a:rPr lang="fr-FR" sz="1050" b="1" dirty="0" err="1">
                  <a:solidFill>
                    <a:prstClr val="white"/>
                  </a:solidFill>
                  <a:latin typeface="Arial"/>
                </a:rPr>
                <a:t>We</a:t>
              </a:r>
              <a:r>
                <a:rPr lang="fr-FR" sz="1050" b="1" dirty="0">
                  <a:solidFill>
                    <a:prstClr val="white"/>
                  </a:solidFill>
                  <a:latin typeface="Arial"/>
                </a:rPr>
                <a:t> want to put CSR in the business, in </a:t>
              </a:r>
              <a:r>
                <a:rPr lang="fr-FR" sz="1050" b="1" dirty="0" err="1">
                  <a:solidFill>
                    <a:prstClr val="white"/>
                  </a:solidFill>
                  <a:latin typeface="Arial"/>
                </a:rPr>
                <a:t>coherence</a:t>
              </a:r>
              <a:r>
                <a:rPr lang="fr-FR" sz="1050" b="1" dirty="0">
                  <a:solidFill>
                    <a:prstClr val="white"/>
                  </a:solidFill>
                  <a:latin typeface="Arial"/>
                </a:rPr>
                <a:t> </a:t>
              </a:r>
              <a:r>
                <a:rPr lang="fr-FR" sz="1050" b="1" dirty="0" err="1">
                  <a:solidFill>
                    <a:prstClr val="white"/>
                  </a:solidFill>
                  <a:latin typeface="Arial"/>
                </a:rPr>
                <a:t>with</a:t>
              </a:r>
              <a:r>
                <a:rPr lang="fr-FR" sz="1050" b="1" dirty="0">
                  <a:solidFill>
                    <a:prstClr val="white"/>
                  </a:solidFill>
                  <a:latin typeface="Arial"/>
                </a:rPr>
                <a:t> the </a:t>
              </a:r>
              <a:r>
                <a:rPr lang="fr-FR" sz="1050" b="1" dirty="0" err="1">
                  <a:solidFill>
                    <a:prstClr val="white"/>
                  </a:solidFill>
                  <a:latin typeface="Arial"/>
                </a:rPr>
                <a:t>Group’s</a:t>
              </a:r>
              <a:r>
                <a:rPr lang="fr-FR" sz="1050" b="1" dirty="0">
                  <a:solidFill>
                    <a:prstClr val="white"/>
                  </a:solidFill>
                  <a:latin typeface="Arial"/>
                </a:rPr>
                <a:t> </a:t>
              </a:r>
              <a:r>
                <a:rPr lang="fr-FR" sz="1050" b="1" dirty="0" err="1">
                  <a:solidFill>
                    <a:prstClr val="white"/>
                  </a:solidFill>
                  <a:latin typeface="Arial"/>
                </a:rPr>
                <a:t>societal</a:t>
              </a:r>
              <a:r>
                <a:rPr lang="fr-FR" sz="1050" b="1" dirty="0">
                  <a:solidFill>
                    <a:prstClr val="white"/>
                  </a:solidFill>
                  <a:latin typeface="Arial"/>
                </a:rPr>
                <a:t> </a:t>
              </a:r>
              <a:r>
                <a:rPr lang="fr-FR" sz="1050" b="1" dirty="0" err="1">
                  <a:solidFill>
                    <a:prstClr val="white"/>
                  </a:solidFill>
                  <a:latin typeface="Arial"/>
                </a:rPr>
                <a:t>project</a:t>
              </a:r>
              <a:endParaRPr lang="fr-FR" sz="1050" b="1" dirty="0">
                <a:solidFill>
                  <a:prstClr val="white"/>
                </a:solidFill>
                <a:latin typeface="Arial"/>
              </a:endParaRPr>
            </a:p>
          </p:txBody>
        </p:sp>
        <p:sp>
          <p:nvSpPr>
            <p:cNvPr id="33" name="ZoneTexte 32">
              <a:extLst>
                <a:ext uri="{FF2B5EF4-FFF2-40B4-BE49-F238E27FC236}">
                  <a16:creationId xmlns:a16="http://schemas.microsoft.com/office/drawing/2014/main" id="{CB529ABC-69E9-FA8D-0412-3B1ED5AB011B}"/>
                </a:ext>
              </a:extLst>
            </p:cNvPr>
            <p:cNvSpPr txBox="1"/>
            <p:nvPr/>
          </p:nvSpPr>
          <p:spPr>
            <a:xfrm>
              <a:off x="7386704" y="2650168"/>
              <a:ext cx="1958552" cy="30162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457189"/>
              <a:r>
                <a:rPr lang="fr-FR" sz="1050" b="1" dirty="0">
                  <a:solidFill>
                    <a:prstClr val="white"/>
                  </a:solidFill>
                  <a:latin typeface="Arial"/>
                </a:rPr>
                <a:t>We want to </a:t>
              </a:r>
              <a:r>
                <a:rPr lang="fr-FR" sz="1050" b="1" dirty="0" err="1">
                  <a:solidFill>
                    <a:prstClr val="white"/>
                  </a:solidFill>
                  <a:latin typeface="Arial"/>
                </a:rPr>
                <a:t>make</a:t>
              </a:r>
              <a:r>
                <a:rPr lang="fr-FR" sz="1050" b="1" dirty="0">
                  <a:solidFill>
                    <a:prstClr val="white"/>
                  </a:solidFill>
                  <a:latin typeface="Arial"/>
                </a:rPr>
                <a:t> </a:t>
              </a:r>
              <a:r>
                <a:rPr lang="fr-FR" sz="1050" b="1" dirty="0" err="1">
                  <a:solidFill>
                    <a:prstClr val="white"/>
                  </a:solidFill>
                  <a:latin typeface="Arial"/>
                </a:rPr>
                <a:t>concrete</a:t>
              </a:r>
              <a:r>
                <a:rPr lang="fr-FR" sz="1050" b="1" dirty="0">
                  <a:solidFill>
                    <a:prstClr val="white"/>
                  </a:solidFill>
                  <a:latin typeface="Arial"/>
                </a:rPr>
                <a:t> </a:t>
              </a:r>
              <a:r>
                <a:rPr lang="fr-FR" sz="1050" b="1" dirty="0" err="1">
                  <a:solidFill>
                    <a:prstClr val="white"/>
                  </a:solidFill>
                  <a:latin typeface="Arial"/>
                </a:rPr>
                <a:t>commitments</a:t>
              </a:r>
              <a:r>
                <a:rPr lang="fr-FR" sz="1050" b="1" dirty="0">
                  <a:solidFill>
                    <a:prstClr val="white"/>
                  </a:solidFill>
                  <a:latin typeface="Arial"/>
                </a:rPr>
                <a:t> to:</a:t>
              </a:r>
            </a:p>
            <a:p>
              <a:pPr algn="ctr" defTabSz="457189"/>
              <a:r>
                <a:rPr lang="fr-FR" sz="1050" b="1" dirty="0">
                  <a:solidFill>
                    <a:prstClr val="white"/>
                  </a:solidFill>
                  <a:latin typeface="Arial"/>
                </a:rPr>
                <a:t> </a:t>
              </a:r>
            </a:p>
            <a:p>
              <a:pPr marL="214308" indent="-214308" defTabSz="457189">
                <a:buFontTx/>
                <a:buChar char="-"/>
              </a:pPr>
              <a:r>
                <a:rPr lang="fr-FR" sz="825" b="1" dirty="0">
                  <a:solidFill>
                    <a:prstClr val="white"/>
                  </a:solidFill>
                  <a:latin typeface="Arial"/>
                </a:rPr>
                <a:t>green </a:t>
              </a:r>
              <a:r>
                <a:rPr lang="fr-FR" sz="825" b="1" dirty="0" err="1">
                  <a:solidFill>
                    <a:prstClr val="white"/>
                  </a:solidFill>
                  <a:latin typeface="Arial"/>
                </a:rPr>
                <a:t>mobility</a:t>
              </a:r>
              <a:endParaRPr lang="fr-FR" sz="825" b="1" dirty="0">
                <a:solidFill>
                  <a:prstClr val="white"/>
                </a:solidFill>
                <a:latin typeface="Arial"/>
              </a:endParaRPr>
            </a:p>
            <a:p>
              <a:pPr marL="214308" indent="-214308" defTabSz="457189">
                <a:buFontTx/>
                <a:buChar char="-"/>
              </a:pPr>
              <a:r>
                <a:rPr lang="fr-FR" sz="825" b="1" dirty="0" err="1">
                  <a:solidFill>
                    <a:prstClr val="white"/>
                  </a:solidFill>
                  <a:latin typeface="Arial"/>
                </a:rPr>
                <a:t>energy</a:t>
              </a:r>
              <a:r>
                <a:rPr lang="fr-FR" sz="825" b="1" dirty="0">
                  <a:solidFill>
                    <a:prstClr val="white"/>
                  </a:solidFill>
                  <a:latin typeface="Arial"/>
                </a:rPr>
                <a:t> renovation of </a:t>
              </a:r>
              <a:r>
                <a:rPr lang="fr-FR" sz="825" b="1" dirty="0" err="1">
                  <a:solidFill>
                    <a:prstClr val="white"/>
                  </a:solidFill>
                  <a:latin typeface="Arial"/>
                </a:rPr>
                <a:t>housing</a:t>
              </a:r>
              <a:r>
                <a:rPr lang="fr-FR" sz="825" b="1" dirty="0">
                  <a:solidFill>
                    <a:prstClr val="white"/>
                  </a:solidFill>
                  <a:latin typeface="Arial"/>
                </a:rPr>
                <a:t>,</a:t>
              </a:r>
            </a:p>
            <a:p>
              <a:pPr marL="214308" indent="-214308" defTabSz="457189">
                <a:buFontTx/>
                <a:buChar char="-"/>
              </a:pPr>
              <a:r>
                <a:rPr lang="fr-FR" sz="825" b="1" dirty="0">
                  <a:solidFill>
                    <a:prstClr val="white"/>
                  </a:solidFill>
                  <a:latin typeface="Arial"/>
                </a:rPr>
                <a:t>the circular economy, accessibility for all, </a:t>
              </a:r>
            </a:p>
            <a:p>
              <a:pPr marL="214308" indent="-214308" defTabSz="457189">
                <a:buFontTx/>
                <a:buChar char="-"/>
              </a:pPr>
              <a:r>
                <a:rPr lang="fr-FR" sz="825" b="1" dirty="0">
                  <a:solidFill>
                    <a:prstClr val="white"/>
                  </a:solidFill>
                  <a:latin typeface="Arial"/>
                </a:rPr>
                <a:t>the protection of customers, </a:t>
              </a:r>
            </a:p>
            <a:p>
              <a:pPr marL="214308" indent="-214308" defTabSz="457189">
                <a:buFontTx/>
                <a:buChar char="-"/>
              </a:pPr>
              <a:r>
                <a:rPr lang="fr-FR" sz="825" b="1" dirty="0">
                  <a:solidFill>
                    <a:prstClr val="white"/>
                  </a:solidFill>
                  <a:latin typeface="Arial"/>
                </a:rPr>
                <a:t>equality of opportunity</a:t>
              </a:r>
            </a:p>
            <a:p>
              <a:pPr marL="214308" indent="-214308" defTabSz="457189">
                <a:buFontTx/>
                <a:buChar char="-"/>
              </a:pPr>
              <a:r>
                <a:rPr lang="fr-FR" sz="825" b="1" dirty="0">
                  <a:solidFill>
                    <a:prstClr val="white"/>
                  </a:solidFill>
                  <a:latin typeface="Arial"/>
                </a:rPr>
                <a:t>solidarity within the territories </a:t>
              </a:r>
            </a:p>
          </p:txBody>
        </p:sp>
        <p:sp>
          <p:nvSpPr>
            <p:cNvPr id="34" name="ZoneTexte 33">
              <a:extLst>
                <a:ext uri="{FF2B5EF4-FFF2-40B4-BE49-F238E27FC236}">
                  <a16:creationId xmlns:a16="http://schemas.microsoft.com/office/drawing/2014/main" id="{38BFA643-9E9D-30B9-194F-02D5F5C035C4}"/>
                </a:ext>
              </a:extLst>
            </p:cNvPr>
            <p:cNvSpPr txBox="1"/>
            <p:nvPr/>
          </p:nvSpPr>
          <p:spPr>
            <a:xfrm>
              <a:off x="9782488" y="2698293"/>
              <a:ext cx="1646609" cy="120032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457189"/>
              <a:r>
                <a:rPr lang="fr-FR" sz="1050" b="1" dirty="0">
                  <a:solidFill>
                    <a:prstClr val="white"/>
                  </a:solidFill>
                  <a:latin typeface="Arial"/>
                </a:rPr>
                <a:t>We want to reduce our direct carbon footprint and funding</a:t>
              </a:r>
            </a:p>
          </p:txBody>
        </p:sp>
      </p:grpSp>
      <p:sp>
        <p:nvSpPr>
          <p:cNvPr id="6" name="Titre 1">
            <a:extLst>
              <a:ext uri="{FF2B5EF4-FFF2-40B4-BE49-F238E27FC236}">
                <a16:creationId xmlns:a16="http://schemas.microsoft.com/office/drawing/2014/main" id="{3E45AC0E-388D-B796-2323-01988D79CA99}"/>
              </a:ext>
            </a:extLst>
          </p:cNvPr>
          <p:cNvSpPr txBox="1">
            <a:spLocks/>
          </p:cNvSpPr>
          <p:nvPr/>
        </p:nvSpPr>
        <p:spPr>
          <a:xfrm>
            <a:off x="499281" y="185944"/>
            <a:ext cx="7953158" cy="6093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7E93A5"/>
                </a:solidFill>
                <a:latin typeface="+mj-lt"/>
                <a:ea typeface="+mj-ea"/>
                <a:cs typeface="+mj-cs"/>
                <a:sym typeface="+mj-lt"/>
              </a:defRPr>
            </a:lvl1pPr>
          </a:lstStyle>
          <a:p>
            <a:pPr defTabSz="914378"/>
            <a:r>
              <a:rPr lang="en-US" sz="2200" dirty="0">
                <a:solidFill>
                  <a:prstClr val="black"/>
                </a:solidFill>
                <a:latin typeface="Avenir Next LT Pro"/>
              </a:rPr>
              <a:t>Strategy: Acting for the climate and reinforcing social inclusion</a:t>
            </a:r>
          </a:p>
        </p:txBody>
      </p:sp>
      <p:grpSp>
        <p:nvGrpSpPr>
          <p:cNvPr id="12" name="Graphique 36">
            <a:extLst>
              <a:ext uri="{FF2B5EF4-FFF2-40B4-BE49-F238E27FC236}">
                <a16:creationId xmlns:a16="http://schemas.microsoft.com/office/drawing/2014/main" id="{88685BE2-2501-5464-4565-80B899FADDA0}"/>
              </a:ext>
            </a:extLst>
          </p:cNvPr>
          <p:cNvGrpSpPr/>
          <p:nvPr/>
        </p:nvGrpSpPr>
        <p:grpSpPr>
          <a:xfrm>
            <a:off x="1023676" y="1465809"/>
            <a:ext cx="290177" cy="273964"/>
            <a:chOff x="3852405" y="2530054"/>
            <a:chExt cx="1257731" cy="1348829"/>
          </a:xfrm>
          <a:solidFill>
            <a:schemeClr val="bg1"/>
          </a:solidFill>
        </p:grpSpPr>
        <p:sp>
          <p:nvSpPr>
            <p:cNvPr id="17" name="Forme libre 16">
              <a:extLst>
                <a:ext uri="{FF2B5EF4-FFF2-40B4-BE49-F238E27FC236}">
                  <a16:creationId xmlns:a16="http://schemas.microsoft.com/office/drawing/2014/main" id="{69972FA1-30F6-1B5D-FA86-616ACB26A7FD}"/>
                </a:ext>
              </a:extLst>
            </p:cNvPr>
            <p:cNvSpPr/>
            <p:nvPr/>
          </p:nvSpPr>
          <p:spPr>
            <a:xfrm>
              <a:off x="4487284" y="2696222"/>
              <a:ext cx="270205" cy="270205"/>
            </a:xfrm>
            <a:custGeom>
              <a:avLst/>
              <a:gdLst>
                <a:gd name="connsiteX0" fmla="*/ 82468 w 270205"/>
                <a:gd name="connsiteY0" fmla="*/ 259575 h 270205"/>
                <a:gd name="connsiteX1" fmla="*/ 135103 w 270205"/>
                <a:gd name="connsiteY1" fmla="*/ 270205 h 270205"/>
                <a:gd name="connsiteX2" fmla="*/ 187738 w 270205"/>
                <a:gd name="connsiteY2" fmla="*/ 259575 h 270205"/>
                <a:gd name="connsiteX3" fmla="*/ 230600 w 270205"/>
                <a:gd name="connsiteY3" fmla="*/ 230600 h 270205"/>
                <a:gd name="connsiteX4" fmla="*/ 259575 w 270205"/>
                <a:gd name="connsiteY4" fmla="*/ 187738 h 270205"/>
                <a:gd name="connsiteX5" fmla="*/ 270205 w 270205"/>
                <a:gd name="connsiteY5" fmla="*/ 135103 h 270205"/>
                <a:gd name="connsiteX6" fmla="*/ 259575 w 270205"/>
                <a:gd name="connsiteY6" fmla="*/ 82467 h 270205"/>
                <a:gd name="connsiteX7" fmla="*/ 230600 w 270205"/>
                <a:gd name="connsiteY7" fmla="*/ 39605 h 270205"/>
                <a:gd name="connsiteX8" fmla="*/ 187738 w 270205"/>
                <a:gd name="connsiteY8" fmla="*/ 10630 h 270205"/>
                <a:gd name="connsiteX9" fmla="*/ 135103 w 270205"/>
                <a:gd name="connsiteY9" fmla="*/ 0 h 270205"/>
                <a:gd name="connsiteX10" fmla="*/ 82468 w 270205"/>
                <a:gd name="connsiteY10" fmla="*/ 10630 h 270205"/>
                <a:gd name="connsiteX11" fmla="*/ 39605 w 270205"/>
                <a:gd name="connsiteY11" fmla="*/ 39605 h 270205"/>
                <a:gd name="connsiteX12" fmla="*/ 10630 w 270205"/>
                <a:gd name="connsiteY12" fmla="*/ 82467 h 270205"/>
                <a:gd name="connsiteX13" fmla="*/ 0 w 270205"/>
                <a:gd name="connsiteY13" fmla="*/ 135103 h 270205"/>
                <a:gd name="connsiteX14" fmla="*/ 10630 w 270205"/>
                <a:gd name="connsiteY14" fmla="*/ 187738 h 270205"/>
                <a:gd name="connsiteX15" fmla="*/ 39605 w 270205"/>
                <a:gd name="connsiteY15" fmla="*/ 230600 h 270205"/>
                <a:gd name="connsiteX16" fmla="*/ 82468 w 270205"/>
                <a:gd name="connsiteY16" fmla="*/ 259575 h 270205"/>
                <a:gd name="connsiteX17" fmla="*/ 39948 w 270205"/>
                <a:gd name="connsiteY17" fmla="*/ 135103 h 270205"/>
                <a:gd name="connsiteX18" fmla="*/ 135103 w 270205"/>
                <a:gd name="connsiteY18" fmla="*/ 39948 h 270205"/>
                <a:gd name="connsiteX19" fmla="*/ 230257 w 270205"/>
                <a:gd name="connsiteY19" fmla="*/ 135103 h 270205"/>
                <a:gd name="connsiteX20" fmla="*/ 135103 w 270205"/>
                <a:gd name="connsiteY20" fmla="*/ 230257 h 270205"/>
                <a:gd name="connsiteX21" fmla="*/ 39948 w 270205"/>
                <a:gd name="connsiteY21" fmla="*/ 135103 h 270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0205" h="270205">
                  <a:moveTo>
                    <a:pt x="82468" y="259575"/>
                  </a:moveTo>
                  <a:cubicBezTo>
                    <a:pt x="99098" y="266605"/>
                    <a:pt x="116758" y="270205"/>
                    <a:pt x="135103" y="270205"/>
                  </a:cubicBezTo>
                  <a:cubicBezTo>
                    <a:pt x="153276" y="270205"/>
                    <a:pt x="171107" y="266605"/>
                    <a:pt x="187738" y="259575"/>
                  </a:cubicBezTo>
                  <a:cubicBezTo>
                    <a:pt x="203854" y="252717"/>
                    <a:pt x="218256" y="242945"/>
                    <a:pt x="230600" y="230600"/>
                  </a:cubicBezTo>
                  <a:cubicBezTo>
                    <a:pt x="242945" y="218256"/>
                    <a:pt x="252717" y="203683"/>
                    <a:pt x="259575" y="187738"/>
                  </a:cubicBezTo>
                  <a:cubicBezTo>
                    <a:pt x="266605" y="171107"/>
                    <a:pt x="270205" y="153448"/>
                    <a:pt x="270205" y="135103"/>
                  </a:cubicBezTo>
                  <a:cubicBezTo>
                    <a:pt x="270205" y="116929"/>
                    <a:pt x="266605" y="99098"/>
                    <a:pt x="259575" y="82467"/>
                  </a:cubicBezTo>
                  <a:cubicBezTo>
                    <a:pt x="252717" y="66351"/>
                    <a:pt x="243116" y="51949"/>
                    <a:pt x="230600" y="39605"/>
                  </a:cubicBezTo>
                  <a:cubicBezTo>
                    <a:pt x="218256" y="27261"/>
                    <a:pt x="203683" y="17488"/>
                    <a:pt x="187738" y="10630"/>
                  </a:cubicBezTo>
                  <a:cubicBezTo>
                    <a:pt x="171107" y="3600"/>
                    <a:pt x="153448" y="0"/>
                    <a:pt x="135103" y="0"/>
                  </a:cubicBezTo>
                  <a:cubicBezTo>
                    <a:pt x="116758" y="0"/>
                    <a:pt x="99098" y="3600"/>
                    <a:pt x="82468" y="10630"/>
                  </a:cubicBezTo>
                  <a:cubicBezTo>
                    <a:pt x="66351" y="17488"/>
                    <a:pt x="51949" y="27089"/>
                    <a:pt x="39605" y="39605"/>
                  </a:cubicBezTo>
                  <a:cubicBezTo>
                    <a:pt x="27261" y="51949"/>
                    <a:pt x="17488" y="66523"/>
                    <a:pt x="10630" y="82467"/>
                  </a:cubicBezTo>
                  <a:cubicBezTo>
                    <a:pt x="3601" y="99098"/>
                    <a:pt x="0" y="116757"/>
                    <a:pt x="0" y="135103"/>
                  </a:cubicBezTo>
                  <a:cubicBezTo>
                    <a:pt x="0" y="153276"/>
                    <a:pt x="3601" y="171107"/>
                    <a:pt x="10630" y="187738"/>
                  </a:cubicBezTo>
                  <a:cubicBezTo>
                    <a:pt x="17488" y="203854"/>
                    <a:pt x="27261" y="218256"/>
                    <a:pt x="39605" y="230600"/>
                  </a:cubicBezTo>
                  <a:cubicBezTo>
                    <a:pt x="51949" y="242945"/>
                    <a:pt x="66351" y="252717"/>
                    <a:pt x="82468" y="259575"/>
                  </a:cubicBezTo>
                  <a:close/>
                  <a:moveTo>
                    <a:pt x="39948" y="135103"/>
                  </a:moveTo>
                  <a:cubicBezTo>
                    <a:pt x="39948" y="82639"/>
                    <a:pt x="82639" y="39948"/>
                    <a:pt x="135103" y="39948"/>
                  </a:cubicBezTo>
                  <a:cubicBezTo>
                    <a:pt x="187566" y="39948"/>
                    <a:pt x="230257" y="82639"/>
                    <a:pt x="230257" y="135103"/>
                  </a:cubicBezTo>
                  <a:cubicBezTo>
                    <a:pt x="230257" y="187566"/>
                    <a:pt x="187566" y="230257"/>
                    <a:pt x="135103" y="230257"/>
                  </a:cubicBezTo>
                  <a:cubicBezTo>
                    <a:pt x="82639" y="230257"/>
                    <a:pt x="39948" y="187566"/>
                    <a:pt x="39948" y="135103"/>
                  </a:cubicBezTo>
                  <a:close/>
                </a:path>
              </a:pathLst>
            </a:custGeom>
            <a:grpFill/>
            <a:ln w="9525" cap="flat">
              <a:noFill/>
              <a:prstDash val="solid"/>
              <a:miter/>
            </a:ln>
          </p:spPr>
          <p:txBody>
            <a:bodyPr rtlCol="0" anchor="ctr"/>
            <a:lstStyle/>
            <a:p>
              <a:pPr defTabSz="457189"/>
              <a:endParaRPr lang="fr-FR" sz="1350">
                <a:solidFill>
                  <a:prstClr val="black"/>
                </a:solidFill>
                <a:latin typeface="Arial"/>
              </a:endParaRPr>
            </a:p>
          </p:txBody>
        </p:sp>
        <p:sp>
          <p:nvSpPr>
            <p:cNvPr id="19" name="Forme libre 18">
              <a:extLst>
                <a:ext uri="{FF2B5EF4-FFF2-40B4-BE49-F238E27FC236}">
                  <a16:creationId xmlns:a16="http://schemas.microsoft.com/office/drawing/2014/main" id="{30ACEEB2-4573-0025-86EF-750C69C4ABBD}"/>
                </a:ext>
              </a:extLst>
            </p:cNvPr>
            <p:cNvSpPr/>
            <p:nvPr/>
          </p:nvSpPr>
          <p:spPr>
            <a:xfrm>
              <a:off x="4413979" y="2977229"/>
              <a:ext cx="416492" cy="143160"/>
            </a:xfrm>
            <a:custGeom>
              <a:avLst/>
              <a:gdLst>
                <a:gd name="connsiteX0" fmla="*/ 1811 w 416492"/>
                <a:gd name="connsiteY0" fmla="*/ 115043 h 143160"/>
                <a:gd name="connsiteX1" fmla="*/ 1297 w 416492"/>
                <a:gd name="connsiteY1" fmla="*/ 130302 h 143160"/>
                <a:gd name="connsiteX2" fmla="*/ 11755 w 416492"/>
                <a:gd name="connsiteY2" fmla="*/ 141446 h 143160"/>
                <a:gd name="connsiteX3" fmla="*/ 19985 w 416492"/>
                <a:gd name="connsiteY3" fmla="*/ 143161 h 143160"/>
                <a:gd name="connsiteX4" fmla="*/ 38158 w 416492"/>
                <a:gd name="connsiteY4" fmla="*/ 131331 h 143160"/>
                <a:gd name="connsiteX5" fmla="*/ 118226 w 416492"/>
                <a:gd name="connsiteY5" fmla="*/ 44748 h 143160"/>
                <a:gd name="connsiteX6" fmla="*/ 192806 w 416492"/>
                <a:gd name="connsiteY6" fmla="*/ 135788 h 143160"/>
                <a:gd name="connsiteX7" fmla="*/ 208237 w 416492"/>
                <a:gd name="connsiteY7" fmla="*/ 143161 h 143160"/>
                <a:gd name="connsiteX8" fmla="*/ 223667 w 416492"/>
                <a:gd name="connsiteY8" fmla="*/ 135788 h 143160"/>
                <a:gd name="connsiteX9" fmla="*/ 298248 w 416492"/>
                <a:gd name="connsiteY9" fmla="*/ 44748 h 143160"/>
                <a:gd name="connsiteX10" fmla="*/ 378315 w 416492"/>
                <a:gd name="connsiteY10" fmla="*/ 131331 h 143160"/>
                <a:gd name="connsiteX11" fmla="*/ 396489 w 416492"/>
                <a:gd name="connsiteY11" fmla="*/ 143161 h 143160"/>
                <a:gd name="connsiteX12" fmla="*/ 404718 w 416492"/>
                <a:gd name="connsiteY12" fmla="*/ 141446 h 143160"/>
                <a:gd name="connsiteX13" fmla="*/ 414663 w 416492"/>
                <a:gd name="connsiteY13" fmla="*/ 115043 h 143160"/>
                <a:gd name="connsiteX14" fmla="*/ 368200 w 416492"/>
                <a:gd name="connsiteY14" fmla="*/ 48006 h 143160"/>
                <a:gd name="connsiteX15" fmla="*/ 300991 w 416492"/>
                <a:gd name="connsiteY15" fmla="*/ 1715 h 143160"/>
                <a:gd name="connsiteX16" fmla="*/ 300305 w 416492"/>
                <a:gd name="connsiteY16" fmla="*/ 1372 h 143160"/>
                <a:gd name="connsiteX17" fmla="*/ 299620 w 416492"/>
                <a:gd name="connsiteY17" fmla="*/ 1200 h 143160"/>
                <a:gd name="connsiteX18" fmla="*/ 298591 w 416492"/>
                <a:gd name="connsiteY18" fmla="*/ 857 h 143160"/>
                <a:gd name="connsiteX19" fmla="*/ 297905 w 416492"/>
                <a:gd name="connsiteY19" fmla="*/ 686 h 143160"/>
                <a:gd name="connsiteX20" fmla="*/ 296705 w 416492"/>
                <a:gd name="connsiteY20" fmla="*/ 343 h 143160"/>
                <a:gd name="connsiteX21" fmla="*/ 296191 w 416492"/>
                <a:gd name="connsiteY21" fmla="*/ 171 h 143160"/>
                <a:gd name="connsiteX22" fmla="*/ 294819 w 416492"/>
                <a:gd name="connsiteY22" fmla="*/ 0 h 143160"/>
                <a:gd name="connsiteX23" fmla="*/ 294305 w 416492"/>
                <a:gd name="connsiteY23" fmla="*/ 0 h 143160"/>
                <a:gd name="connsiteX24" fmla="*/ 292419 w 416492"/>
                <a:gd name="connsiteY24" fmla="*/ 0 h 143160"/>
                <a:gd name="connsiteX25" fmla="*/ 290876 w 416492"/>
                <a:gd name="connsiteY25" fmla="*/ 0 h 143160"/>
                <a:gd name="connsiteX26" fmla="*/ 290361 w 416492"/>
                <a:gd name="connsiteY26" fmla="*/ 0 h 143160"/>
                <a:gd name="connsiteX27" fmla="*/ 288990 w 416492"/>
                <a:gd name="connsiteY27" fmla="*/ 171 h 143160"/>
                <a:gd name="connsiteX28" fmla="*/ 288304 w 416492"/>
                <a:gd name="connsiteY28" fmla="*/ 343 h 143160"/>
                <a:gd name="connsiteX29" fmla="*/ 287104 w 416492"/>
                <a:gd name="connsiteY29" fmla="*/ 686 h 143160"/>
                <a:gd name="connsiteX30" fmla="*/ 286418 w 416492"/>
                <a:gd name="connsiteY30" fmla="*/ 857 h 143160"/>
                <a:gd name="connsiteX31" fmla="*/ 286247 w 416492"/>
                <a:gd name="connsiteY31" fmla="*/ 857 h 143160"/>
                <a:gd name="connsiteX32" fmla="*/ 285218 w 416492"/>
                <a:gd name="connsiteY32" fmla="*/ 1200 h 143160"/>
                <a:gd name="connsiteX33" fmla="*/ 284361 w 416492"/>
                <a:gd name="connsiteY33" fmla="*/ 1543 h 143160"/>
                <a:gd name="connsiteX34" fmla="*/ 283503 w 416492"/>
                <a:gd name="connsiteY34" fmla="*/ 2057 h 143160"/>
                <a:gd name="connsiteX35" fmla="*/ 282646 w 416492"/>
                <a:gd name="connsiteY35" fmla="*/ 2572 h 143160"/>
                <a:gd name="connsiteX36" fmla="*/ 281789 w 416492"/>
                <a:gd name="connsiteY36" fmla="*/ 3086 h 143160"/>
                <a:gd name="connsiteX37" fmla="*/ 281103 w 416492"/>
                <a:gd name="connsiteY37" fmla="*/ 3600 h 143160"/>
                <a:gd name="connsiteX38" fmla="*/ 280246 w 416492"/>
                <a:gd name="connsiteY38" fmla="*/ 4286 h 143160"/>
                <a:gd name="connsiteX39" fmla="*/ 279731 w 416492"/>
                <a:gd name="connsiteY39" fmla="*/ 4801 h 143160"/>
                <a:gd name="connsiteX40" fmla="*/ 278874 w 416492"/>
                <a:gd name="connsiteY40" fmla="*/ 5658 h 143160"/>
                <a:gd name="connsiteX41" fmla="*/ 278360 w 416492"/>
                <a:gd name="connsiteY41" fmla="*/ 6172 h 143160"/>
                <a:gd name="connsiteX42" fmla="*/ 277674 w 416492"/>
                <a:gd name="connsiteY42" fmla="*/ 7029 h 143160"/>
                <a:gd name="connsiteX43" fmla="*/ 277331 w 416492"/>
                <a:gd name="connsiteY43" fmla="*/ 7372 h 143160"/>
                <a:gd name="connsiteX44" fmla="*/ 208065 w 416492"/>
                <a:gd name="connsiteY44" fmla="*/ 91897 h 143160"/>
                <a:gd name="connsiteX45" fmla="*/ 138800 w 416492"/>
                <a:gd name="connsiteY45" fmla="*/ 7372 h 143160"/>
                <a:gd name="connsiteX46" fmla="*/ 138457 w 416492"/>
                <a:gd name="connsiteY46" fmla="*/ 7029 h 143160"/>
                <a:gd name="connsiteX47" fmla="*/ 137771 w 416492"/>
                <a:gd name="connsiteY47" fmla="*/ 6344 h 143160"/>
                <a:gd name="connsiteX48" fmla="*/ 137256 w 416492"/>
                <a:gd name="connsiteY48" fmla="*/ 5829 h 143160"/>
                <a:gd name="connsiteX49" fmla="*/ 136399 w 416492"/>
                <a:gd name="connsiteY49" fmla="*/ 4972 h 143160"/>
                <a:gd name="connsiteX50" fmla="*/ 135713 w 416492"/>
                <a:gd name="connsiteY50" fmla="*/ 4458 h 143160"/>
                <a:gd name="connsiteX51" fmla="*/ 134856 w 416492"/>
                <a:gd name="connsiteY51" fmla="*/ 3772 h 143160"/>
                <a:gd name="connsiteX52" fmla="*/ 134170 w 416492"/>
                <a:gd name="connsiteY52" fmla="*/ 3258 h 143160"/>
                <a:gd name="connsiteX53" fmla="*/ 133313 w 416492"/>
                <a:gd name="connsiteY53" fmla="*/ 2743 h 143160"/>
                <a:gd name="connsiteX54" fmla="*/ 132627 w 416492"/>
                <a:gd name="connsiteY54" fmla="*/ 2400 h 143160"/>
                <a:gd name="connsiteX55" fmla="*/ 131599 w 416492"/>
                <a:gd name="connsiteY55" fmla="*/ 1886 h 143160"/>
                <a:gd name="connsiteX56" fmla="*/ 130913 w 416492"/>
                <a:gd name="connsiteY56" fmla="*/ 1543 h 143160"/>
                <a:gd name="connsiteX57" fmla="*/ 129884 w 416492"/>
                <a:gd name="connsiteY57" fmla="*/ 1200 h 143160"/>
                <a:gd name="connsiteX58" fmla="*/ 129198 w 416492"/>
                <a:gd name="connsiteY58" fmla="*/ 1029 h 143160"/>
                <a:gd name="connsiteX59" fmla="*/ 127998 w 416492"/>
                <a:gd name="connsiteY59" fmla="*/ 686 h 143160"/>
                <a:gd name="connsiteX60" fmla="*/ 127312 w 416492"/>
                <a:gd name="connsiteY60" fmla="*/ 514 h 143160"/>
                <a:gd name="connsiteX61" fmla="*/ 125941 w 416492"/>
                <a:gd name="connsiteY61" fmla="*/ 343 h 143160"/>
                <a:gd name="connsiteX62" fmla="*/ 125426 w 416492"/>
                <a:gd name="connsiteY62" fmla="*/ 343 h 143160"/>
                <a:gd name="connsiteX63" fmla="*/ 124055 w 416492"/>
                <a:gd name="connsiteY63" fmla="*/ 343 h 143160"/>
                <a:gd name="connsiteX64" fmla="*/ 122169 w 416492"/>
                <a:gd name="connsiteY64" fmla="*/ 343 h 143160"/>
                <a:gd name="connsiteX65" fmla="*/ 121655 w 416492"/>
                <a:gd name="connsiteY65" fmla="*/ 343 h 143160"/>
                <a:gd name="connsiteX66" fmla="*/ 120283 w 416492"/>
                <a:gd name="connsiteY66" fmla="*/ 514 h 143160"/>
                <a:gd name="connsiteX67" fmla="*/ 119769 w 416492"/>
                <a:gd name="connsiteY67" fmla="*/ 686 h 143160"/>
                <a:gd name="connsiteX68" fmla="*/ 118568 w 416492"/>
                <a:gd name="connsiteY68" fmla="*/ 1029 h 143160"/>
                <a:gd name="connsiteX69" fmla="*/ 117883 w 416492"/>
                <a:gd name="connsiteY69" fmla="*/ 1200 h 143160"/>
                <a:gd name="connsiteX70" fmla="*/ 116854 w 416492"/>
                <a:gd name="connsiteY70" fmla="*/ 1543 h 143160"/>
                <a:gd name="connsiteX71" fmla="*/ 116168 w 416492"/>
                <a:gd name="connsiteY71" fmla="*/ 1886 h 143160"/>
                <a:gd name="connsiteX72" fmla="*/ 115482 w 416492"/>
                <a:gd name="connsiteY72" fmla="*/ 2057 h 143160"/>
                <a:gd name="connsiteX73" fmla="*/ 48274 w 416492"/>
                <a:gd name="connsiteY73" fmla="*/ 48349 h 143160"/>
                <a:gd name="connsiteX74" fmla="*/ 1811 w 416492"/>
                <a:gd name="connsiteY74" fmla="*/ 115043 h 14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16492" h="143160">
                  <a:moveTo>
                    <a:pt x="1811" y="115043"/>
                  </a:moveTo>
                  <a:cubicBezTo>
                    <a:pt x="-418" y="119844"/>
                    <a:pt x="-589" y="125330"/>
                    <a:pt x="1297" y="130302"/>
                  </a:cubicBezTo>
                  <a:cubicBezTo>
                    <a:pt x="3183" y="135274"/>
                    <a:pt x="6954" y="139217"/>
                    <a:pt x="11755" y="141446"/>
                  </a:cubicBezTo>
                  <a:cubicBezTo>
                    <a:pt x="14327" y="142646"/>
                    <a:pt x="17070" y="143161"/>
                    <a:pt x="19985" y="143161"/>
                  </a:cubicBezTo>
                  <a:cubicBezTo>
                    <a:pt x="27871" y="143161"/>
                    <a:pt x="34901" y="138532"/>
                    <a:pt x="38158" y="131331"/>
                  </a:cubicBezTo>
                  <a:cubicBezTo>
                    <a:pt x="54789" y="94812"/>
                    <a:pt x="83078" y="64122"/>
                    <a:pt x="118226" y="44748"/>
                  </a:cubicBezTo>
                  <a:lnTo>
                    <a:pt x="192806" y="135788"/>
                  </a:lnTo>
                  <a:cubicBezTo>
                    <a:pt x="196578" y="140418"/>
                    <a:pt x="202236" y="143161"/>
                    <a:pt x="208237" y="143161"/>
                  </a:cubicBezTo>
                  <a:cubicBezTo>
                    <a:pt x="214238" y="143161"/>
                    <a:pt x="219895" y="140418"/>
                    <a:pt x="223667" y="135788"/>
                  </a:cubicBezTo>
                  <a:lnTo>
                    <a:pt x="298248" y="44748"/>
                  </a:lnTo>
                  <a:cubicBezTo>
                    <a:pt x="333395" y="64122"/>
                    <a:pt x="361856" y="94812"/>
                    <a:pt x="378315" y="131331"/>
                  </a:cubicBezTo>
                  <a:cubicBezTo>
                    <a:pt x="381573" y="138532"/>
                    <a:pt x="388774" y="143161"/>
                    <a:pt x="396489" y="143161"/>
                  </a:cubicBezTo>
                  <a:cubicBezTo>
                    <a:pt x="399404" y="143161"/>
                    <a:pt x="402147" y="142475"/>
                    <a:pt x="404718" y="141446"/>
                  </a:cubicBezTo>
                  <a:cubicBezTo>
                    <a:pt x="414834" y="136817"/>
                    <a:pt x="419292" y="124987"/>
                    <a:pt x="414663" y="115043"/>
                  </a:cubicBezTo>
                  <a:cubicBezTo>
                    <a:pt x="403347" y="90011"/>
                    <a:pt x="387745" y="67380"/>
                    <a:pt x="368200" y="48006"/>
                  </a:cubicBezTo>
                  <a:cubicBezTo>
                    <a:pt x="348654" y="28461"/>
                    <a:pt x="326023" y="13030"/>
                    <a:pt x="300991" y="1715"/>
                  </a:cubicBezTo>
                  <a:cubicBezTo>
                    <a:pt x="300820" y="1543"/>
                    <a:pt x="300648" y="1543"/>
                    <a:pt x="300305" y="1372"/>
                  </a:cubicBezTo>
                  <a:cubicBezTo>
                    <a:pt x="300134" y="1372"/>
                    <a:pt x="299963" y="1200"/>
                    <a:pt x="299620" y="1200"/>
                  </a:cubicBezTo>
                  <a:cubicBezTo>
                    <a:pt x="299277" y="1029"/>
                    <a:pt x="298934" y="1029"/>
                    <a:pt x="298591" y="857"/>
                  </a:cubicBezTo>
                  <a:cubicBezTo>
                    <a:pt x="298419" y="857"/>
                    <a:pt x="298077" y="686"/>
                    <a:pt x="297905" y="686"/>
                  </a:cubicBezTo>
                  <a:cubicBezTo>
                    <a:pt x="297562" y="514"/>
                    <a:pt x="297048" y="514"/>
                    <a:pt x="296705" y="343"/>
                  </a:cubicBezTo>
                  <a:cubicBezTo>
                    <a:pt x="296534" y="343"/>
                    <a:pt x="296362" y="343"/>
                    <a:pt x="296191" y="171"/>
                  </a:cubicBezTo>
                  <a:cubicBezTo>
                    <a:pt x="295676" y="171"/>
                    <a:pt x="295333" y="0"/>
                    <a:pt x="294819" y="0"/>
                  </a:cubicBezTo>
                  <a:cubicBezTo>
                    <a:pt x="294648" y="0"/>
                    <a:pt x="294476" y="0"/>
                    <a:pt x="294305" y="0"/>
                  </a:cubicBezTo>
                  <a:cubicBezTo>
                    <a:pt x="293790" y="0"/>
                    <a:pt x="293105" y="0"/>
                    <a:pt x="292419" y="0"/>
                  </a:cubicBezTo>
                  <a:cubicBezTo>
                    <a:pt x="291904" y="0"/>
                    <a:pt x="291390" y="0"/>
                    <a:pt x="290876" y="0"/>
                  </a:cubicBezTo>
                  <a:cubicBezTo>
                    <a:pt x="290704" y="0"/>
                    <a:pt x="290533" y="0"/>
                    <a:pt x="290361" y="0"/>
                  </a:cubicBezTo>
                  <a:cubicBezTo>
                    <a:pt x="289847" y="0"/>
                    <a:pt x="289504" y="171"/>
                    <a:pt x="288990" y="171"/>
                  </a:cubicBezTo>
                  <a:cubicBezTo>
                    <a:pt x="288818" y="171"/>
                    <a:pt x="288647" y="171"/>
                    <a:pt x="288304" y="343"/>
                  </a:cubicBezTo>
                  <a:cubicBezTo>
                    <a:pt x="287790" y="514"/>
                    <a:pt x="287447" y="514"/>
                    <a:pt x="287104" y="686"/>
                  </a:cubicBezTo>
                  <a:cubicBezTo>
                    <a:pt x="286932" y="686"/>
                    <a:pt x="286589" y="857"/>
                    <a:pt x="286418" y="857"/>
                  </a:cubicBezTo>
                  <a:lnTo>
                    <a:pt x="286247" y="857"/>
                  </a:lnTo>
                  <a:cubicBezTo>
                    <a:pt x="285904" y="1029"/>
                    <a:pt x="285561" y="1029"/>
                    <a:pt x="285218" y="1200"/>
                  </a:cubicBezTo>
                  <a:cubicBezTo>
                    <a:pt x="284875" y="1372"/>
                    <a:pt x="284703" y="1372"/>
                    <a:pt x="284361" y="1543"/>
                  </a:cubicBezTo>
                  <a:cubicBezTo>
                    <a:pt x="284018" y="1715"/>
                    <a:pt x="283675" y="1886"/>
                    <a:pt x="283503" y="2057"/>
                  </a:cubicBezTo>
                  <a:cubicBezTo>
                    <a:pt x="283332" y="2229"/>
                    <a:pt x="282989" y="2400"/>
                    <a:pt x="282646" y="2572"/>
                  </a:cubicBezTo>
                  <a:cubicBezTo>
                    <a:pt x="282303" y="2743"/>
                    <a:pt x="281960" y="2915"/>
                    <a:pt x="281789" y="3086"/>
                  </a:cubicBezTo>
                  <a:cubicBezTo>
                    <a:pt x="281617" y="3258"/>
                    <a:pt x="281446" y="3429"/>
                    <a:pt x="281103" y="3600"/>
                  </a:cubicBezTo>
                  <a:cubicBezTo>
                    <a:pt x="280760" y="3772"/>
                    <a:pt x="280417" y="4115"/>
                    <a:pt x="280246" y="4286"/>
                  </a:cubicBezTo>
                  <a:cubicBezTo>
                    <a:pt x="280074" y="4458"/>
                    <a:pt x="279903" y="4629"/>
                    <a:pt x="279731" y="4801"/>
                  </a:cubicBezTo>
                  <a:cubicBezTo>
                    <a:pt x="279389" y="5144"/>
                    <a:pt x="279046" y="5315"/>
                    <a:pt x="278874" y="5658"/>
                  </a:cubicBezTo>
                  <a:cubicBezTo>
                    <a:pt x="278703" y="5829"/>
                    <a:pt x="278531" y="6001"/>
                    <a:pt x="278360" y="6172"/>
                  </a:cubicBezTo>
                  <a:cubicBezTo>
                    <a:pt x="278188" y="6515"/>
                    <a:pt x="277845" y="6687"/>
                    <a:pt x="277674" y="7029"/>
                  </a:cubicBezTo>
                  <a:cubicBezTo>
                    <a:pt x="277503" y="7201"/>
                    <a:pt x="277331" y="7372"/>
                    <a:pt x="277331" y="7372"/>
                  </a:cubicBezTo>
                  <a:lnTo>
                    <a:pt x="208065" y="91897"/>
                  </a:lnTo>
                  <a:lnTo>
                    <a:pt x="138800" y="7372"/>
                  </a:lnTo>
                  <a:cubicBezTo>
                    <a:pt x="138628" y="7201"/>
                    <a:pt x="138628" y="7029"/>
                    <a:pt x="138457" y="7029"/>
                  </a:cubicBezTo>
                  <a:cubicBezTo>
                    <a:pt x="138285" y="6687"/>
                    <a:pt x="137942" y="6515"/>
                    <a:pt x="137771" y="6344"/>
                  </a:cubicBezTo>
                  <a:lnTo>
                    <a:pt x="137256" y="5829"/>
                  </a:lnTo>
                  <a:cubicBezTo>
                    <a:pt x="136914" y="5486"/>
                    <a:pt x="136571" y="5315"/>
                    <a:pt x="136399" y="4972"/>
                  </a:cubicBezTo>
                  <a:cubicBezTo>
                    <a:pt x="136228" y="4801"/>
                    <a:pt x="136056" y="4629"/>
                    <a:pt x="135713" y="4458"/>
                  </a:cubicBezTo>
                  <a:cubicBezTo>
                    <a:pt x="135371" y="4286"/>
                    <a:pt x="135199" y="4115"/>
                    <a:pt x="134856" y="3772"/>
                  </a:cubicBezTo>
                  <a:cubicBezTo>
                    <a:pt x="134685" y="3600"/>
                    <a:pt x="134342" y="3429"/>
                    <a:pt x="134170" y="3258"/>
                  </a:cubicBezTo>
                  <a:cubicBezTo>
                    <a:pt x="133827" y="3086"/>
                    <a:pt x="133656" y="2915"/>
                    <a:pt x="133313" y="2743"/>
                  </a:cubicBezTo>
                  <a:cubicBezTo>
                    <a:pt x="132970" y="2572"/>
                    <a:pt x="132799" y="2400"/>
                    <a:pt x="132627" y="2400"/>
                  </a:cubicBezTo>
                  <a:cubicBezTo>
                    <a:pt x="132284" y="2229"/>
                    <a:pt x="132113" y="2057"/>
                    <a:pt x="131599" y="1886"/>
                  </a:cubicBezTo>
                  <a:cubicBezTo>
                    <a:pt x="131256" y="1715"/>
                    <a:pt x="131084" y="1715"/>
                    <a:pt x="130913" y="1543"/>
                  </a:cubicBezTo>
                  <a:cubicBezTo>
                    <a:pt x="130570" y="1372"/>
                    <a:pt x="130227" y="1372"/>
                    <a:pt x="129884" y="1200"/>
                  </a:cubicBezTo>
                  <a:cubicBezTo>
                    <a:pt x="129541" y="1029"/>
                    <a:pt x="129370" y="1029"/>
                    <a:pt x="129198" y="1029"/>
                  </a:cubicBezTo>
                  <a:cubicBezTo>
                    <a:pt x="128855" y="857"/>
                    <a:pt x="128513" y="857"/>
                    <a:pt x="127998" y="686"/>
                  </a:cubicBezTo>
                  <a:cubicBezTo>
                    <a:pt x="127827" y="686"/>
                    <a:pt x="127484" y="514"/>
                    <a:pt x="127312" y="514"/>
                  </a:cubicBezTo>
                  <a:cubicBezTo>
                    <a:pt x="126969" y="514"/>
                    <a:pt x="126455" y="343"/>
                    <a:pt x="125941" y="343"/>
                  </a:cubicBezTo>
                  <a:cubicBezTo>
                    <a:pt x="125769" y="343"/>
                    <a:pt x="125598" y="343"/>
                    <a:pt x="125426" y="343"/>
                  </a:cubicBezTo>
                  <a:cubicBezTo>
                    <a:pt x="124912" y="343"/>
                    <a:pt x="124569" y="343"/>
                    <a:pt x="124055" y="343"/>
                  </a:cubicBezTo>
                  <a:cubicBezTo>
                    <a:pt x="123540" y="343"/>
                    <a:pt x="122855" y="343"/>
                    <a:pt x="122169" y="343"/>
                  </a:cubicBezTo>
                  <a:cubicBezTo>
                    <a:pt x="121997" y="343"/>
                    <a:pt x="121826" y="343"/>
                    <a:pt x="121655" y="343"/>
                  </a:cubicBezTo>
                  <a:cubicBezTo>
                    <a:pt x="121312" y="343"/>
                    <a:pt x="120797" y="514"/>
                    <a:pt x="120283" y="514"/>
                  </a:cubicBezTo>
                  <a:cubicBezTo>
                    <a:pt x="120111" y="514"/>
                    <a:pt x="119940" y="514"/>
                    <a:pt x="119769" y="686"/>
                  </a:cubicBezTo>
                  <a:cubicBezTo>
                    <a:pt x="119426" y="686"/>
                    <a:pt x="119083" y="857"/>
                    <a:pt x="118568" y="1029"/>
                  </a:cubicBezTo>
                  <a:cubicBezTo>
                    <a:pt x="118397" y="1029"/>
                    <a:pt x="118054" y="1200"/>
                    <a:pt x="117883" y="1200"/>
                  </a:cubicBezTo>
                  <a:cubicBezTo>
                    <a:pt x="117540" y="1372"/>
                    <a:pt x="117197" y="1372"/>
                    <a:pt x="116854" y="1543"/>
                  </a:cubicBezTo>
                  <a:cubicBezTo>
                    <a:pt x="116682" y="1715"/>
                    <a:pt x="116340" y="1715"/>
                    <a:pt x="116168" y="1886"/>
                  </a:cubicBezTo>
                  <a:cubicBezTo>
                    <a:pt x="115997" y="1886"/>
                    <a:pt x="115825" y="2057"/>
                    <a:pt x="115482" y="2057"/>
                  </a:cubicBezTo>
                  <a:cubicBezTo>
                    <a:pt x="90451" y="13373"/>
                    <a:pt x="67819" y="28975"/>
                    <a:pt x="48274" y="48349"/>
                  </a:cubicBezTo>
                  <a:cubicBezTo>
                    <a:pt x="28729" y="67380"/>
                    <a:pt x="13127" y="90011"/>
                    <a:pt x="1811" y="115043"/>
                  </a:cubicBezTo>
                  <a:close/>
                </a:path>
              </a:pathLst>
            </a:custGeom>
            <a:grpFill/>
            <a:ln w="9525" cap="flat">
              <a:noFill/>
              <a:prstDash val="solid"/>
              <a:miter/>
            </a:ln>
          </p:spPr>
          <p:txBody>
            <a:bodyPr rtlCol="0" anchor="ctr"/>
            <a:lstStyle/>
            <a:p>
              <a:pPr defTabSz="457189"/>
              <a:endParaRPr lang="fr-FR" sz="1350">
                <a:solidFill>
                  <a:prstClr val="black"/>
                </a:solidFill>
                <a:latin typeface="Arial"/>
              </a:endParaRPr>
            </a:p>
          </p:txBody>
        </p:sp>
        <p:sp>
          <p:nvSpPr>
            <p:cNvPr id="21" name="Forme libre 20">
              <a:extLst>
                <a:ext uri="{FF2B5EF4-FFF2-40B4-BE49-F238E27FC236}">
                  <a16:creationId xmlns:a16="http://schemas.microsoft.com/office/drawing/2014/main" id="{4265C391-F787-AB17-AA9A-B4E41C66B5F7}"/>
                </a:ext>
              </a:extLst>
            </p:cNvPr>
            <p:cNvSpPr/>
            <p:nvPr/>
          </p:nvSpPr>
          <p:spPr>
            <a:xfrm>
              <a:off x="4134637" y="2530054"/>
              <a:ext cx="846372" cy="527412"/>
            </a:xfrm>
            <a:custGeom>
              <a:avLst/>
              <a:gdLst>
                <a:gd name="connsiteX0" fmla="*/ 88786 w 846372"/>
                <a:gd name="connsiteY0" fmla="*/ 517812 h 527412"/>
                <a:gd name="connsiteX1" fmla="*/ 105588 w 846372"/>
                <a:gd name="connsiteY1" fmla="*/ 527413 h 527412"/>
                <a:gd name="connsiteX2" fmla="*/ 105759 w 846372"/>
                <a:gd name="connsiteY2" fmla="*/ 527413 h 527412"/>
                <a:gd name="connsiteX3" fmla="*/ 122561 w 846372"/>
                <a:gd name="connsiteY3" fmla="*/ 517469 h 527412"/>
                <a:gd name="connsiteX4" fmla="*/ 206743 w 846372"/>
                <a:gd name="connsiteY4" fmla="*/ 369165 h 527412"/>
                <a:gd name="connsiteX5" fmla="*/ 206572 w 846372"/>
                <a:gd name="connsiteY5" fmla="*/ 349619 h 527412"/>
                <a:gd name="connsiteX6" fmla="*/ 189598 w 846372"/>
                <a:gd name="connsiteY6" fmla="*/ 340018 h 527412"/>
                <a:gd name="connsiteX7" fmla="*/ 127019 w 846372"/>
                <a:gd name="connsiteY7" fmla="*/ 340532 h 527412"/>
                <a:gd name="connsiteX8" fmla="*/ 531127 w 846372"/>
                <a:gd name="connsiteY8" fmla="*/ 41695 h 527412"/>
                <a:gd name="connsiteX9" fmla="*/ 809733 w 846372"/>
                <a:gd name="connsiteY9" fmla="*/ 231319 h 527412"/>
                <a:gd name="connsiteX10" fmla="*/ 836136 w 846372"/>
                <a:gd name="connsiteY10" fmla="*/ 239205 h 527412"/>
                <a:gd name="connsiteX11" fmla="*/ 844023 w 846372"/>
                <a:gd name="connsiteY11" fmla="*/ 212802 h 527412"/>
                <a:gd name="connsiteX12" fmla="*/ 718179 w 846372"/>
                <a:gd name="connsiteY12" fmla="*/ 72042 h 527412"/>
                <a:gd name="connsiteX13" fmla="*/ 632797 w 846372"/>
                <a:gd name="connsiteY13" fmla="*/ 26950 h 527412"/>
                <a:gd name="connsiteX14" fmla="*/ 535927 w 846372"/>
                <a:gd name="connsiteY14" fmla="*/ 2947 h 527412"/>
                <a:gd name="connsiteX15" fmla="*/ 375622 w 846372"/>
                <a:gd name="connsiteY15" fmla="*/ 15806 h 527412"/>
                <a:gd name="connsiteX16" fmla="*/ 237433 w 846372"/>
                <a:gd name="connsiteY16" fmla="*/ 86615 h 527412"/>
                <a:gd name="connsiteX17" fmla="*/ 135935 w 846372"/>
                <a:gd name="connsiteY17" fmla="*/ 204230 h 527412"/>
                <a:gd name="connsiteX18" fmla="*/ 85528 w 846372"/>
                <a:gd name="connsiteY18" fmla="*/ 356992 h 527412"/>
                <a:gd name="connsiteX19" fmla="*/ 85528 w 846372"/>
                <a:gd name="connsiteY19" fmla="*/ 357334 h 527412"/>
                <a:gd name="connsiteX20" fmla="*/ 85357 w 846372"/>
                <a:gd name="connsiteY20" fmla="*/ 360421 h 527412"/>
                <a:gd name="connsiteX21" fmla="*/ 104902 w 846372"/>
                <a:gd name="connsiteY21" fmla="*/ 379794 h 527412"/>
                <a:gd name="connsiteX22" fmla="*/ 105074 w 846372"/>
                <a:gd name="connsiteY22" fmla="*/ 379794 h 527412"/>
                <a:gd name="connsiteX23" fmla="*/ 156509 w 846372"/>
                <a:gd name="connsiteY23" fmla="*/ 379452 h 527412"/>
                <a:gd name="connsiteX24" fmla="*/ 105588 w 846372"/>
                <a:gd name="connsiteY24" fmla="*/ 469120 h 527412"/>
                <a:gd name="connsiteX25" fmla="*/ 36322 w 846372"/>
                <a:gd name="connsiteY25" fmla="*/ 351162 h 527412"/>
                <a:gd name="connsiteX26" fmla="*/ 9576 w 846372"/>
                <a:gd name="connsiteY26" fmla="*/ 344304 h 527412"/>
                <a:gd name="connsiteX27" fmla="*/ 2718 w 846372"/>
                <a:gd name="connsiteY27" fmla="*/ 371050 h 527412"/>
                <a:gd name="connsiteX28" fmla="*/ 88786 w 846372"/>
                <a:gd name="connsiteY28" fmla="*/ 517812 h 52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46372" h="527412">
                  <a:moveTo>
                    <a:pt x="88786" y="517812"/>
                  </a:moveTo>
                  <a:cubicBezTo>
                    <a:pt x="92215" y="523812"/>
                    <a:pt x="98730" y="527413"/>
                    <a:pt x="105588" y="527413"/>
                  </a:cubicBezTo>
                  <a:cubicBezTo>
                    <a:pt x="105588" y="527413"/>
                    <a:pt x="105759" y="527413"/>
                    <a:pt x="105759" y="527413"/>
                  </a:cubicBezTo>
                  <a:cubicBezTo>
                    <a:pt x="112789" y="527413"/>
                    <a:pt x="119132" y="523641"/>
                    <a:pt x="122561" y="517469"/>
                  </a:cubicBezTo>
                  <a:lnTo>
                    <a:pt x="206743" y="369165"/>
                  </a:lnTo>
                  <a:cubicBezTo>
                    <a:pt x="210172" y="363164"/>
                    <a:pt x="210172" y="355620"/>
                    <a:pt x="206572" y="349619"/>
                  </a:cubicBezTo>
                  <a:cubicBezTo>
                    <a:pt x="202972" y="343618"/>
                    <a:pt x="196628" y="340018"/>
                    <a:pt x="189598" y="340018"/>
                  </a:cubicBezTo>
                  <a:lnTo>
                    <a:pt x="127019" y="340532"/>
                  </a:lnTo>
                  <a:cubicBezTo>
                    <a:pt x="160966" y="151252"/>
                    <a:pt x="337731" y="18549"/>
                    <a:pt x="531127" y="41695"/>
                  </a:cubicBezTo>
                  <a:cubicBezTo>
                    <a:pt x="649084" y="55754"/>
                    <a:pt x="753155" y="126734"/>
                    <a:pt x="809733" y="231319"/>
                  </a:cubicBezTo>
                  <a:cubicBezTo>
                    <a:pt x="814877" y="240748"/>
                    <a:pt x="826707" y="244349"/>
                    <a:pt x="836136" y="239205"/>
                  </a:cubicBezTo>
                  <a:cubicBezTo>
                    <a:pt x="845566" y="234062"/>
                    <a:pt x="849167" y="222232"/>
                    <a:pt x="844023" y="212802"/>
                  </a:cubicBezTo>
                  <a:cubicBezTo>
                    <a:pt x="813848" y="156909"/>
                    <a:pt x="770300" y="108218"/>
                    <a:pt x="718179" y="72042"/>
                  </a:cubicBezTo>
                  <a:cubicBezTo>
                    <a:pt x="691604" y="53697"/>
                    <a:pt x="662800" y="38437"/>
                    <a:pt x="632797" y="26950"/>
                  </a:cubicBezTo>
                  <a:cubicBezTo>
                    <a:pt x="601764" y="15120"/>
                    <a:pt x="569189" y="7062"/>
                    <a:pt x="535927" y="2947"/>
                  </a:cubicBezTo>
                  <a:cubicBezTo>
                    <a:pt x="481578" y="-3568"/>
                    <a:pt x="427742" y="718"/>
                    <a:pt x="375622" y="15806"/>
                  </a:cubicBezTo>
                  <a:cubicBezTo>
                    <a:pt x="325215" y="30379"/>
                    <a:pt x="278752" y="54211"/>
                    <a:pt x="237433" y="86615"/>
                  </a:cubicBezTo>
                  <a:cubicBezTo>
                    <a:pt x="196114" y="119190"/>
                    <a:pt x="161824" y="158624"/>
                    <a:pt x="135935" y="204230"/>
                  </a:cubicBezTo>
                  <a:cubicBezTo>
                    <a:pt x="109017" y="251378"/>
                    <a:pt x="92043" y="302813"/>
                    <a:pt x="85528" y="356992"/>
                  </a:cubicBezTo>
                  <a:cubicBezTo>
                    <a:pt x="85528" y="357163"/>
                    <a:pt x="85528" y="357163"/>
                    <a:pt x="85528" y="357334"/>
                  </a:cubicBezTo>
                  <a:cubicBezTo>
                    <a:pt x="85357" y="358363"/>
                    <a:pt x="85357" y="359392"/>
                    <a:pt x="85357" y="360421"/>
                  </a:cubicBezTo>
                  <a:cubicBezTo>
                    <a:pt x="85357" y="371050"/>
                    <a:pt x="94101" y="379794"/>
                    <a:pt x="104902" y="379794"/>
                  </a:cubicBezTo>
                  <a:cubicBezTo>
                    <a:pt x="104902" y="379794"/>
                    <a:pt x="105074" y="379794"/>
                    <a:pt x="105074" y="379794"/>
                  </a:cubicBezTo>
                  <a:lnTo>
                    <a:pt x="156509" y="379452"/>
                  </a:lnTo>
                  <a:lnTo>
                    <a:pt x="105588" y="469120"/>
                  </a:lnTo>
                  <a:lnTo>
                    <a:pt x="36322" y="351162"/>
                  </a:lnTo>
                  <a:cubicBezTo>
                    <a:pt x="30836" y="341904"/>
                    <a:pt x="19006" y="338818"/>
                    <a:pt x="9576" y="344304"/>
                  </a:cubicBezTo>
                  <a:cubicBezTo>
                    <a:pt x="318" y="349791"/>
                    <a:pt x="-2768" y="361621"/>
                    <a:pt x="2718" y="371050"/>
                  </a:cubicBezTo>
                  <a:lnTo>
                    <a:pt x="88786" y="517812"/>
                  </a:lnTo>
                  <a:close/>
                </a:path>
              </a:pathLst>
            </a:custGeom>
            <a:grpFill/>
            <a:ln w="9525" cap="flat">
              <a:noFill/>
              <a:prstDash val="solid"/>
              <a:miter/>
            </a:ln>
          </p:spPr>
          <p:txBody>
            <a:bodyPr rtlCol="0" anchor="ctr"/>
            <a:lstStyle/>
            <a:p>
              <a:pPr defTabSz="457189"/>
              <a:endParaRPr lang="fr-FR" sz="1350">
                <a:solidFill>
                  <a:prstClr val="black"/>
                </a:solidFill>
                <a:latin typeface="Arial"/>
              </a:endParaRPr>
            </a:p>
          </p:txBody>
        </p:sp>
        <p:sp>
          <p:nvSpPr>
            <p:cNvPr id="23" name="Forme libre 22">
              <a:extLst>
                <a:ext uri="{FF2B5EF4-FFF2-40B4-BE49-F238E27FC236}">
                  <a16:creationId xmlns:a16="http://schemas.microsoft.com/office/drawing/2014/main" id="{E4B867B5-1BD0-CE46-DDF7-86F167EBAC57}"/>
                </a:ext>
              </a:extLst>
            </p:cNvPr>
            <p:cNvSpPr/>
            <p:nvPr/>
          </p:nvSpPr>
          <p:spPr>
            <a:xfrm>
              <a:off x="4270768" y="2811780"/>
              <a:ext cx="839368" cy="528580"/>
            </a:xfrm>
            <a:custGeom>
              <a:avLst/>
              <a:gdLst>
                <a:gd name="connsiteX0" fmla="*/ 836651 w 839368"/>
                <a:gd name="connsiteY0" fmla="*/ 156705 h 528580"/>
                <a:gd name="connsiteX1" fmla="*/ 750240 w 839368"/>
                <a:gd name="connsiteY1" fmla="*/ 9601 h 528580"/>
                <a:gd name="connsiteX2" fmla="*/ 733438 w 839368"/>
                <a:gd name="connsiteY2" fmla="*/ 0 h 528580"/>
                <a:gd name="connsiteX3" fmla="*/ 733266 w 839368"/>
                <a:gd name="connsiteY3" fmla="*/ 0 h 528580"/>
                <a:gd name="connsiteX4" fmla="*/ 716464 w 839368"/>
                <a:gd name="connsiteY4" fmla="*/ 9944 h 528580"/>
                <a:gd name="connsiteX5" fmla="*/ 632282 w 839368"/>
                <a:gd name="connsiteY5" fmla="*/ 158248 h 528580"/>
                <a:gd name="connsiteX6" fmla="*/ 632454 w 839368"/>
                <a:gd name="connsiteY6" fmla="*/ 177794 h 528580"/>
                <a:gd name="connsiteX7" fmla="*/ 649256 w 839368"/>
                <a:gd name="connsiteY7" fmla="*/ 187395 h 528580"/>
                <a:gd name="connsiteX8" fmla="*/ 649427 w 839368"/>
                <a:gd name="connsiteY8" fmla="*/ 187395 h 528580"/>
                <a:gd name="connsiteX9" fmla="*/ 712007 w 839368"/>
                <a:gd name="connsiteY9" fmla="*/ 186881 h 528580"/>
                <a:gd name="connsiteX10" fmla="*/ 577590 w 839368"/>
                <a:gd name="connsiteY10" fmla="*/ 411480 h 528580"/>
                <a:gd name="connsiteX11" fmla="*/ 307728 w 839368"/>
                <a:gd name="connsiteY11" fmla="*/ 487089 h 528580"/>
                <a:gd name="connsiteX12" fmla="*/ 36322 w 839368"/>
                <a:gd name="connsiteY12" fmla="*/ 310153 h 528580"/>
                <a:gd name="connsiteX13" fmla="*/ 9576 w 839368"/>
                <a:gd name="connsiteY13" fmla="*/ 303295 h 528580"/>
                <a:gd name="connsiteX14" fmla="*/ 2718 w 839368"/>
                <a:gd name="connsiteY14" fmla="*/ 330041 h 528580"/>
                <a:gd name="connsiteX15" fmla="*/ 127362 w 839368"/>
                <a:gd name="connsiteY15" fmla="*/ 461201 h 528580"/>
                <a:gd name="connsiteX16" fmla="*/ 210001 w 839368"/>
                <a:gd name="connsiteY16" fmla="*/ 503206 h 528580"/>
                <a:gd name="connsiteX17" fmla="*/ 303098 w 839368"/>
                <a:gd name="connsiteY17" fmla="*/ 525666 h 528580"/>
                <a:gd name="connsiteX18" fmla="*/ 351962 w 839368"/>
                <a:gd name="connsiteY18" fmla="*/ 528580 h 528580"/>
                <a:gd name="connsiteX19" fmla="*/ 463404 w 839368"/>
                <a:gd name="connsiteY19" fmla="*/ 512807 h 528580"/>
                <a:gd name="connsiteX20" fmla="*/ 601593 w 839368"/>
                <a:gd name="connsiteY20" fmla="*/ 441998 h 528580"/>
                <a:gd name="connsiteX21" fmla="*/ 703091 w 839368"/>
                <a:gd name="connsiteY21" fmla="*/ 324383 h 528580"/>
                <a:gd name="connsiteX22" fmla="*/ 753498 w 839368"/>
                <a:gd name="connsiteY22" fmla="*/ 171621 h 528580"/>
                <a:gd name="connsiteX23" fmla="*/ 753669 w 839368"/>
                <a:gd name="connsiteY23" fmla="*/ 170421 h 528580"/>
                <a:gd name="connsiteX24" fmla="*/ 754012 w 839368"/>
                <a:gd name="connsiteY24" fmla="*/ 166821 h 528580"/>
                <a:gd name="connsiteX25" fmla="*/ 734295 w 839368"/>
                <a:gd name="connsiteY25" fmla="*/ 147447 h 528580"/>
                <a:gd name="connsiteX26" fmla="*/ 682860 w 839368"/>
                <a:gd name="connsiteY26" fmla="*/ 147790 h 528580"/>
                <a:gd name="connsiteX27" fmla="*/ 733781 w 839368"/>
                <a:gd name="connsiteY27" fmla="*/ 58122 h 528580"/>
                <a:gd name="connsiteX28" fmla="*/ 803047 w 839368"/>
                <a:gd name="connsiteY28" fmla="*/ 176079 h 528580"/>
                <a:gd name="connsiteX29" fmla="*/ 829793 w 839368"/>
                <a:gd name="connsiteY29" fmla="*/ 182937 h 528580"/>
                <a:gd name="connsiteX30" fmla="*/ 836651 w 839368"/>
                <a:gd name="connsiteY30" fmla="*/ 156705 h 52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39368" h="528580">
                  <a:moveTo>
                    <a:pt x="836651" y="156705"/>
                  </a:moveTo>
                  <a:lnTo>
                    <a:pt x="750240" y="9601"/>
                  </a:lnTo>
                  <a:cubicBezTo>
                    <a:pt x="746811" y="3600"/>
                    <a:pt x="740296" y="0"/>
                    <a:pt x="733438" y="0"/>
                  </a:cubicBezTo>
                  <a:cubicBezTo>
                    <a:pt x="733438" y="0"/>
                    <a:pt x="733266" y="0"/>
                    <a:pt x="733266" y="0"/>
                  </a:cubicBezTo>
                  <a:cubicBezTo>
                    <a:pt x="726237" y="0"/>
                    <a:pt x="719893" y="3772"/>
                    <a:pt x="716464" y="9944"/>
                  </a:cubicBezTo>
                  <a:lnTo>
                    <a:pt x="632282" y="158248"/>
                  </a:lnTo>
                  <a:cubicBezTo>
                    <a:pt x="628853" y="164249"/>
                    <a:pt x="628853" y="171793"/>
                    <a:pt x="632454" y="177794"/>
                  </a:cubicBezTo>
                  <a:cubicBezTo>
                    <a:pt x="635883" y="183794"/>
                    <a:pt x="642398" y="187395"/>
                    <a:pt x="649256" y="187395"/>
                  </a:cubicBezTo>
                  <a:cubicBezTo>
                    <a:pt x="649256" y="187395"/>
                    <a:pt x="649427" y="187395"/>
                    <a:pt x="649427" y="187395"/>
                  </a:cubicBezTo>
                  <a:lnTo>
                    <a:pt x="712007" y="186881"/>
                  </a:lnTo>
                  <a:cubicBezTo>
                    <a:pt x="696405" y="276035"/>
                    <a:pt x="649256" y="355073"/>
                    <a:pt x="577590" y="411480"/>
                  </a:cubicBezTo>
                  <a:cubicBezTo>
                    <a:pt x="500609" y="472002"/>
                    <a:pt x="404768" y="498748"/>
                    <a:pt x="307728" y="487089"/>
                  </a:cubicBezTo>
                  <a:cubicBezTo>
                    <a:pt x="193885" y="473373"/>
                    <a:pt x="94958" y="408908"/>
                    <a:pt x="36322" y="310153"/>
                  </a:cubicBezTo>
                  <a:cubicBezTo>
                    <a:pt x="30836" y="300895"/>
                    <a:pt x="18834" y="297809"/>
                    <a:pt x="9576" y="303295"/>
                  </a:cubicBezTo>
                  <a:cubicBezTo>
                    <a:pt x="318" y="308781"/>
                    <a:pt x="-2768" y="320783"/>
                    <a:pt x="2718" y="330041"/>
                  </a:cubicBezTo>
                  <a:cubicBezTo>
                    <a:pt x="33750" y="382334"/>
                    <a:pt x="76784" y="427768"/>
                    <a:pt x="127362" y="461201"/>
                  </a:cubicBezTo>
                  <a:cubicBezTo>
                    <a:pt x="153251" y="478346"/>
                    <a:pt x="181026" y="492576"/>
                    <a:pt x="210001" y="503206"/>
                  </a:cubicBezTo>
                  <a:cubicBezTo>
                    <a:pt x="239833" y="514350"/>
                    <a:pt x="271209" y="521894"/>
                    <a:pt x="303098" y="525666"/>
                  </a:cubicBezTo>
                  <a:cubicBezTo>
                    <a:pt x="319386" y="527552"/>
                    <a:pt x="335674" y="528580"/>
                    <a:pt x="351962" y="528580"/>
                  </a:cubicBezTo>
                  <a:cubicBezTo>
                    <a:pt x="389681" y="528580"/>
                    <a:pt x="427057" y="523265"/>
                    <a:pt x="463404" y="512807"/>
                  </a:cubicBezTo>
                  <a:cubicBezTo>
                    <a:pt x="513810" y="498234"/>
                    <a:pt x="560273" y="474402"/>
                    <a:pt x="601593" y="441998"/>
                  </a:cubicBezTo>
                  <a:cubicBezTo>
                    <a:pt x="642912" y="409423"/>
                    <a:pt x="677202" y="369989"/>
                    <a:pt x="703091" y="324383"/>
                  </a:cubicBezTo>
                  <a:cubicBezTo>
                    <a:pt x="730009" y="277235"/>
                    <a:pt x="746982" y="225800"/>
                    <a:pt x="753498" y="171621"/>
                  </a:cubicBezTo>
                  <a:cubicBezTo>
                    <a:pt x="753498" y="171279"/>
                    <a:pt x="753498" y="170936"/>
                    <a:pt x="753669" y="170421"/>
                  </a:cubicBezTo>
                  <a:cubicBezTo>
                    <a:pt x="753840" y="169221"/>
                    <a:pt x="754012" y="168021"/>
                    <a:pt x="754012" y="166821"/>
                  </a:cubicBezTo>
                  <a:cubicBezTo>
                    <a:pt x="754012" y="156020"/>
                    <a:pt x="745096" y="147447"/>
                    <a:pt x="734295" y="147447"/>
                  </a:cubicBezTo>
                  <a:lnTo>
                    <a:pt x="682860" y="147790"/>
                  </a:lnTo>
                  <a:lnTo>
                    <a:pt x="733781" y="58122"/>
                  </a:lnTo>
                  <a:lnTo>
                    <a:pt x="803047" y="176079"/>
                  </a:lnTo>
                  <a:cubicBezTo>
                    <a:pt x="808533" y="185337"/>
                    <a:pt x="820363" y="188424"/>
                    <a:pt x="829793" y="182937"/>
                  </a:cubicBezTo>
                  <a:cubicBezTo>
                    <a:pt x="839051" y="177965"/>
                    <a:pt x="842137" y="165964"/>
                    <a:pt x="836651" y="156705"/>
                  </a:cubicBezTo>
                  <a:close/>
                </a:path>
              </a:pathLst>
            </a:custGeom>
            <a:grpFill/>
            <a:ln w="9525" cap="flat">
              <a:noFill/>
              <a:prstDash val="solid"/>
              <a:miter/>
            </a:ln>
          </p:spPr>
          <p:txBody>
            <a:bodyPr rtlCol="0" anchor="ctr"/>
            <a:lstStyle/>
            <a:p>
              <a:pPr defTabSz="457189"/>
              <a:endParaRPr lang="fr-FR" sz="1350">
                <a:solidFill>
                  <a:prstClr val="black"/>
                </a:solidFill>
                <a:latin typeface="Arial"/>
              </a:endParaRPr>
            </a:p>
          </p:txBody>
        </p:sp>
        <p:sp>
          <p:nvSpPr>
            <p:cNvPr id="25" name="Forme libre 24">
              <a:extLst>
                <a:ext uri="{FF2B5EF4-FFF2-40B4-BE49-F238E27FC236}">
                  <a16:creationId xmlns:a16="http://schemas.microsoft.com/office/drawing/2014/main" id="{735D753B-2F3D-A677-1311-219846838000}"/>
                </a:ext>
              </a:extLst>
            </p:cNvPr>
            <p:cNvSpPr/>
            <p:nvPr/>
          </p:nvSpPr>
          <p:spPr>
            <a:xfrm>
              <a:off x="3852405" y="3365392"/>
              <a:ext cx="1206152" cy="513492"/>
            </a:xfrm>
            <a:custGeom>
              <a:avLst/>
              <a:gdLst>
                <a:gd name="connsiteX0" fmla="*/ 1110482 w 1206152"/>
                <a:gd name="connsiteY0" fmla="*/ 20574 h 513492"/>
                <a:gd name="connsiteX1" fmla="*/ 1055446 w 1206152"/>
                <a:gd name="connsiteY1" fmla="*/ 38062 h 513492"/>
                <a:gd name="connsiteX2" fmla="*/ 916057 w 1206152"/>
                <a:gd name="connsiteY2" fmla="*/ 135617 h 513492"/>
                <a:gd name="connsiteX3" fmla="*/ 907485 w 1206152"/>
                <a:gd name="connsiteY3" fmla="*/ 149333 h 513492"/>
                <a:gd name="connsiteX4" fmla="*/ 911085 w 1206152"/>
                <a:gd name="connsiteY4" fmla="*/ 165106 h 513492"/>
                <a:gd name="connsiteX5" fmla="*/ 928402 w 1206152"/>
                <a:gd name="connsiteY5" fmla="*/ 174022 h 513492"/>
                <a:gd name="connsiteX6" fmla="*/ 940575 w 1206152"/>
                <a:gd name="connsiteY6" fmla="*/ 170079 h 513492"/>
                <a:gd name="connsiteX7" fmla="*/ 1079964 w 1206152"/>
                <a:gd name="connsiteY7" fmla="*/ 72523 h 513492"/>
                <a:gd name="connsiteX8" fmla="*/ 1110482 w 1206152"/>
                <a:gd name="connsiteY8" fmla="*/ 62751 h 513492"/>
                <a:gd name="connsiteX9" fmla="*/ 1153687 w 1206152"/>
                <a:gd name="connsiteY9" fmla="*/ 85039 h 513492"/>
                <a:gd name="connsiteX10" fmla="*/ 1162774 w 1206152"/>
                <a:gd name="connsiteY10" fmla="*/ 124473 h 513492"/>
                <a:gd name="connsiteX11" fmla="*/ 1141171 w 1206152"/>
                <a:gd name="connsiteY11" fmla="*/ 158763 h 513492"/>
                <a:gd name="connsiteX12" fmla="*/ 767239 w 1206152"/>
                <a:gd name="connsiteY12" fmla="*/ 422967 h 513492"/>
                <a:gd name="connsiteX13" fmla="*/ 753866 w 1206152"/>
                <a:gd name="connsiteY13" fmla="*/ 429825 h 513492"/>
                <a:gd name="connsiteX14" fmla="*/ 736721 w 1206152"/>
                <a:gd name="connsiteY14" fmla="*/ 432740 h 513492"/>
                <a:gd name="connsiteX15" fmla="*/ 731406 w 1206152"/>
                <a:gd name="connsiteY15" fmla="*/ 432397 h 513492"/>
                <a:gd name="connsiteX16" fmla="*/ 731234 w 1206152"/>
                <a:gd name="connsiteY16" fmla="*/ 432397 h 513492"/>
                <a:gd name="connsiteX17" fmla="*/ 731063 w 1206152"/>
                <a:gd name="connsiteY17" fmla="*/ 432397 h 513492"/>
                <a:gd name="connsiteX18" fmla="*/ 383362 w 1206152"/>
                <a:gd name="connsiteY18" fmla="*/ 343929 h 513492"/>
                <a:gd name="connsiteX19" fmla="*/ 380962 w 1206152"/>
                <a:gd name="connsiteY19" fmla="*/ 343414 h 513492"/>
                <a:gd name="connsiteX20" fmla="*/ 366389 w 1206152"/>
                <a:gd name="connsiteY20" fmla="*/ 342386 h 513492"/>
                <a:gd name="connsiteX21" fmla="*/ 311353 w 1206152"/>
                <a:gd name="connsiteY21" fmla="*/ 360045 h 513492"/>
                <a:gd name="connsiteX22" fmla="*/ 288550 w 1206152"/>
                <a:gd name="connsiteY22" fmla="*/ 376161 h 513492"/>
                <a:gd name="connsiteX23" fmla="*/ 146247 w 1206152"/>
                <a:gd name="connsiteY23" fmla="*/ 175736 h 513492"/>
                <a:gd name="connsiteX24" fmla="*/ 305352 w 1206152"/>
                <a:gd name="connsiteY24" fmla="*/ 62236 h 513492"/>
                <a:gd name="connsiteX25" fmla="*/ 368618 w 1206152"/>
                <a:gd name="connsiteY25" fmla="*/ 42005 h 513492"/>
                <a:gd name="connsiteX26" fmla="*/ 385591 w 1206152"/>
                <a:gd name="connsiteY26" fmla="*/ 43377 h 513492"/>
                <a:gd name="connsiteX27" fmla="*/ 385934 w 1206152"/>
                <a:gd name="connsiteY27" fmla="*/ 43548 h 513492"/>
                <a:gd name="connsiteX28" fmla="*/ 782669 w 1206152"/>
                <a:gd name="connsiteY28" fmla="*/ 158763 h 513492"/>
                <a:gd name="connsiteX29" fmla="*/ 783012 w 1206152"/>
                <a:gd name="connsiteY29" fmla="*/ 158934 h 513492"/>
                <a:gd name="connsiteX30" fmla="*/ 783012 w 1206152"/>
                <a:gd name="connsiteY30" fmla="*/ 158934 h 513492"/>
                <a:gd name="connsiteX31" fmla="*/ 819702 w 1206152"/>
                <a:gd name="connsiteY31" fmla="*/ 222885 h 513492"/>
                <a:gd name="connsiteX32" fmla="*/ 795357 w 1206152"/>
                <a:gd name="connsiteY32" fmla="*/ 254260 h 513492"/>
                <a:gd name="connsiteX33" fmla="*/ 769125 w 1206152"/>
                <a:gd name="connsiteY33" fmla="*/ 261118 h 513492"/>
                <a:gd name="connsiteX34" fmla="*/ 755066 w 1206152"/>
                <a:gd name="connsiteY34" fmla="*/ 259233 h 513492"/>
                <a:gd name="connsiteX35" fmla="*/ 754723 w 1206152"/>
                <a:gd name="connsiteY35" fmla="*/ 259233 h 513492"/>
                <a:gd name="connsiteX36" fmla="*/ 754380 w 1206152"/>
                <a:gd name="connsiteY36" fmla="*/ 259061 h 513492"/>
                <a:gd name="connsiteX37" fmla="*/ 754380 w 1206152"/>
                <a:gd name="connsiteY37" fmla="*/ 259061 h 513492"/>
                <a:gd name="connsiteX38" fmla="*/ 754380 w 1206152"/>
                <a:gd name="connsiteY38" fmla="*/ 259061 h 513492"/>
                <a:gd name="connsiteX39" fmla="*/ 549669 w 1206152"/>
                <a:gd name="connsiteY39" fmla="*/ 209340 h 513492"/>
                <a:gd name="connsiteX40" fmla="*/ 544868 w 1206152"/>
                <a:gd name="connsiteY40" fmla="*/ 208826 h 513492"/>
                <a:gd name="connsiteX41" fmla="*/ 524294 w 1206152"/>
                <a:gd name="connsiteY41" fmla="*/ 225114 h 513492"/>
                <a:gd name="connsiteX42" fmla="*/ 527723 w 1206152"/>
                <a:gd name="connsiteY42" fmla="*/ 242259 h 513492"/>
                <a:gd name="connsiteX43" fmla="*/ 540068 w 1206152"/>
                <a:gd name="connsiteY43" fmla="*/ 250660 h 513492"/>
                <a:gd name="connsiteX44" fmla="*/ 744607 w 1206152"/>
                <a:gd name="connsiteY44" fmla="*/ 300381 h 513492"/>
                <a:gd name="connsiteX45" fmla="*/ 744950 w 1206152"/>
                <a:gd name="connsiteY45" fmla="*/ 300381 h 513492"/>
                <a:gd name="connsiteX46" fmla="*/ 769296 w 1206152"/>
                <a:gd name="connsiteY46" fmla="*/ 303466 h 513492"/>
                <a:gd name="connsiteX47" fmla="*/ 816273 w 1206152"/>
                <a:gd name="connsiteY47" fmla="*/ 291122 h 513492"/>
                <a:gd name="connsiteX48" fmla="*/ 860679 w 1206152"/>
                <a:gd name="connsiteY48" fmla="*/ 233858 h 513492"/>
                <a:gd name="connsiteX49" fmla="*/ 794671 w 1206152"/>
                <a:gd name="connsiteY49" fmla="*/ 118301 h 513492"/>
                <a:gd name="connsiteX50" fmla="*/ 794499 w 1206152"/>
                <a:gd name="connsiteY50" fmla="*/ 118301 h 513492"/>
                <a:gd name="connsiteX51" fmla="*/ 398107 w 1206152"/>
                <a:gd name="connsiteY51" fmla="*/ 3258 h 513492"/>
                <a:gd name="connsiteX52" fmla="*/ 397935 w 1206152"/>
                <a:gd name="connsiteY52" fmla="*/ 3258 h 513492"/>
                <a:gd name="connsiteX53" fmla="*/ 394335 w 1206152"/>
                <a:gd name="connsiteY53" fmla="*/ 2229 h 513492"/>
                <a:gd name="connsiteX54" fmla="*/ 368618 w 1206152"/>
                <a:gd name="connsiteY54" fmla="*/ 0 h 513492"/>
                <a:gd name="connsiteX55" fmla="*/ 280835 w 1206152"/>
                <a:gd name="connsiteY55" fmla="*/ 28118 h 513492"/>
                <a:gd name="connsiteX56" fmla="*/ 121901 w 1206152"/>
                <a:gd name="connsiteY56" fmla="*/ 141618 h 513492"/>
                <a:gd name="connsiteX57" fmla="*/ 105270 w 1206152"/>
                <a:gd name="connsiteY57" fmla="*/ 118129 h 513492"/>
                <a:gd name="connsiteX58" fmla="*/ 87954 w 1206152"/>
                <a:gd name="connsiteY58" fmla="*/ 109214 h 513492"/>
                <a:gd name="connsiteX59" fmla="*/ 75781 w 1206152"/>
                <a:gd name="connsiteY59" fmla="*/ 113157 h 513492"/>
                <a:gd name="connsiteX60" fmla="*/ 9430 w 1206152"/>
                <a:gd name="connsiteY60" fmla="*/ 160134 h 513492"/>
                <a:gd name="connsiteX61" fmla="*/ 8915 w 1206152"/>
                <a:gd name="connsiteY61" fmla="*/ 160477 h 513492"/>
                <a:gd name="connsiteX62" fmla="*/ 8573 w 1206152"/>
                <a:gd name="connsiteY62" fmla="*/ 160649 h 513492"/>
                <a:gd name="connsiteX63" fmla="*/ 0 w 1206152"/>
                <a:gd name="connsiteY63" fmla="*/ 177794 h 513492"/>
                <a:gd name="connsiteX64" fmla="*/ 21260 w 1206152"/>
                <a:gd name="connsiteY64" fmla="*/ 199053 h 513492"/>
                <a:gd name="connsiteX65" fmla="*/ 34461 w 1206152"/>
                <a:gd name="connsiteY65" fmla="*/ 194424 h 513492"/>
                <a:gd name="connsiteX66" fmla="*/ 34633 w 1206152"/>
                <a:gd name="connsiteY66" fmla="*/ 194253 h 513492"/>
                <a:gd name="connsiteX67" fmla="*/ 82982 w 1206152"/>
                <a:gd name="connsiteY67" fmla="*/ 159963 h 513492"/>
                <a:gd name="connsiteX68" fmla="*/ 283407 w 1206152"/>
                <a:gd name="connsiteY68" fmla="*/ 442170 h 513492"/>
                <a:gd name="connsiteX69" fmla="*/ 239344 w 1206152"/>
                <a:gd name="connsiteY69" fmla="*/ 473716 h 513492"/>
                <a:gd name="connsiteX70" fmla="*/ 235401 w 1206152"/>
                <a:gd name="connsiteY70" fmla="*/ 476460 h 513492"/>
                <a:gd name="connsiteX71" fmla="*/ 228371 w 1206152"/>
                <a:gd name="connsiteY71" fmla="*/ 492233 h 513492"/>
                <a:gd name="connsiteX72" fmla="*/ 249631 w 1206152"/>
                <a:gd name="connsiteY72" fmla="*/ 513493 h 513492"/>
                <a:gd name="connsiteX73" fmla="*/ 262147 w 1206152"/>
                <a:gd name="connsiteY73" fmla="*/ 509378 h 513492"/>
                <a:gd name="connsiteX74" fmla="*/ 262490 w 1206152"/>
                <a:gd name="connsiteY74" fmla="*/ 509206 h 513492"/>
                <a:gd name="connsiteX75" fmla="*/ 325241 w 1206152"/>
                <a:gd name="connsiteY75" fmla="*/ 464458 h 513492"/>
                <a:gd name="connsiteX76" fmla="*/ 330213 w 1206152"/>
                <a:gd name="connsiteY76" fmla="*/ 434969 h 513492"/>
                <a:gd name="connsiteX77" fmla="*/ 313239 w 1206152"/>
                <a:gd name="connsiteY77" fmla="*/ 411137 h 513492"/>
                <a:gd name="connsiteX78" fmla="*/ 336042 w 1206152"/>
                <a:gd name="connsiteY78" fmla="*/ 395021 h 513492"/>
                <a:gd name="connsiteX79" fmla="*/ 366560 w 1206152"/>
                <a:gd name="connsiteY79" fmla="*/ 385248 h 513492"/>
                <a:gd name="connsiteX80" fmla="*/ 373761 w 1206152"/>
                <a:gd name="connsiteY80" fmla="*/ 385762 h 513492"/>
                <a:gd name="connsiteX81" fmla="*/ 374104 w 1206152"/>
                <a:gd name="connsiteY81" fmla="*/ 385762 h 513492"/>
                <a:gd name="connsiteX82" fmla="*/ 722662 w 1206152"/>
                <a:gd name="connsiteY82" fmla="*/ 474402 h 513492"/>
                <a:gd name="connsiteX83" fmla="*/ 723005 w 1206152"/>
                <a:gd name="connsiteY83" fmla="*/ 474402 h 513492"/>
                <a:gd name="connsiteX84" fmla="*/ 723862 w 1206152"/>
                <a:gd name="connsiteY84" fmla="*/ 474573 h 513492"/>
                <a:gd name="connsiteX85" fmla="*/ 724033 w 1206152"/>
                <a:gd name="connsiteY85" fmla="*/ 474573 h 513492"/>
                <a:gd name="connsiteX86" fmla="*/ 724891 w 1206152"/>
                <a:gd name="connsiteY86" fmla="*/ 474745 h 513492"/>
                <a:gd name="connsiteX87" fmla="*/ 725062 w 1206152"/>
                <a:gd name="connsiteY87" fmla="*/ 474745 h 513492"/>
                <a:gd name="connsiteX88" fmla="*/ 725234 w 1206152"/>
                <a:gd name="connsiteY88" fmla="*/ 474745 h 513492"/>
                <a:gd name="connsiteX89" fmla="*/ 736892 w 1206152"/>
                <a:gd name="connsiteY89" fmla="*/ 475431 h 513492"/>
                <a:gd name="connsiteX90" fmla="*/ 736892 w 1206152"/>
                <a:gd name="connsiteY90" fmla="*/ 475431 h 513492"/>
                <a:gd name="connsiteX91" fmla="*/ 768096 w 1206152"/>
                <a:gd name="connsiteY91" fmla="*/ 470287 h 513492"/>
                <a:gd name="connsiteX92" fmla="*/ 792099 w 1206152"/>
                <a:gd name="connsiteY92" fmla="*/ 457943 h 513492"/>
                <a:gd name="connsiteX93" fmla="*/ 1166031 w 1206152"/>
                <a:gd name="connsiteY93" fmla="*/ 193738 h 513492"/>
                <a:gd name="connsiteX94" fmla="*/ 1204779 w 1206152"/>
                <a:gd name="connsiteY94" fmla="*/ 132017 h 513492"/>
                <a:gd name="connsiteX95" fmla="*/ 1188491 w 1206152"/>
                <a:gd name="connsiteY95" fmla="*/ 60865 h 513492"/>
                <a:gd name="connsiteX96" fmla="*/ 1110482 w 1206152"/>
                <a:gd name="connsiteY96" fmla="*/ 20574 h 51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206152" h="513492">
                  <a:moveTo>
                    <a:pt x="1110482" y="20574"/>
                  </a:moveTo>
                  <a:cubicBezTo>
                    <a:pt x="1090593" y="20574"/>
                    <a:pt x="1071563" y="26575"/>
                    <a:pt x="1055446" y="38062"/>
                  </a:cubicBezTo>
                  <a:lnTo>
                    <a:pt x="916057" y="135617"/>
                  </a:lnTo>
                  <a:cubicBezTo>
                    <a:pt x="911428" y="138875"/>
                    <a:pt x="908342" y="143675"/>
                    <a:pt x="907485" y="149333"/>
                  </a:cubicBezTo>
                  <a:cubicBezTo>
                    <a:pt x="906456" y="154991"/>
                    <a:pt x="907828" y="160477"/>
                    <a:pt x="911085" y="165106"/>
                  </a:cubicBezTo>
                  <a:cubicBezTo>
                    <a:pt x="915029" y="170764"/>
                    <a:pt x="921544" y="174022"/>
                    <a:pt x="928402" y="174022"/>
                  </a:cubicBezTo>
                  <a:cubicBezTo>
                    <a:pt x="932859" y="174022"/>
                    <a:pt x="936974" y="172650"/>
                    <a:pt x="940575" y="170079"/>
                  </a:cubicBezTo>
                  <a:lnTo>
                    <a:pt x="1079964" y="72523"/>
                  </a:lnTo>
                  <a:cubicBezTo>
                    <a:pt x="1088879" y="66180"/>
                    <a:pt x="1099509" y="62751"/>
                    <a:pt x="1110482" y="62751"/>
                  </a:cubicBezTo>
                  <a:cubicBezTo>
                    <a:pt x="1127627" y="62751"/>
                    <a:pt x="1143743" y="71152"/>
                    <a:pt x="1153687" y="85039"/>
                  </a:cubicBezTo>
                  <a:cubicBezTo>
                    <a:pt x="1161917" y="96526"/>
                    <a:pt x="1165003" y="110585"/>
                    <a:pt x="1162774" y="124473"/>
                  </a:cubicBezTo>
                  <a:cubicBezTo>
                    <a:pt x="1160374" y="138360"/>
                    <a:pt x="1152830" y="150705"/>
                    <a:pt x="1141171" y="158763"/>
                  </a:cubicBezTo>
                  <a:lnTo>
                    <a:pt x="767239" y="422967"/>
                  </a:lnTo>
                  <a:cubicBezTo>
                    <a:pt x="763124" y="425882"/>
                    <a:pt x="758666" y="428282"/>
                    <a:pt x="753866" y="429825"/>
                  </a:cubicBezTo>
                  <a:cubicBezTo>
                    <a:pt x="748379" y="431711"/>
                    <a:pt x="742550" y="432740"/>
                    <a:pt x="736721" y="432740"/>
                  </a:cubicBezTo>
                  <a:cubicBezTo>
                    <a:pt x="735006" y="432740"/>
                    <a:pt x="733120" y="432568"/>
                    <a:pt x="731406" y="432397"/>
                  </a:cubicBezTo>
                  <a:lnTo>
                    <a:pt x="731234" y="432397"/>
                  </a:lnTo>
                  <a:lnTo>
                    <a:pt x="731063" y="432397"/>
                  </a:lnTo>
                  <a:lnTo>
                    <a:pt x="383362" y="343929"/>
                  </a:lnTo>
                  <a:cubicBezTo>
                    <a:pt x="382505" y="343757"/>
                    <a:pt x="381648" y="343586"/>
                    <a:pt x="380962" y="343414"/>
                  </a:cubicBezTo>
                  <a:cubicBezTo>
                    <a:pt x="376161" y="342729"/>
                    <a:pt x="371189" y="342386"/>
                    <a:pt x="366389" y="342386"/>
                  </a:cubicBezTo>
                  <a:cubicBezTo>
                    <a:pt x="346672" y="342386"/>
                    <a:pt x="327641" y="348558"/>
                    <a:pt x="311353" y="360045"/>
                  </a:cubicBezTo>
                  <a:lnTo>
                    <a:pt x="288550" y="376161"/>
                  </a:lnTo>
                  <a:lnTo>
                    <a:pt x="146247" y="175736"/>
                  </a:lnTo>
                  <a:lnTo>
                    <a:pt x="305352" y="62236"/>
                  </a:lnTo>
                  <a:cubicBezTo>
                    <a:pt x="324041" y="49035"/>
                    <a:pt x="345986" y="42005"/>
                    <a:pt x="368618" y="42005"/>
                  </a:cubicBezTo>
                  <a:cubicBezTo>
                    <a:pt x="374275" y="42005"/>
                    <a:pt x="379933" y="42519"/>
                    <a:pt x="385591" y="43377"/>
                  </a:cubicBezTo>
                  <a:lnTo>
                    <a:pt x="385934" y="43548"/>
                  </a:lnTo>
                  <a:lnTo>
                    <a:pt x="782669" y="158763"/>
                  </a:lnTo>
                  <a:lnTo>
                    <a:pt x="783012" y="158934"/>
                  </a:lnTo>
                  <a:cubicBezTo>
                    <a:pt x="783012" y="158934"/>
                    <a:pt x="783012" y="158934"/>
                    <a:pt x="783012" y="158934"/>
                  </a:cubicBezTo>
                  <a:cubicBezTo>
                    <a:pt x="810616" y="166821"/>
                    <a:pt x="827075" y="195453"/>
                    <a:pt x="819702" y="222885"/>
                  </a:cubicBezTo>
                  <a:cubicBezTo>
                    <a:pt x="816102" y="236258"/>
                    <a:pt x="807530" y="247402"/>
                    <a:pt x="795357" y="254260"/>
                  </a:cubicBezTo>
                  <a:cubicBezTo>
                    <a:pt x="787298" y="258718"/>
                    <a:pt x="778212" y="261118"/>
                    <a:pt x="769125" y="261118"/>
                  </a:cubicBezTo>
                  <a:cubicBezTo>
                    <a:pt x="764324" y="261118"/>
                    <a:pt x="759695" y="260433"/>
                    <a:pt x="755066" y="259233"/>
                  </a:cubicBezTo>
                  <a:cubicBezTo>
                    <a:pt x="754894" y="259233"/>
                    <a:pt x="754894" y="259233"/>
                    <a:pt x="754723" y="259233"/>
                  </a:cubicBezTo>
                  <a:cubicBezTo>
                    <a:pt x="754551" y="259233"/>
                    <a:pt x="754551" y="259233"/>
                    <a:pt x="754380" y="259061"/>
                  </a:cubicBezTo>
                  <a:cubicBezTo>
                    <a:pt x="754380" y="259061"/>
                    <a:pt x="754380" y="259061"/>
                    <a:pt x="754380" y="259061"/>
                  </a:cubicBezTo>
                  <a:lnTo>
                    <a:pt x="754380" y="259061"/>
                  </a:lnTo>
                  <a:lnTo>
                    <a:pt x="549669" y="209340"/>
                  </a:lnTo>
                  <a:cubicBezTo>
                    <a:pt x="548126" y="208998"/>
                    <a:pt x="546411" y="208826"/>
                    <a:pt x="544868" y="208826"/>
                  </a:cubicBezTo>
                  <a:cubicBezTo>
                    <a:pt x="534924" y="208826"/>
                    <a:pt x="526523" y="215513"/>
                    <a:pt x="524294" y="225114"/>
                  </a:cubicBezTo>
                  <a:cubicBezTo>
                    <a:pt x="522923" y="230943"/>
                    <a:pt x="524123" y="237287"/>
                    <a:pt x="527723" y="242259"/>
                  </a:cubicBezTo>
                  <a:cubicBezTo>
                    <a:pt x="530638" y="246545"/>
                    <a:pt x="535095" y="249460"/>
                    <a:pt x="540068" y="250660"/>
                  </a:cubicBezTo>
                  <a:lnTo>
                    <a:pt x="744607" y="300381"/>
                  </a:lnTo>
                  <a:cubicBezTo>
                    <a:pt x="744779" y="300381"/>
                    <a:pt x="744779" y="300381"/>
                    <a:pt x="744950" y="300381"/>
                  </a:cubicBezTo>
                  <a:cubicBezTo>
                    <a:pt x="753008" y="302438"/>
                    <a:pt x="761067" y="303466"/>
                    <a:pt x="769296" y="303466"/>
                  </a:cubicBezTo>
                  <a:cubicBezTo>
                    <a:pt x="785755" y="303466"/>
                    <a:pt x="801872" y="299180"/>
                    <a:pt x="816273" y="291122"/>
                  </a:cubicBezTo>
                  <a:cubicBezTo>
                    <a:pt x="838391" y="278606"/>
                    <a:pt x="854164" y="258375"/>
                    <a:pt x="860679" y="233858"/>
                  </a:cubicBezTo>
                  <a:cubicBezTo>
                    <a:pt x="873881" y="184309"/>
                    <a:pt x="844391" y="132531"/>
                    <a:pt x="794671" y="118301"/>
                  </a:cubicBezTo>
                  <a:lnTo>
                    <a:pt x="794499" y="118301"/>
                  </a:lnTo>
                  <a:lnTo>
                    <a:pt x="398107" y="3258"/>
                  </a:lnTo>
                  <a:lnTo>
                    <a:pt x="397935" y="3258"/>
                  </a:lnTo>
                  <a:cubicBezTo>
                    <a:pt x="396735" y="2743"/>
                    <a:pt x="395535" y="2400"/>
                    <a:pt x="394335" y="2229"/>
                  </a:cubicBezTo>
                  <a:cubicBezTo>
                    <a:pt x="385763" y="857"/>
                    <a:pt x="377190" y="0"/>
                    <a:pt x="368618" y="0"/>
                  </a:cubicBezTo>
                  <a:cubicBezTo>
                    <a:pt x="337071" y="0"/>
                    <a:pt x="306724" y="9773"/>
                    <a:pt x="280835" y="28118"/>
                  </a:cubicBezTo>
                  <a:lnTo>
                    <a:pt x="121901" y="141618"/>
                  </a:lnTo>
                  <a:lnTo>
                    <a:pt x="105270" y="118129"/>
                  </a:lnTo>
                  <a:cubicBezTo>
                    <a:pt x="101327" y="112471"/>
                    <a:pt x="94812" y="109214"/>
                    <a:pt x="87954" y="109214"/>
                  </a:cubicBezTo>
                  <a:cubicBezTo>
                    <a:pt x="83496" y="109214"/>
                    <a:pt x="79381" y="110585"/>
                    <a:pt x="75781" y="113157"/>
                  </a:cubicBezTo>
                  <a:lnTo>
                    <a:pt x="9430" y="160134"/>
                  </a:lnTo>
                  <a:cubicBezTo>
                    <a:pt x="9258" y="160306"/>
                    <a:pt x="9087" y="160306"/>
                    <a:pt x="8915" y="160477"/>
                  </a:cubicBezTo>
                  <a:lnTo>
                    <a:pt x="8573" y="160649"/>
                  </a:lnTo>
                  <a:cubicBezTo>
                    <a:pt x="3257" y="164592"/>
                    <a:pt x="0" y="171107"/>
                    <a:pt x="0" y="177794"/>
                  </a:cubicBezTo>
                  <a:cubicBezTo>
                    <a:pt x="0" y="189452"/>
                    <a:pt x="9601" y="199053"/>
                    <a:pt x="21260" y="199053"/>
                  </a:cubicBezTo>
                  <a:cubicBezTo>
                    <a:pt x="26060" y="199053"/>
                    <a:pt x="30689" y="197511"/>
                    <a:pt x="34461" y="194424"/>
                  </a:cubicBezTo>
                  <a:lnTo>
                    <a:pt x="34633" y="194253"/>
                  </a:lnTo>
                  <a:lnTo>
                    <a:pt x="82982" y="159963"/>
                  </a:lnTo>
                  <a:lnTo>
                    <a:pt x="283407" y="442170"/>
                  </a:lnTo>
                  <a:lnTo>
                    <a:pt x="239344" y="473716"/>
                  </a:lnTo>
                  <a:cubicBezTo>
                    <a:pt x="237973" y="474573"/>
                    <a:pt x="236601" y="475431"/>
                    <a:pt x="235401" y="476460"/>
                  </a:cubicBezTo>
                  <a:cubicBezTo>
                    <a:pt x="230943" y="480574"/>
                    <a:pt x="228371" y="486232"/>
                    <a:pt x="228371" y="492233"/>
                  </a:cubicBezTo>
                  <a:cubicBezTo>
                    <a:pt x="228371" y="503892"/>
                    <a:pt x="237973" y="513493"/>
                    <a:pt x="249631" y="513493"/>
                  </a:cubicBezTo>
                  <a:cubicBezTo>
                    <a:pt x="254089" y="513493"/>
                    <a:pt x="258375" y="512121"/>
                    <a:pt x="262147" y="509378"/>
                  </a:cubicBezTo>
                  <a:lnTo>
                    <a:pt x="262490" y="509206"/>
                  </a:lnTo>
                  <a:lnTo>
                    <a:pt x="325241" y="464458"/>
                  </a:lnTo>
                  <a:cubicBezTo>
                    <a:pt x="334842" y="457771"/>
                    <a:pt x="337071" y="444399"/>
                    <a:pt x="330213" y="434969"/>
                  </a:cubicBezTo>
                  <a:lnTo>
                    <a:pt x="313239" y="411137"/>
                  </a:lnTo>
                  <a:lnTo>
                    <a:pt x="336042" y="395021"/>
                  </a:lnTo>
                  <a:cubicBezTo>
                    <a:pt x="344957" y="388677"/>
                    <a:pt x="355587" y="385248"/>
                    <a:pt x="366560" y="385248"/>
                  </a:cubicBezTo>
                  <a:cubicBezTo>
                    <a:pt x="368960" y="385248"/>
                    <a:pt x="371361" y="385419"/>
                    <a:pt x="373761" y="385762"/>
                  </a:cubicBezTo>
                  <a:lnTo>
                    <a:pt x="374104" y="385762"/>
                  </a:lnTo>
                  <a:lnTo>
                    <a:pt x="722662" y="474402"/>
                  </a:lnTo>
                  <a:lnTo>
                    <a:pt x="723005" y="474402"/>
                  </a:lnTo>
                  <a:cubicBezTo>
                    <a:pt x="723348" y="474402"/>
                    <a:pt x="723519" y="474573"/>
                    <a:pt x="723862" y="474573"/>
                  </a:cubicBezTo>
                  <a:lnTo>
                    <a:pt x="724033" y="474573"/>
                  </a:lnTo>
                  <a:cubicBezTo>
                    <a:pt x="724376" y="474573"/>
                    <a:pt x="724719" y="474745"/>
                    <a:pt x="724891" y="474745"/>
                  </a:cubicBezTo>
                  <a:lnTo>
                    <a:pt x="725062" y="474745"/>
                  </a:lnTo>
                  <a:cubicBezTo>
                    <a:pt x="725062" y="474745"/>
                    <a:pt x="725234" y="474745"/>
                    <a:pt x="725234" y="474745"/>
                  </a:cubicBezTo>
                  <a:cubicBezTo>
                    <a:pt x="729177" y="475260"/>
                    <a:pt x="733120" y="475431"/>
                    <a:pt x="736892" y="475431"/>
                  </a:cubicBezTo>
                  <a:cubicBezTo>
                    <a:pt x="736892" y="475431"/>
                    <a:pt x="736892" y="475431"/>
                    <a:pt x="736892" y="475431"/>
                  </a:cubicBezTo>
                  <a:cubicBezTo>
                    <a:pt x="747522" y="475431"/>
                    <a:pt x="757980" y="473716"/>
                    <a:pt x="768096" y="470287"/>
                  </a:cubicBezTo>
                  <a:cubicBezTo>
                    <a:pt x="776669" y="467373"/>
                    <a:pt x="784727" y="463086"/>
                    <a:pt x="792099" y="457943"/>
                  </a:cubicBezTo>
                  <a:lnTo>
                    <a:pt x="1166031" y="193738"/>
                  </a:lnTo>
                  <a:cubicBezTo>
                    <a:pt x="1186777" y="178994"/>
                    <a:pt x="1200493" y="157048"/>
                    <a:pt x="1204779" y="132017"/>
                  </a:cubicBezTo>
                  <a:cubicBezTo>
                    <a:pt x="1209065" y="106813"/>
                    <a:pt x="1203236" y="81610"/>
                    <a:pt x="1188491" y="60865"/>
                  </a:cubicBezTo>
                  <a:cubicBezTo>
                    <a:pt x="1170489" y="35661"/>
                    <a:pt x="1141343" y="20574"/>
                    <a:pt x="1110482" y="20574"/>
                  </a:cubicBezTo>
                  <a:close/>
                </a:path>
              </a:pathLst>
            </a:custGeom>
            <a:grpFill/>
            <a:ln w="9525" cap="flat">
              <a:noFill/>
              <a:prstDash val="solid"/>
              <a:miter/>
            </a:ln>
          </p:spPr>
          <p:txBody>
            <a:bodyPr rtlCol="0" anchor="ctr"/>
            <a:lstStyle/>
            <a:p>
              <a:pPr defTabSz="457189"/>
              <a:endParaRPr lang="fr-FR" sz="1350" dirty="0">
                <a:solidFill>
                  <a:prstClr val="black"/>
                </a:solidFill>
                <a:latin typeface="Arial"/>
              </a:endParaRPr>
            </a:p>
          </p:txBody>
        </p:sp>
      </p:grpSp>
      <p:grpSp>
        <p:nvGrpSpPr>
          <p:cNvPr id="77" name="Graphique 37">
            <a:extLst>
              <a:ext uri="{FF2B5EF4-FFF2-40B4-BE49-F238E27FC236}">
                <a16:creationId xmlns:a16="http://schemas.microsoft.com/office/drawing/2014/main" id="{8DDF4B60-363F-9EE3-195F-558B3426C352}"/>
              </a:ext>
            </a:extLst>
          </p:cNvPr>
          <p:cNvGrpSpPr/>
          <p:nvPr/>
        </p:nvGrpSpPr>
        <p:grpSpPr>
          <a:xfrm>
            <a:off x="7753234" y="1399762"/>
            <a:ext cx="429680" cy="317517"/>
            <a:chOff x="3596575" y="4270176"/>
            <a:chExt cx="1278736" cy="1073348"/>
          </a:xfrm>
          <a:solidFill>
            <a:schemeClr val="bg1"/>
          </a:solidFill>
        </p:grpSpPr>
        <p:sp>
          <p:nvSpPr>
            <p:cNvPr id="83" name="Forme libre 82">
              <a:extLst>
                <a:ext uri="{FF2B5EF4-FFF2-40B4-BE49-F238E27FC236}">
                  <a16:creationId xmlns:a16="http://schemas.microsoft.com/office/drawing/2014/main" id="{C06504EB-E00A-E6E6-BCD0-B91DB5922C41}"/>
                </a:ext>
              </a:extLst>
            </p:cNvPr>
            <p:cNvSpPr/>
            <p:nvPr/>
          </p:nvSpPr>
          <p:spPr>
            <a:xfrm>
              <a:off x="3596575" y="4270176"/>
              <a:ext cx="1278736" cy="993874"/>
            </a:xfrm>
            <a:custGeom>
              <a:avLst/>
              <a:gdLst>
                <a:gd name="connsiteX0" fmla="*/ 257180 w 1278736"/>
                <a:gd name="connsiteY0" fmla="*/ 778669 h 993874"/>
                <a:gd name="connsiteX1" fmla="*/ 267003 w 1278736"/>
                <a:gd name="connsiteY1" fmla="*/ 777776 h 993874"/>
                <a:gd name="connsiteX2" fmla="*/ 493817 w 1278736"/>
                <a:gd name="connsiteY2" fmla="*/ 777776 h 993874"/>
                <a:gd name="connsiteX3" fmla="*/ 493817 w 1278736"/>
                <a:gd name="connsiteY3" fmla="*/ 934938 h 993874"/>
                <a:gd name="connsiteX4" fmla="*/ 451847 w 1278736"/>
                <a:gd name="connsiteY4" fmla="*/ 892969 h 993874"/>
                <a:gd name="connsiteX5" fmla="*/ 427737 w 1278736"/>
                <a:gd name="connsiteY5" fmla="*/ 892969 h 993874"/>
                <a:gd name="connsiteX6" fmla="*/ 427737 w 1278736"/>
                <a:gd name="connsiteY6" fmla="*/ 917079 h 993874"/>
                <a:gd name="connsiteX7" fmla="*/ 499175 w 1278736"/>
                <a:gd name="connsiteY7" fmla="*/ 988517 h 993874"/>
                <a:gd name="connsiteX8" fmla="*/ 500068 w 1278736"/>
                <a:gd name="connsiteY8" fmla="*/ 989409 h 993874"/>
                <a:gd name="connsiteX9" fmla="*/ 501853 w 1278736"/>
                <a:gd name="connsiteY9" fmla="*/ 991195 h 993874"/>
                <a:gd name="connsiteX10" fmla="*/ 503639 w 1278736"/>
                <a:gd name="connsiteY10" fmla="*/ 992981 h 993874"/>
                <a:gd name="connsiteX11" fmla="*/ 504532 w 1278736"/>
                <a:gd name="connsiteY11" fmla="*/ 992981 h 993874"/>
                <a:gd name="connsiteX12" fmla="*/ 506318 w 1278736"/>
                <a:gd name="connsiteY12" fmla="*/ 992981 h 993874"/>
                <a:gd name="connsiteX13" fmla="*/ 508997 w 1278736"/>
                <a:gd name="connsiteY13" fmla="*/ 993874 h 993874"/>
                <a:gd name="connsiteX14" fmla="*/ 511676 w 1278736"/>
                <a:gd name="connsiteY14" fmla="*/ 993874 h 993874"/>
                <a:gd name="connsiteX15" fmla="*/ 514355 w 1278736"/>
                <a:gd name="connsiteY15" fmla="*/ 993874 h 993874"/>
                <a:gd name="connsiteX16" fmla="*/ 517034 w 1278736"/>
                <a:gd name="connsiteY16" fmla="*/ 992981 h 993874"/>
                <a:gd name="connsiteX17" fmla="*/ 518820 w 1278736"/>
                <a:gd name="connsiteY17" fmla="*/ 992981 h 993874"/>
                <a:gd name="connsiteX18" fmla="*/ 519713 w 1278736"/>
                <a:gd name="connsiteY18" fmla="*/ 992981 h 993874"/>
                <a:gd name="connsiteX19" fmla="*/ 522392 w 1278736"/>
                <a:gd name="connsiteY19" fmla="*/ 991195 h 993874"/>
                <a:gd name="connsiteX20" fmla="*/ 524178 w 1278736"/>
                <a:gd name="connsiteY20" fmla="*/ 989409 h 993874"/>
                <a:gd name="connsiteX21" fmla="*/ 525071 w 1278736"/>
                <a:gd name="connsiteY21" fmla="*/ 988517 h 993874"/>
                <a:gd name="connsiteX22" fmla="*/ 526857 w 1278736"/>
                <a:gd name="connsiteY22" fmla="*/ 986731 h 993874"/>
                <a:gd name="connsiteX23" fmla="*/ 595615 w 1278736"/>
                <a:gd name="connsiteY23" fmla="*/ 917972 h 993874"/>
                <a:gd name="connsiteX24" fmla="*/ 597401 w 1278736"/>
                <a:gd name="connsiteY24" fmla="*/ 895648 h 993874"/>
                <a:gd name="connsiteX25" fmla="*/ 595615 w 1278736"/>
                <a:gd name="connsiteY25" fmla="*/ 893862 h 993874"/>
                <a:gd name="connsiteX26" fmla="*/ 571505 w 1278736"/>
                <a:gd name="connsiteY26" fmla="*/ 893862 h 993874"/>
                <a:gd name="connsiteX27" fmla="*/ 557218 w 1278736"/>
                <a:gd name="connsiteY27" fmla="*/ 908149 h 993874"/>
                <a:gd name="connsiteX28" fmla="*/ 529536 w 1278736"/>
                <a:gd name="connsiteY28" fmla="*/ 935831 h 993874"/>
                <a:gd name="connsiteX29" fmla="*/ 529536 w 1278736"/>
                <a:gd name="connsiteY29" fmla="*/ 662583 h 993874"/>
                <a:gd name="connsiteX30" fmla="*/ 525964 w 1278736"/>
                <a:gd name="connsiteY30" fmla="*/ 652760 h 993874"/>
                <a:gd name="connsiteX31" fmla="*/ 511676 w 1278736"/>
                <a:gd name="connsiteY31" fmla="*/ 645616 h 993874"/>
                <a:gd name="connsiteX32" fmla="*/ 494710 w 1278736"/>
                <a:gd name="connsiteY32" fmla="*/ 662583 h 993874"/>
                <a:gd name="connsiteX33" fmla="*/ 494710 w 1278736"/>
                <a:gd name="connsiteY33" fmla="*/ 743843 h 993874"/>
                <a:gd name="connsiteX34" fmla="*/ 267003 w 1278736"/>
                <a:gd name="connsiteY34" fmla="*/ 743843 h 993874"/>
                <a:gd name="connsiteX35" fmla="*/ 266110 w 1278736"/>
                <a:gd name="connsiteY35" fmla="*/ 743843 h 993874"/>
                <a:gd name="connsiteX36" fmla="*/ 257180 w 1278736"/>
                <a:gd name="connsiteY36" fmla="*/ 744736 h 993874"/>
                <a:gd name="connsiteX37" fmla="*/ 99125 w 1278736"/>
                <a:gd name="connsiteY37" fmla="*/ 679549 h 993874"/>
                <a:gd name="connsiteX38" fmla="*/ 33938 w 1278736"/>
                <a:gd name="connsiteY38" fmla="*/ 521493 h 993874"/>
                <a:gd name="connsiteX39" fmla="*/ 216103 w 1278736"/>
                <a:gd name="connsiteY39" fmla="*/ 301823 h 993874"/>
                <a:gd name="connsiteX40" fmla="*/ 230391 w 1278736"/>
                <a:gd name="connsiteY40" fmla="*/ 283071 h 993874"/>
                <a:gd name="connsiteX41" fmla="*/ 228605 w 1278736"/>
                <a:gd name="connsiteY41" fmla="*/ 257175 h 993874"/>
                <a:gd name="connsiteX42" fmla="*/ 293792 w 1278736"/>
                <a:gd name="connsiteY42" fmla="*/ 99119 h 993874"/>
                <a:gd name="connsiteX43" fmla="*/ 451847 w 1278736"/>
                <a:gd name="connsiteY43" fmla="*/ 33933 h 993874"/>
                <a:gd name="connsiteX44" fmla="*/ 653658 w 1278736"/>
                <a:gd name="connsiteY44" fmla="*/ 160734 h 993874"/>
                <a:gd name="connsiteX45" fmla="*/ 666160 w 1278736"/>
                <a:gd name="connsiteY45" fmla="*/ 170557 h 993874"/>
                <a:gd name="connsiteX46" fmla="*/ 681340 w 1278736"/>
                <a:gd name="connsiteY46" fmla="*/ 166092 h 993874"/>
                <a:gd name="connsiteX47" fmla="*/ 830466 w 1278736"/>
                <a:gd name="connsiteY47" fmla="*/ 108942 h 993874"/>
                <a:gd name="connsiteX48" fmla="*/ 1049243 w 1278736"/>
                <a:gd name="connsiteY48" fmla="*/ 288429 h 993874"/>
                <a:gd name="connsiteX49" fmla="*/ 1062638 w 1278736"/>
                <a:gd name="connsiteY49" fmla="*/ 301823 h 993874"/>
                <a:gd name="connsiteX50" fmla="*/ 1244804 w 1278736"/>
                <a:gd name="connsiteY50" fmla="*/ 521493 h 993874"/>
                <a:gd name="connsiteX51" fmla="*/ 1034956 w 1278736"/>
                <a:gd name="connsiteY51" fmla="*/ 744736 h 993874"/>
                <a:gd name="connsiteX52" fmla="*/ 1034063 w 1278736"/>
                <a:gd name="connsiteY52" fmla="*/ 744736 h 993874"/>
                <a:gd name="connsiteX53" fmla="*/ 1031384 w 1278736"/>
                <a:gd name="connsiteY53" fmla="*/ 744736 h 993874"/>
                <a:gd name="connsiteX54" fmla="*/ 1030491 w 1278736"/>
                <a:gd name="connsiteY54" fmla="*/ 744736 h 993874"/>
                <a:gd name="connsiteX55" fmla="*/ 1021561 w 1278736"/>
                <a:gd name="connsiteY55" fmla="*/ 745629 h 993874"/>
                <a:gd name="connsiteX56" fmla="*/ 1012632 w 1278736"/>
                <a:gd name="connsiteY56" fmla="*/ 744736 h 993874"/>
                <a:gd name="connsiteX57" fmla="*/ 1011739 w 1278736"/>
                <a:gd name="connsiteY57" fmla="*/ 744736 h 993874"/>
                <a:gd name="connsiteX58" fmla="*/ 784925 w 1278736"/>
                <a:gd name="connsiteY58" fmla="*/ 744736 h 993874"/>
                <a:gd name="connsiteX59" fmla="*/ 784925 w 1278736"/>
                <a:gd name="connsiteY59" fmla="*/ 779562 h 993874"/>
                <a:gd name="connsiteX60" fmla="*/ 1011739 w 1278736"/>
                <a:gd name="connsiteY60" fmla="*/ 779562 h 993874"/>
                <a:gd name="connsiteX61" fmla="*/ 1021561 w 1278736"/>
                <a:gd name="connsiteY61" fmla="*/ 780454 h 993874"/>
                <a:gd name="connsiteX62" fmla="*/ 1031384 w 1278736"/>
                <a:gd name="connsiteY62" fmla="*/ 779562 h 993874"/>
                <a:gd name="connsiteX63" fmla="*/ 1035849 w 1278736"/>
                <a:gd name="connsiteY63" fmla="*/ 779562 h 993874"/>
                <a:gd name="connsiteX64" fmla="*/ 1037635 w 1278736"/>
                <a:gd name="connsiteY64" fmla="*/ 779562 h 993874"/>
                <a:gd name="connsiteX65" fmla="*/ 1278736 w 1278736"/>
                <a:gd name="connsiteY65" fmla="*/ 522387 h 993874"/>
                <a:gd name="connsiteX66" fmla="*/ 1079604 w 1278736"/>
                <a:gd name="connsiteY66" fmla="*/ 271462 h 993874"/>
                <a:gd name="connsiteX67" fmla="*/ 829573 w 1278736"/>
                <a:gd name="connsiteY67" fmla="*/ 75902 h 993874"/>
                <a:gd name="connsiteX68" fmla="*/ 674197 w 1278736"/>
                <a:gd name="connsiteY68" fmla="*/ 127694 h 993874"/>
                <a:gd name="connsiteX69" fmla="*/ 451847 w 1278736"/>
                <a:gd name="connsiteY69" fmla="*/ 0 h 993874"/>
                <a:gd name="connsiteX70" fmla="*/ 193779 w 1278736"/>
                <a:gd name="connsiteY70" fmla="*/ 258068 h 993874"/>
                <a:gd name="connsiteX71" fmla="*/ 194672 w 1278736"/>
                <a:gd name="connsiteY71" fmla="*/ 272355 h 993874"/>
                <a:gd name="connsiteX72" fmla="*/ 5 w 1278736"/>
                <a:gd name="connsiteY72" fmla="*/ 522387 h 993874"/>
                <a:gd name="connsiteX73" fmla="*/ 257180 w 1278736"/>
                <a:gd name="connsiteY73" fmla="*/ 778669 h 99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78736" h="993874">
                  <a:moveTo>
                    <a:pt x="257180" y="778669"/>
                  </a:moveTo>
                  <a:cubicBezTo>
                    <a:pt x="261645" y="778669"/>
                    <a:pt x="265217" y="778669"/>
                    <a:pt x="267003" y="777776"/>
                  </a:cubicBezTo>
                  <a:lnTo>
                    <a:pt x="493817" y="777776"/>
                  </a:lnTo>
                  <a:lnTo>
                    <a:pt x="493817" y="934938"/>
                  </a:lnTo>
                  <a:lnTo>
                    <a:pt x="451847" y="892969"/>
                  </a:lnTo>
                  <a:cubicBezTo>
                    <a:pt x="444703" y="885825"/>
                    <a:pt x="433988" y="885825"/>
                    <a:pt x="427737" y="892969"/>
                  </a:cubicBezTo>
                  <a:cubicBezTo>
                    <a:pt x="420593" y="900112"/>
                    <a:pt x="420593" y="910828"/>
                    <a:pt x="427737" y="917079"/>
                  </a:cubicBezTo>
                  <a:lnTo>
                    <a:pt x="499175" y="988517"/>
                  </a:lnTo>
                  <a:cubicBezTo>
                    <a:pt x="499175" y="988517"/>
                    <a:pt x="500068" y="988517"/>
                    <a:pt x="500068" y="989409"/>
                  </a:cubicBezTo>
                  <a:cubicBezTo>
                    <a:pt x="500961" y="990302"/>
                    <a:pt x="500961" y="990302"/>
                    <a:pt x="501853" y="991195"/>
                  </a:cubicBezTo>
                  <a:cubicBezTo>
                    <a:pt x="502746" y="992088"/>
                    <a:pt x="503639" y="992088"/>
                    <a:pt x="503639" y="992981"/>
                  </a:cubicBezTo>
                  <a:cubicBezTo>
                    <a:pt x="503639" y="992981"/>
                    <a:pt x="503639" y="992981"/>
                    <a:pt x="504532" y="992981"/>
                  </a:cubicBezTo>
                  <a:cubicBezTo>
                    <a:pt x="505426" y="992981"/>
                    <a:pt x="505426" y="992981"/>
                    <a:pt x="506318" y="992981"/>
                  </a:cubicBezTo>
                  <a:cubicBezTo>
                    <a:pt x="507211" y="992981"/>
                    <a:pt x="508104" y="993874"/>
                    <a:pt x="508997" y="993874"/>
                  </a:cubicBezTo>
                  <a:cubicBezTo>
                    <a:pt x="509890" y="993874"/>
                    <a:pt x="510783" y="993874"/>
                    <a:pt x="511676" y="993874"/>
                  </a:cubicBezTo>
                  <a:cubicBezTo>
                    <a:pt x="512569" y="993874"/>
                    <a:pt x="513462" y="993874"/>
                    <a:pt x="514355" y="993874"/>
                  </a:cubicBezTo>
                  <a:cubicBezTo>
                    <a:pt x="515248" y="993874"/>
                    <a:pt x="516141" y="993874"/>
                    <a:pt x="517034" y="992981"/>
                  </a:cubicBezTo>
                  <a:cubicBezTo>
                    <a:pt x="517927" y="992981"/>
                    <a:pt x="517927" y="992981"/>
                    <a:pt x="518820" y="992981"/>
                  </a:cubicBezTo>
                  <a:cubicBezTo>
                    <a:pt x="518820" y="992981"/>
                    <a:pt x="518820" y="992981"/>
                    <a:pt x="519713" y="992981"/>
                  </a:cubicBezTo>
                  <a:cubicBezTo>
                    <a:pt x="520606" y="992981"/>
                    <a:pt x="521499" y="992088"/>
                    <a:pt x="522392" y="991195"/>
                  </a:cubicBezTo>
                  <a:cubicBezTo>
                    <a:pt x="523285" y="990302"/>
                    <a:pt x="524178" y="990302"/>
                    <a:pt x="524178" y="989409"/>
                  </a:cubicBezTo>
                  <a:cubicBezTo>
                    <a:pt x="524178" y="989409"/>
                    <a:pt x="525071" y="989409"/>
                    <a:pt x="525071" y="988517"/>
                  </a:cubicBezTo>
                  <a:lnTo>
                    <a:pt x="526857" y="986731"/>
                  </a:lnTo>
                  <a:lnTo>
                    <a:pt x="595615" y="917972"/>
                  </a:lnTo>
                  <a:cubicBezTo>
                    <a:pt x="601866" y="911721"/>
                    <a:pt x="601866" y="902791"/>
                    <a:pt x="597401" y="895648"/>
                  </a:cubicBezTo>
                  <a:cubicBezTo>
                    <a:pt x="596508" y="894755"/>
                    <a:pt x="596508" y="893862"/>
                    <a:pt x="595615" y="893862"/>
                  </a:cubicBezTo>
                  <a:cubicBezTo>
                    <a:pt x="588472" y="886718"/>
                    <a:pt x="577756" y="886718"/>
                    <a:pt x="571505" y="893862"/>
                  </a:cubicBezTo>
                  <a:lnTo>
                    <a:pt x="557218" y="908149"/>
                  </a:lnTo>
                  <a:lnTo>
                    <a:pt x="529536" y="935831"/>
                  </a:lnTo>
                  <a:lnTo>
                    <a:pt x="529536" y="662583"/>
                  </a:lnTo>
                  <a:cubicBezTo>
                    <a:pt x="529536" y="659011"/>
                    <a:pt x="527750" y="655439"/>
                    <a:pt x="525964" y="652760"/>
                  </a:cubicBezTo>
                  <a:cubicBezTo>
                    <a:pt x="523285" y="648295"/>
                    <a:pt x="517927" y="645616"/>
                    <a:pt x="511676" y="645616"/>
                  </a:cubicBezTo>
                  <a:cubicBezTo>
                    <a:pt x="501853" y="645616"/>
                    <a:pt x="494710" y="653653"/>
                    <a:pt x="494710" y="662583"/>
                  </a:cubicBezTo>
                  <a:lnTo>
                    <a:pt x="494710" y="743843"/>
                  </a:lnTo>
                  <a:lnTo>
                    <a:pt x="267003" y="743843"/>
                  </a:lnTo>
                  <a:lnTo>
                    <a:pt x="266110" y="743843"/>
                  </a:lnTo>
                  <a:cubicBezTo>
                    <a:pt x="261645" y="743843"/>
                    <a:pt x="258966" y="744736"/>
                    <a:pt x="257180" y="744736"/>
                  </a:cubicBezTo>
                  <a:cubicBezTo>
                    <a:pt x="195565" y="744736"/>
                    <a:pt x="139308" y="719733"/>
                    <a:pt x="99125" y="679549"/>
                  </a:cubicBezTo>
                  <a:cubicBezTo>
                    <a:pt x="58941" y="639365"/>
                    <a:pt x="33938" y="583109"/>
                    <a:pt x="33938" y="521493"/>
                  </a:cubicBezTo>
                  <a:cubicBezTo>
                    <a:pt x="33938" y="412552"/>
                    <a:pt x="112519" y="321469"/>
                    <a:pt x="216103" y="301823"/>
                  </a:cubicBezTo>
                  <a:cubicBezTo>
                    <a:pt x="225033" y="300037"/>
                    <a:pt x="231284" y="292001"/>
                    <a:pt x="230391" y="283071"/>
                  </a:cubicBezTo>
                  <a:cubicBezTo>
                    <a:pt x="229498" y="274141"/>
                    <a:pt x="228605" y="266105"/>
                    <a:pt x="228605" y="257175"/>
                  </a:cubicBezTo>
                  <a:cubicBezTo>
                    <a:pt x="228605" y="195560"/>
                    <a:pt x="253608" y="139303"/>
                    <a:pt x="293792" y="99119"/>
                  </a:cubicBezTo>
                  <a:cubicBezTo>
                    <a:pt x="333975" y="58936"/>
                    <a:pt x="390232" y="33933"/>
                    <a:pt x="451847" y="33933"/>
                  </a:cubicBezTo>
                  <a:cubicBezTo>
                    <a:pt x="541144" y="33933"/>
                    <a:pt x="617047" y="85725"/>
                    <a:pt x="653658" y="160734"/>
                  </a:cubicBezTo>
                  <a:cubicBezTo>
                    <a:pt x="656337" y="165199"/>
                    <a:pt x="660802" y="168771"/>
                    <a:pt x="666160" y="170557"/>
                  </a:cubicBezTo>
                  <a:cubicBezTo>
                    <a:pt x="671517" y="171450"/>
                    <a:pt x="676875" y="169664"/>
                    <a:pt x="681340" y="166092"/>
                  </a:cubicBezTo>
                  <a:cubicBezTo>
                    <a:pt x="720631" y="130373"/>
                    <a:pt x="773316" y="108942"/>
                    <a:pt x="830466" y="108942"/>
                  </a:cubicBezTo>
                  <a:cubicBezTo>
                    <a:pt x="938515" y="108942"/>
                    <a:pt x="1028705" y="185737"/>
                    <a:pt x="1049243" y="288429"/>
                  </a:cubicBezTo>
                  <a:cubicBezTo>
                    <a:pt x="1051029" y="295572"/>
                    <a:pt x="1056387" y="300930"/>
                    <a:pt x="1062638" y="301823"/>
                  </a:cubicBezTo>
                  <a:cubicBezTo>
                    <a:pt x="1166222" y="321469"/>
                    <a:pt x="1244804" y="412552"/>
                    <a:pt x="1244804" y="521493"/>
                  </a:cubicBezTo>
                  <a:cubicBezTo>
                    <a:pt x="1244804" y="640259"/>
                    <a:pt x="1151935" y="737592"/>
                    <a:pt x="1034956" y="744736"/>
                  </a:cubicBezTo>
                  <a:cubicBezTo>
                    <a:pt x="1034956" y="744736"/>
                    <a:pt x="1034063" y="744736"/>
                    <a:pt x="1034063" y="744736"/>
                  </a:cubicBezTo>
                  <a:lnTo>
                    <a:pt x="1031384" y="744736"/>
                  </a:lnTo>
                  <a:lnTo>
                    <a:pt x="1030491" y="744736"/>
                  </a:lnTo>
                  <a:cubicBezTo>
                    <a:pt x="1026026" y="744736"/>
                    <a:pt x="1023347" y="745629"/>
                    <a:pt x="1021561" y="745629"/>
                  </a:cubicBezTo>
                  <a:cubicBezTo>
                    <a:pt x="1019775" y="745629"/>
                    <a:pt x="1017097" y="745629"/>
                    <a:pt x="1012632" y="744736"/>
                  </a:cubicBezTo>
                  <a:lnTo>
                    <a:pt x="1011739" y="744736"/>
                  </a:lnTo>
                  <a:lnTo>
                    <a:pt x="784925" y="744736"/>
                  </a:lnTo>
                  <a:lnTo>
                    <a:pt x="784925" y="779562"/>
                  </a:lnTo>
                  <a:lnTo>
                    <a:pt x="1011739" y="779562"/>
                  </a:lnTo>
                  <a:cubicBezTo>
                    <a:pt x="1014418" y="779562"/>
                    <a:pt x="1017097" y="780454"/>
                    <a:pt x="1021561" y="780454"/>
                  </a:cubicBezTo>
                  <a:cubicBezTo>
                    <a:pt x="1026026" y="780454"/>
                    <a:pt x="1029598" y="780454"/>
                    <a:pt x="1031384" y="779562"/>
                  </a:cubicBezTo>
                  <a:lnTo>
                    <a:pt x="1035849" y="779562"/>
                  </a:lnTo>
                  <a:cubicBezTo>
                    <a:pt x="1036742" y="779562"/>
                    <a:pt x="1037635" y="779562"/>
                    <a:pt x="1037635" y="779562"/>
                  </a:cubicBezTo>
                  <a:cubicBezTo>
                    <a:pt x="1172473" y="770632"/>
                    <a:pt x="1278736" y="659011"/>
                    <a:pt x="1278736" y="522387"/>
                  </a:cubicBezTo>
                  <a:cubicBezTo>
                    <a:pt x="1278736" y="400050"/>
                    <a:pt x="1193904" y="298252"/>
                    <a:pt x="1079604" y="271462"/>
                  </a:cubicBezTo>
                  <a:cubicBezTo>
                    <a:pt x="1051922" y="158948"/>
                    <a:pt x="950124" y="75902"/>
                    <a:pt x="829573" y="75902"/>
                  </a:cubicBezTo>
                  <a:cubicBezTo>
                    <a:pt x="771530" y="75902"/>
                    <a:pt x="717952" y="95547"/>
                    <a:pt x="674197" y="127694"/>
                  </a:cubicBezTo>
                  <a:cubicBezTo>
                    <a:pt x="629548" y="51792"/>
                    <a:pt x="546502" y="0"/>
                    <a:pt x="451847" y="0"/>
                  </a:cubicBezTo>
                  <a:cubicBezTo>
                    <a:pt x="308972" y="0"/>
                    <a:pt x="193779" y="115193"/>
                    <a:pt x="193779" y="258068"/>
                  </a:cubicBezTo>
                  <a:cubicBezTo>
                    <a:pt x="193779" y="262533"/>
                    <a:pt x="193779" y="267891"/>
                    <a:pt x="194672" y="272355"/>
                  </a:cubicBezTo>
                  <a:cubicBezTo>
                    <a:pt x="83051" y="300930"/>
                    <a:pt x="5" y="401836"/>
                    <a:pt x="5" y="522387"/>
                  </a:cubicBezTo>
                  <a:cubicBezTo>
                    <a:pt x="-888" y="662583"/>
                    <a:pt x="115198" y="778669"/>
                    <a:pt x="257180" y="77866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88" name="Forme libre 87">
              <a:extLst>
                <a:ext uri="{FF2B5EF4-FFF2-40B4-BE49-F238E27FC236}">
                  <a16:creationId xmlns:a16="http://schemas.microsoft.com/office/drawing/2014/main" id="{16257CC3-B863-6CC1-1028-18AD7BB6F5B8}"/>
                </a:ext>
              </a:extLst>
            </p:cNvPr>
            <p:cNvSpPr/>
            <p:nvPr/>
          </p:nvSpPr>
          <p:spPr>
            <a:xfrm>
              <a:off x="4449013" y="4755951"/>
              <a:ext cx="120009" cy="159841"/>
            </a:xfrm>
            <a:custGeom>
              <a:avLst/>
              <a:gdLst>
                <a:gd name="connsiteX0" fmla="*/ 11067 w 120009"/>
                <a:gd name="connsiteY0" fmla="*/ 58936 h 159841"/>
                <a:gd name="connsiteX1" fmla="*/ 32499 w 120009"/>
                <a:gd name="connsiteY1" fmla="*/ 48221 h 159841"/>
                <a:gd name="connsiteX2" fmla="*/ 53930 w 120009"/>
                <a:gd name="connsiteY2" fmla="*/ 33040 h 159841"/>
                <a:gd name="connsiteX3" fmla="*/ 53930 w 120009"/>
                <a:gd name="connsiteY3" fmla="*/ 33040 h 159841"/>
                <a:gd name="connsiteX4" fmla="*/ 76254 w 120009"/>
                <a:gd name="connsiteY4" fmla="*/ 41077 h 159841"/>
                <a:gd name="connsiteX5" fmla="*/ 81612 w 120009"/>
                <a:gd name="connsiteY5" fmla="*/ 53578 h 159841"/>
                <a:gd name="connsiteX6" fmla="*/ 81612 w 120009"/>
                <a:gd name="connsiteY6" fmla="*/ 54471 h 159841"/>
                <a:gd name="connsiteX7" fmla="*/ 78933 w 120009"/>
                <a:gd name="connsiteY7" fmla="*/ 65187 h 159841"/>
                <a:gd name="connsiteX8" fmla="*/ 64645 w 120009"/>
                <a:gd name="connsiteY8" fmla="*/ 78582 h 159841"/>
                <a:gd name="connsiteX9" fmla="*/ 43214 w 120009"/>
                <a:gd name="connsiteY9" fmla="*/ 89297 h 159841"/>
                <a:gd name="connsiteX10" fmla="*/ 11067 w 120009"/>
                <a:gd name="connsiteY10" fmla="*/ 118765 h 159841"/>
                <a:gd name="connsiteX11" fmla="*/ 2138 w 120009"/>
                <a:gd name="connsiteY11" fmla="*/ 137517 h 159841"/>
                <a:gd name="connsiteX12" fmla="*/ 4817 w 120009"/>
                <a:gd name="connsiteY12" fmla="*/ 152698 h 159841"/>
                <a:gd name="connsiteX13" fmla="*/ 19104 w 120009"/>
                <a:gd name="connsiteY13" fmla="*/ 159842 h 159841"/>
                <a:gd name="connsiteX14" fmla="*/ 103043 w 120009"/>
                <a:gd name="connsiteY14" fmla="*/ 159842 h 159841"/>
                <a:gd name="connsiteX15" fmla="*/ 120010 w 120009"/>
                <a:gd name="connsiteY15" fmla="*/ 142875 h 159841"/>
                <a:gd name="connsiteX16" fmla="*/ 103043 w 120009"/>
                <a:gd name="connsiteY16" fmla="*/ 125909 h 159841"/>
                <a:gd name="connsiteX17" fmla="*/ 50358 w 120009"/>
                <a:gd name="connsiteY17" fmla="*/ 125909 h 159841"/>
                <a:gd name="connsiteX18" fmla="*/ 57502 w 120009"/>
                <a:gd name="connsiteY18" fmla="*/ 121444 h 159841"/>
                <a:gd name="connsiteX19" fmla="*/ 93220 w 120009"/>
                <a:gd name="connsiteY19" fmla="*/ 102691 h 159841"/>
                <a:gd name="connsiteX20" fmla="*/ 110187 w 120009"/>
                <a:gd name="connsiteY20" fmla="*/ 83939 h 159841"/>
                <a:gd name="connsiteX21" fmla="*/ 118224 w 120009"/>
                <a:gd name="connsiteY21" fmla="*/ 56257 h 159841"/>
                <a:gd name="connsiteX22" fmla="*/ 118224 w 120009"/>
                <a:gd name="connsiteY22" fmla="*/ 56257 h 159841"/>
                <a:gd name="connsiteX23" fmla="*/ 118224 w 120009"/>
                <a:gd name="connsiteY23" fmla="*/ 55364 h 159841"/>
                <a:gd name="connsiteX24" fmla="*/ 103043 w 120009"/>
                <a:gd name="connsiteY24" fmla="*/ 18753 h 159841"/>
                <a:gd name="connsiteX25" fmla="*/ 55716 w 120009"/>
                <a:gd name="connsiteY25" fmla="*/ 0 h 159841"/>
                <a:gd name="connsiteX26" fmla="*/ 54823 w 120009"/>
                <a:gd name="connsiteY26" fmla="*/ 0 h 159841"/>
                <a:gd name="connsiteX27" fmla="*/ 54823 w 120009"/>
                <a:gd name="connsiteY27" fmla="*/ 0 h 159841"/>
                <a:gd name="connsiteX28" fmla="*/ 2138 w 120009"/>
                <a:gd name="connsiteY28" fmla="*/ 39291 h 159841"/>
                <a:gd name="connsiteX29" fmla="*/ 11067 w 120009"/>
                <a:gd name="connsiteY29" fmla="*/ 58936 h 1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009" h="159841">
                  <a:moveTo>
                    <a:pt x="11067" y="58936"/>
                  </a:moveTo>
                  <a:cubicBezTo>
                    <a:pt x="19997" y="61615"/>
                    <a:pt x="29820" y="57150"/>
                    <a:pt x="32499" y="48221"/>
                  </a:cubicBezTo>
                  <a:cubicBezTo>
                    <a:pt x="35178" y="39291"/>
                    <a:pt x="44107" y="33040"/>
                    <a:pt x="53930" y="33040"/>
                  </a:cubicBezTo>
                  <a:lnTo>
                    <a:pt x="53930" y="33040"/>
                  </a:lnTo>
                  <a:cubicBezTo>
                    <a:pt x="66431" y="33040"/>
                    <a:pt x="72682" y="36612"/>
                    <a:pt x="76254" y="41077"/>
                  </a:cubicBezTo>
                  <a:cubicBezTo>
                    <a:pt x="79826" y="44648"/>
                    <a:pt x="81612" y="50007"/>
                    <a:pt x="81612" y="53578"/>
                  </a:cubicBezTo>
                  <a:lnTo>
                    <a:pt x="81612" y="54471"/>
                  </a:lnTo>
                  <a:cubicBezTo>
                    <a:pt x="81612" y="58936"/>
                    <a:pt x="80719" y="62508"/>
                    <a:pt x="78933" y="65187"/>
                  </a:cubicBezTo>
                  <a:cubicBezTo>
                    <a:pt x="76254" y="69652"/>
                    <a:pt x="71789" y="74117"/>
                    <a:pt x="64645" y="78582"/>
                  </a:cubicBezTo>
                  <a:cubicBezTo>
                    <a:pt x="58395" y="82153"/>
                    <a:pt x="50358" y="85725"/>
                    <a:pt x="43214" y="89297"/>
                  </a:cubicBezTo>
                  <a:cubicBezTo>
                    <a:pt x="27141" y="96441"/>
                    <a:pt x="17318" y="108942"/>
                    <a:pt x="11067" y="118765"/>
                  </a:cubicBezTo>
                  <a:cubicBezTo>
                    <a:pt x="4817" y="128588"/>
                    <a:pt x="3031" y="136625"/>
                    <a:pt x="2138" y="137517"/>
                  </a:cubicBezTo>
                  <a:cubicBezTo>
                    <a:pt x="352" y="142875"/>
                    <a:pt x="1245" y="148233"/>
                    <a:pt x="4817" y="152698"/>
                  </a:cubicBezTo>
                  <a:cubicBezTo>
                    <a:pt x="8388" y="157163"/>
                    <a:pt x="12853" y="159842"/>
                    <a:pt x="19104" y="159842"/>
                  </a:cubicBezTo>
                  <a:lnTo>
                    <a:pt x="103043" y="159842"/>
                  </a:lnTo>
                  <a:cubicBezTo>
                    <a:pt x="112866" y="159842"/>
                    <a:pt x="120010" y="151805"/>
                    <a:pt x="120010" y="142875"/>
                  </a:cubicBezTo>
                  <a:cubicBezTo>
                    <a:pt x="120010" y="133053"/>
                    <a:pt x="111973" y="125909"/>
                    <a:pt x="103043" y="125909"/>
                  </a:cubicBezTo>
                  <a:lnTo>
                    <a:pt x="50358" y="125909"/>
                  </a:lnTo>
                  <a:cubicBezTo>
                    <a:pt x="52144" y="124123"/>
                    <a:pt x="54823" y="122337"/>
                    <a:pt x="57502" y="121444"/>
                  </a:cubicBezTo>
                  <a:cubicBezTo>
                    <a:pt x="67324" y="116979"/>
                    <a:pt x="80719" y="111621"/>
                    <a:pt x="93220" y="102691"/>
                  </a:cubicBezTo>
                  <a:cubicBezTo>
                    <a:pt x="99471" y="98227"/>
                    <a:pt x="105722" y="91976"/>
                    <a:pt x="110187" y="83939"/>
                  </a:cubicBezTo>
                  <a:cubicBezTo>
                    <a:pt x="114652" y="75902"/>
                    <a:pt x="117331" y="66973"/>
                    <a:pt x="118224" y="56257"/>
                  </a:cubicBezTo>
                  <a:lnTo>
                    <a:pt x="118224" y="56257"/>
                  </a:lnTo>
                  <a:lnTo>
                    <a:pt x="118224" y="55364"/>
                  </a:lnTo>
                  <a:cubicBezTo>
                    <a:pt x="118224" y="43756"/>
                    <a:pt x="113759" y="30361"/>
                    <a:pt x="103043" y="18753"/>
                  </a:cubicBezTo>
                  <a:cubicBezTo>
                    <a:pt x="92327" y="8037"/>
                    <a:pt x="76254" y="0"/>
                    <a:pt x="55716" y="0"/>
                  </a:cubicBezTo>
                  <a:lnTo>
                    <a:pt x="54823" y="0"/>
                  </a:lnTo>
                  <a:lnTo>
                    <a:pt x="54823" y="0"/>
                  </a:lnTo>
                  <a:cubicBezTo>
                    <a:pt x="29820" y="0"/>
                    <a:pt x="9281" y="16074"/>
                    <a:pt x="2138" y="39291"/>
                  </a:cubicBezTo>
                  <a:cubicBezTo>
                    <a:pt x="-3220" y="46434"/>
                    <a:pt x="2138" y="56257"/>
                    <a:pt x="11067" y="5893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89" name="Forme libre 88">
              <a:extLst>
                <a:ext uri="{FF2B5EF4-FFF2-40B4-BE49-F238E27FC236}">
                  <a16:creationId xmlns:a16="http://schemas.microsoft.com/office/drawing/2014/main" id="{78248E5A-8907-57F5-A294-9FA16E74415D}"/>
                </a:ext>
              </a:extLst>
            </p:cNvPr>
            <p:cNvSpPr/>
            <p:nvPr/>
          </p:nvSpPr>
          <p:spPr>
            <a:xfrm>
              <a:off x="3902868" y="4573786"/>
              <a:ext cx="226057" cy="301823"/>
            </a:xfrm>
            <a:custGeom>
              <a:avLst/>
              <a:gdLst>
                <a:gd name="connsiteX0" fmla="*/ 224135 w 226057"/>
                <a:gd name="connsiteY0" fmla="*/ 263426 h 301823"/>
                <a:gd name="connsiteX1" fmla="*/ 200918 w 226057"/>
                <a:gd name="connsiteY1" fmla="*/ 255389 h 301823"/>
                <a:gd name="connsiteX2" fmla="*/ 150019 w 226057"/>
                <a:gd name="connsiteY2" fmla="*/ 266997 h 301823"/>
                <a:gd name="connsiteX3" fmla="*/ 67866 w 226057"/>
                <a:gd name="connsiteY3" fmla="*/ 233065 h 301823"/>
                <a:gd name="connsiteX4" fmla="*/ 33933 w 226057"/>
                <a:gd name="connsiteY4" fmla="*/ 150911 h 301823"/>
                <a:gd name="connsiteX5" fmla="*/ 67866 w 226057"/>
                <a:gd name="connsiteY5" fmla="*/ 68759 h 301823"/>
                <a:gd name="connsiteX6" fmla="*/ 150019 w 226057"/>
                <a:gd name="connsiteY6" fmla="*/ 34825 h 301823"/>
                <a:gd name="connsiteX7" fmla="*/ 200918 w 226057"/>
                <a:gd name="connsiteY7" fmla="*/ 46434 h 301823"/>
                <a:gd name="connsiteX8" fmla="*/ 224135 w 226057"/>
                <a:gd name="connsiteY8" fmla="*/ 38398 h 301823"/>
                <a:gd name="connsiteX9" fmla="*/ 216099 w 226057"/>
                <a:gd name="connsiteY9" fmla="*/ 15181 h 301823"/>
                <a:gd name="connsiteX10" fmla="*/ 150912 w 226057"/>
                <a:gd name="connsiteY10" fmla="*/ 0 h 301823"/>
                <a:gd name="connsiteX11" fmla="*/ 0 w 226057"/>
                <a:gd name="connsiteY11" fmla="*/ 150911 h 301823"/>
                <a:gd name="connsiteX12" fmla="*/ 150912 w 226057"/>
                <a:gd name="connsiteY12" fmla="*/ 301823 h 301823"/>
                <a:gd name="connsiteX13" fmla="*/ 216099 w 226057"/>
                <a:gd name="connsiteY13" fmla="*/ 286643 h 301823"/>
                <a:gd name="connsiteX14" fmla="*/ 224135 w 226057"/>
                <a:gd name="connsiteY14" fmla="*/ 263426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057" h="301823">
                  <a:moveTo>
                    <a:pt x="224135" y="263426"/>
                  </a:moveTo>
                  <a:cubicBezTo>
                    <a:pt x="219670" y="254496"/>
                    <a:pt x="209848" y="250924"/>
                    <a:pt x="200918" y="255389"/>
                  </a:cubicBezTo>
                  <a:cubicBezTo>
                    <a:pt x="185738" y="262533"/>
                    <a:pt x="168771" y="266997"/>
                    <a:pt x="150019" y="266997"/>
                  </a:cubicBezTo>
                  <a:cubicBezTo>
                    <a:pt x="117872" y="266997"/>
                    <a:pt x="88404" y="253603"/>
                    <a:pt x="67866" y="233065"/>
                  </a:cubicBezTo>
                  <a:cubicBezTo>
                    <a:pt x="46434" y="211634"/>
                    <a:pt x="33933" y="183059"/>
                    <a:pt x="33933" y="150911"/>
                  </a:cubicBezTo>
                  <a:cubicBezTo>
                    <a:pt x="33933" y="118765"/>
                    <a:pt x="47328" y="89297"/>
                    <a:pt x="67866" y="68759"/>
                  </a:cubicBezTo>
                  <a:cubicBezTo>
                    <a:pt x="89297" y="47327"/>
                    <a:pt x="117872" y="34825"/>
                    <a:pt x="150019" y="34825"/>
                  </a:cubicBezTo>
                  <a:cubicBezTo>
                    <a:pt x="167878" y="34825"/>
                    <a:pt x="184845" y="39290"/>
                    <a:pt x="200918" y="46434"/>
                  </a:cubicBezTo>
                  <a:cubicBezTo>
                    <a:pt x="209848" y="50899"/>
                    <a:pt x="219670" y="47327"/>
                    <a:pt x="224135" y="38398"/>
                  </a:cubicBezTo>
                  <a:cubicBezTo>
                    <a:pt x="228600" y="29468"/>
                    <a:pt x="225028" y="19645"/>
                    <a:pt x="216099" y="15181"/>
                  </a:cubicBezTo>
                  <a:cubicBezTo>
                    <a:pt x="196453" y="5358"/>
                    <a:pt x="174129" y="0"/>
                    <a:pt x="150912" y="0"/>
                  </a:cubicBezTo>
                  <a:cubicBezTo>
                    <a:pt x="67866" y="0"/>
                    <a:pt x="0" y="67865"/>
                    <a:pt x="0" y="150911"/>
                  </a:cubicBezTo>
                  <a:cubicBezTo>
                    <a:pt x="0" y="233958"/>
                    <a:pt x="67866" y="301823"/>
                    <a:pt x="150912" y="301823"/>
                  </a:cubicBezTo>
                  <a:cubicBezTo>
                    <a:pt x="174129" y="301823"/>
                    <a:pt x="196453" y="296466"/>
                    <a:pt x="216099" y="286643"/>
                  </a:cubicBezTo>
                  <a:cubicBezTo>
                    <a:pt x="224135" y="282178"/>
                    <a:pt x="227707" y="271462"/>
                    <a:pt x="224135" y="26342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90" name="Forme libre 89">
              <a:extLst>
                <a:ext uri="{FF2B5EF4-FFF2-40B4-BE49-F238E27FC236}">
                  <a16:creationId xmlns:a16="http://schemas.microsoft.com/office/drawing/2014/main" id="{01E37F73-95A4-098F-003A-EF97CA5F47A1}"/>
                </a:ext>
              </a:extLst>
            </p:cNvPr>
            <p:cNvSpPr/>
            <p:nvPr/>
          </p:nvSpPr>
          <p:spPr>
            <a:xfrm>
              <a:off x="4122539" y="4572892"/>
              <a:ext cx="301823" cy="301823"/>
            </a:xfrm>
            <a:custGeom>
              <a:avLst/>
              <a:gdLst>
                <a:gd name="connsiteX0" fmla="*/ 150912 w 301823"/>
                <a:gd name="connsiteY0" fmla="*/ 301824 h 301823"/>
                <a:gd name="connsiteX1" fmla="*/ 301823 w 301823"/>
                <a:gd name="connsiteY1" fmla="*/ 150912 h 301823"/>
                <a:gd name="connsiteX2" fmla="*/ 150912 w 301823"/>
                <a:gd name="connsiteY2" fmla="*/ 0 h 301823"/>
                <a:gd name="connsiteX3" fmla="*/ 0 w 301823"/>
                <a:gd name="connsiteY3" fmla="*/ 150912 h 301823"/>
                <a:gd name="connsiteX4" fmla="*/ 150912 w 301823"/>
                <a:gd name="connsiteY4" fmla="*/ 301824 h 301823"/>
                <a:gd name="connsiteX5" fmla="*/ 68759 w 301823"/>
                <a:gd name="connsiteY5" fmla="*/ 68759 h 301823"/>
                <a:gd name="connsiteX6" fmla="*/ 150912 w 301823"/>
                <a:gd name="connsiteY6" fmla="*/ 34826 h 301823"/>
                <a:gd name="connsiteX7" fmla="*/ 233065 w 301823"/>
                <a:gd name="connsiteY7" fmla="*/ 68759 h 301823"/>
                <a:gd name="connsiteX8" fmla="*/ 266998 w 301823"/>
                <a:gd name="connsiteY8" fmla="*/ 150912 h 301823"/>
                <a:gd name="connsiteX9" fmla="*/ 233065 w 301823"/>
                <a:gd name="connsiteY9" fmla="*/ 233065 h 301823"/>
                <a:gd name="connsiteX10" fmla="*/ 150912 w 301823"/>
                <a:gd name="connsiteY10" fmla="*/ 266998 h 301823"/>
                <a:gd name="connsiteX11" fmla="*/ 68759 w 301823"/>
                <a:gd name="connsiteY11" fmla="*/ 233065 h 301823"/>
                <a:gd name="connsiteX12" fmla="*/ 34826 w 301823"/>
                <a:gd name="connsiteY12" fmla="*/ 150912 h 301823"/>
                <a:gd name="connsiteX13" fmla="*/ 68759 w 301823"/>
                <a:gd name="connsiteY13" fmla="*/ 68759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823" h="301823">
                  <a:moveTo>
                    <a:pt x="150912" y="301824"/>
                  </a:moveTo>
                  <a:cubicBezTo>
                    <a:pt x="233958" y="301824"/>
                    <a:pt x="301823" y="233958"/>
                    <a:pt x="301823" y="150912"/>
                  </a:cubicBezTo>
                  <a:cubicBezTo>
                    <a:pt x="301823" y="67866"/>
                    <a:pt x="233958" y="0"/>
                    <a:pt x="150912" y="0"/>
                  </a:cubicBezTo>
                  <a:cubicBezTo>
                    <a:pt x="67866" y="0"/>
                    <a:pt x="0" y="67866"/>
                    <a:pt x="0" y="150912"/>
                  </a:cubicBezTo>
                  <a:cubicBezTo>
                    <a:pt x="0" y="234851"/>
                    <a:pt x="67866" y="301824"/>
                    <a:pt x="150912" y="301824"/>
                  </a:cubicBezTo>
                  <a:close/>
                  <a:moveTo>
                    <a:pt x="68759" y="68759"/>
                  </a:moveTo>
                  <a:cubicBezTo>
                    <a:pt x="90190" y="47328"/>
                    <a:pt x="118765" y="34826"/>
                    <a:pt x="150912" y="34826"/>
                  </a:cubicBezTo>
                  <a:cubicBezTo>
                    <a:pt x="183059" y="34826"/>
                    <a:pt x="212526" y="48221"/>
                    <a:pt x="233065" y="68759"/>
                  </a:cubicBezTo>
                  <a:cubicBezTo>
                    <a:pt x="254496" y="90190"/>
                    <a:pt x="266998" y="118765"/>
                    <a:pt x="266998" y="150912"/>
                  </a:cubicBezTo>
                  <a:cubicBezTo>
                    <a:pt x="266998" y="183059"/>
                    <a:pt x="253603" y="212527"/>
                    <a:pt x="233065" y="233065"/>
                  </a:cubicBezTo>
                  <a:cubicBezTo>
                    <a:pt x="211634" y="254496"/>
                    <a:pt x="183059" y="266998"/>
                    <a:pt x="150912" y="266998"/>
                  </a:cubicBezTo>
                  <a:cubicBezTo>
                    <a:pt x="118765" y="266998"/>
                    <a:pt x="89297" y="253603"/>
                    <a:pt x="68759" y="233065"/>
                  </a:cubicBezTo>
                  <a:cubicBezTo>
                    <a:pt x="47327" y="211634"/>
                    <a:pt x="34826" y="183059"/>
                    <a:pt x="34826" y="150912"/>
                  </a:cubicBezTo>
                  <a:cubicBezTo>
                    <a:pt x="34826" y="118765"/>
                    <a:pt x="47327" y="90190"/>
                    <a:pt x="68759" y="6875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91" name="Forme libre 90">
              <a:extLst>
                <a:ext uri="{FF2B5EF4-FFF2-40B4-BE49-F238E27FC236}">
                  <a16:creationId xmlns:a16="http://schemas.microsoft.com/office/drawing/2014/main" id="{933434DC-5456-F666-4490-A700127CF36E}"/>
                </a:ext>
              </a:extLst>
            </p:cNvPr>
            <p:cNvSpPr/>
            <p:nvPr/>
          </p:nvSpPr>
          <p:spPr>
            <a:xfrm>
              <a:off x="4152006" y="4994374"/>
              <a:ext cx="270151" cy="349151"/>
            </a:xfrm>
            <a:custGeom>
              <a:avLst/>
              <a:gdLst>
                <a:gd name="connsiteX0" fmla="*/ 200918 w 270151"/>
                <a:gd name="connsiteY0" fmla="*/ 16967 h 349151"/>
                <a:gd name="connsiteX1" fmla="*/ 197346 w 270151"/>
                <a:gd name="connsiteY1" fmla="*/ 7144 h 349151"/>
                <a:gd name="connsiteX2" fmla="*/ 183059 w 270151"/>
                <a:gd name="connsiteY2" fmla="*/ 0 h 349151"/>
                <a:gd name="connsiteX3" fmla="*/ 166092 w 270151"/>
                <a:gd name="connsiteY3" fmla="*/ 16967 h 349151"/>
                <a:gd name="connsiteX4" fmla="*/ 166092 w 270151"/>
                <a:gd name="connsiteY4" fmla="*/ 19645 h 349151"/>
                <a:gd name="connsiteX5" fmla="*/ 97334 w 270151"/>
                <a:gd name="connsiteY5" fmla="*/ 19645 h 349151"/>
                <a:gd name="connsiteX6" fmla="*/ 96441 w 270151"/>
                <a:gd name="connsiteY6" fmla="*/ 19645 h 349151"/>
                <a:gd name="connsiteX7" fmla="*/ 87511 w 270151"/>
                <a:gd name="connsiteY7" fmla="*/ 20538 h 349151"/>
                <a:gd name="connsiteX8" fmla="*/ 78581 w 270151"/>
                <a:gd name="connsiteY8" fmla="*/ 19645 h 349151"/>
                <a:gd name="connsiteX9" fmla="*/ 77688 w 270151"/>
                <a:gd name="connsiteY9" fmla="*/ 19645 h 349151"/>
                <a:gd name="connsiteX10" fmla="*/ 0 w 270151"/>
                <a:gd name="connsiteY10" fmla="*/ 19645 h 349151"/>
                <a:gd name="connsiteX11" fmla="*/ 0 w 270151"/>
                <a:gd name="connsiteY11" fmla="*/ 54471 h 349151"/>
                <a:gd name="connsiteX12" fmla="*/ 76795 w 270151"/>
                <a:gd name="connsiteY12" fmla="*/ 54471 h 349151"/>
                <a:gd name="connsiteX13" fmla="*/ 86618 w 270151"/>
                <a:gd name="connsiteY13" fmla="*/ 55364 h 349151"/>
                <a:gd name="connsiteX14" fmla="*/ 96441 w 270151"/>
                <a:gd name="connsiteY14" fmla="*/ 54471 h 349151"/>
                <a:gd name="connsiteX15" fmla="*/ 164306 w 270151"/>
                <a:gd name="connsiteY15" fmla="*/ 54471 h 349151"/>
                <a:gd name="connsiteX16" fmla="*/ 164306 w 270151"/>
                <a:gd name="connsiteY16" fmla="*/ 291108 h 349151"/>
                <a:gd name="connsiteX17" fmla="*/ 122337 w 270151"/>
                <a:gd name="connsiteY17" fmla="*/ 249139 h 349151"/>
                <a:gd name="connsiteX18" fmla="*/ 98227 w 270151"/>
                <a:gd name="connsiteY18" fmla="*/ 249139 h 349151"/>
                <a:gd name="connsiteX19" fmla="*/ 98227 w 270151"/>
                <a:gd name="connsiteY19" fmla="*/ 273249 h 349151"/>
                <a:gd name="connsiteX20" fmla="*/ 169664 w 270151"/>
                <a:gd name="connsiteY20" fmla="*/ 344686 h 349151"/>
                <a:gd name="connsiteX21" fmla="*/ 170557 w 270151"/>
                <a:gd name="connsiteY21" fmla="*/ 345579 h 349151"/>
                <a:gd name="connsiteX22" fmla="*/ 172343 w 270151"/>
                <a:gd name="connsiteY22" fmla="*/ 347365 h 349151"/>
                <a:gd name="connsiteX23" fmla="*/ 174129 w 270151"/>
                <a:gd name="connsiteY23" fmla="*/ 348258 h 349151"/>
                <a:gd name="connsiteX24" fmla="*/ 175022 w 270151"/>
                <a:gd name="connsiteY24" fmla="*/ 348258 h 349151"/>
                <a:gd name="connsiteX25" fmla="*/ 176808 w 270151"/>
                <a:gd name="connsiteY25" fmla="*/ 348258 h 349151"/>
                <a:gd name="connsiteX26" fmla="*/ 179487 w 270151"/>
                <a:gd name="connsiteY26" fmla="*/ 349151 h 349151"/>
                <a:gd name="connsiteX27" fmla="*/ 182166 w 270151"/>
                <a:gd name="connsiteY27" fmla="*/ 349151 h 349151"/>
                <a:gd name="connsiteX28" fmla="*/ 184845 w 270151"/>
                <a:gd name="connsiteY28" fmla="*/ 349151 h 349151"/>
                <a:gd name="connsiteX29" fmla="*/ 187523 w 270151"/>
                <a:gd name="connsiteY29" fmla="*/ 348258 h 349151"/>
                <a:gd name="connsiteX30" fmla="*/ 189309 w 270151"/>
                <a:gd name="connsiteY30" fmla="*/ 348258 h 349151"/>
                <a:gd name="connsiteX31" fmla="*/ 190203 w 270151"/>
                <a:gd name="connsiteY31" fmla="*/ 348258 h 349151"/>
                <a:gd name="connsiteX32" fmla="*/ 191988 w 270151"/>
                <a:gd name="connsiteY32" fmla="*/ 347365 h 349151"/>
                <a:gd name="connsiteX33" fmla="*/ 193774 w 270151"/>
                <a:gd name="connsiteY33" fmla="*/ 345579 h 349151"/>
                <a:gd name="connsiteX34" fmla="*/ 194667 w 270151"/>
                <a:gd name="connsiteY34" fmla="*/ 344686 h 349151"/>
                <a:gd name="connsiteX35" fmla="*/ 196453 w 270151"/>
                <a:gd name="connsiteY35" fmla="*/ 342900 h 349151"/>
                <a:gd name="connsiteX36" fmla="*/ 265212 w 270151"/>
                <a:gd name="connsiteY36" fmla="*/ 274142 h 349151"/>
                <a:gd name="connsiteX37" fmla="*/ 266998 w 270151"/>
                <a:gd name="connsiteY37" fmla="*/ 251817 h 349151"/>
                <a:gd name="connsiteX38" fmla="*/ 265212 w 270151"/>
                <a:gd name="connsiteY38" fmla="*/ 250031 h 349151"/>
                <a:gd name="connsiteX39" fmla="*/ 241102 w 270151"/>
                <a:gd name="connsiteY39" fmla="*/ 250031 h 349151"/>
                <a:gd name="connsiteX40" fmla="*/ 226814 w 270151"/>
                <a:gd name="connsiteY40" fmla="*/ 264319 h 349151"/>
                <a:gd name="connsiteX41" fmla="*/ 199132 w 270151"/>
                <a:gd name="connsiteY41" fmla="*/ 292001 h 349151"/>
                <a:gd name="connsiteX42" fmla="*/ 199132 w 270151"/>
                <a:gd name="connsiteY42" fmla="*/ 16967 h 34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0151" h="349151">
                  <a:moveTo>
                    <a:pt x="200918" y="16967"/>
                  </a:moveTo>
                  <a:cubicBezTo>
                    <a:pt x="200918" y="13395"/>
                    <a:pt x="199132" y="9823"/>
                    <a:pt x="197346" y="7144"/>
                  </a:cubicBezTo>
                  <a:cubicBezTo>
                    <a:pt x="193774" y="2679"/>
                    <a:pt x="189309" y="0"/>
                    <a:pt x="183059" y="0"/>
                  </a:cubicBezTo>
                  <a:cubicBezTo>
                    <a:pt x="173236" y="0"/>
                    <a:pt x="166092" y="8037"/>
                    <a:pt x="166092" y="16967"/>
                  </a:cubicBezTo>
                  <a:lnTo>
                    <a:pt x="166092" y="19645"/>
                  </a:lnTo>
                  <a:lnTo>
                    <a:pt x="97334" y="19645"/>
                  </a:lnTo>
                  <a:lnTo>
                    <a:pt x="96441" y="19645"/>
                  </a:lnTo>
                  <a:cubicBezTo>
                    <a:pt x="91976" y="19645"/>
                    <a:pt x="89297" y="20538"/>
                    <a:pt x="87511" y="20538"/>
                  </a:cubicBezTo>
                  <a:cubicBezTo>
                    <a:pt x="85725" y="20538"/>
                    <a:pt x="83046" y="20538"/>
                    <a:pt x="78581" y="19645"/>
                  </a:cubicBezTo>
                  <a:lnTo>
                    <a:pt x="77688" y="19645"/>
                  </a:lnTo>
                  <a:lnTo>
                    <a:pt x="0" y="19645"/>
                  </a:lnTo>
                  <a:lnTo>
                    <a:pt x="0" y="54471"/>
                  </a:lnTo>
                  <a:lnTo>
                    <a:pt x="76795" y="54471"/>
                  </a:lnTo>
                  <a:cubicBezTo>
                    <a:pt x="79474" y="54471"/>
                    <a:pt x="82153" y="55364"/>
                    <a:pt x="86618" y="55364"/>
                  </a:cubicBezTo>
                  <a:cubicBezTo>
                    <a:pt x="91083" y="55364"/>
                    <a:pt x="94655" y="55364"/>
                    <a:pt x="96441" y="54471"/>
                  </a:cubicBezTo>
                  <a:lnTo>
                    <a:pt x="164306" y="54471"/>
                  </a:lnTo>
                  <a:lnTo>
                    <a:pt x="164306" y="291108"/>
                  </a:lnTo>
                  <a:lnTo>
                    <a:pt x="122337" y="249139"/>
                  </a:lnTo>
                  <a:cubicBezTo>
                    <a:pt x="115193" y="241995"/>
                    <a:pt x="104477" y="241995"/>
                    <a:pt x="98227" y="249139"/>
                  </a:cubicBezTo>
                  <a:cubicBezTo>
                    <a:pt x="91083" y="256282"/>
                    <a:pt x="91083" y="266998"/>
                    <a:pt x="98227" y="273249"/>
                  </a:cubicBezTo>
                  <a:lnTo>
                    <a:pt x="169664" y="344686"/>
                  </a:lnTo>
                  <a:cubicBezTo>
                    <a:pt x="169664" y="344686"/>
                    <a:pt x="169664" y="344686"/>
                    <a:pt x="170557" y="345579"/>
                  </a:cubicBezTo>
                  <a:cubicBezTo>
                    <a:pt x="171450" y="346472"/>
                    <a:pt x="172343" y="346472"/>
                    <a:pt x="172343" y="347365"/>
                  </a:cubicBezTo>
                  <a:cubicBezTo>
                    <a:pt x="173236" y="348258"/>
                    <a:pt x="174129" y="348258"/>
                    <a:pt x="174129" y="348258"/>
                  </a:cubicBezTo>
                  <a:cubicBezTo>
                    <a:pt x="174129" y="348258"/>
                    <a:pt x="174129" y="348258"/>
                    <a:pt x="175022" y="348258"/>
                  </a:cubicBezTo>
                  <a:cubicBezTo>
                    <a:pt x="175915" y="348258"/>
                    <a:pt x="175915" y="348258"/>
                    <a:pt x="176808" y="348258"/>
                  </a:cubicBezTo>
                  <a:cubicBezTo>
                    <a:pt x="177701" y="348258"/>
                    <a:pt x="178594" y="349151"/>
                    <a:pt x="179487" y="349151"/>
                  </a:cubicBezTo>
                  <a:cubicBezTo>
                    <a:pt x="180380" y="349151"/>
                    <a:pt x="181273" y="349151"/>
                    <a:pt x="182166" y="349151"/>
                  </a:cubicBezTo>
                  <a:cubicBezTo>
                    <a:pt x="183059" y="349151"/>
                    <a:pt x="183952" y="349151"/>
                    <a:pt x="184845" y="349151"/>
                  </a:cubicBezTo>
                  <a:cubicBezTo>
                    <a:pt x="185738" y="349151"/>
                    <a:pt x="186631" y="349151"/>
                    <a:pt x="187523" y="348258"/>
                  </a:cubicBezTo>
                  <a:cubicBezTo>
                    <a:pt x="188416" y="348258"/>
                    <a:pt x="188416" y="348258"/>
                    <a:pt x="189309" y="348258"/>
                  </a:cubicBezTo>
                  <a:cubicBezTo>
                    <a:pt x="189309" y="348258"/>
                    <a:pt x="189309" y="348258"/>
                    <a:pt x="190203" y="348258"/>
                  </a:cubicBezTo>
                  <a:cubicBezTo>
                    <a:pt x="191096" y="348258"/>
                    <a:pt x="191988" y="347365"/>
                    <a:pt x="191988" y="347365"/>
                  </a:cubicBezTo>
                  <a:cubicBezTo>
                    <a:pt x="192881" y="346472"/>
                    <a:pt x="193774" y="346472"/>
                    <a:pt x="193774" y="345579"/>
                  </a:cubicBezTo>
                  <a:cubicBezTo>
                    <a:pt x="193774" y="345579"/>
                    <a:pt x="193774" y="345579"/>
                    <a:pt x="194667" y="344686"/>
                  </a:cubicBezTo>
                  <a:lnTo>
                    <a:pt x="196453" y="342900"/>
                  </a:lnTo>
                  <a:lnTo>
                    <a:pt x="265212" y="274142"/>
                  </a:lnTo>
                  <a:cubicBezTo>
                    <a:pt x="271463" y="267891"/>
                    <a:pt x="271463" y="258961"/>
                    <a:pt x="266998" y="251817"/>
                  </a:cubicBezTo>
                  <a:cubicBezTo>
                    <a:pt x="266105" y="250925"/>
                    <a:pt x="266105" y="250031"/>
                    <a:pt x="265212" y="250031"/>
                  </a:cubicBezTo>
                  <a:cubicBezTo>
                    <a:pt x="258068" y="242888"/>
                    <a:pt x="247352" y="242888"/>
                    <a:pt x="241102" y="250031"/>
                  </a:cubicBezTo>
                  <a:lnTo>
                    <a:pt x="226814" y="264319"/>
                  </a:lnTo>
                  <a:lnTo>
                    <a:pt x="199132" y="292001"/>
                  </a:lnTo>
                  <a:lnTo>
                    <a:pt x="199132" y="16967"/>
                  </a:ln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grpSp>
      <p:grpSp>
        <p:nvGrpSpPr>
          <p:cNvPr id="92" name="Groupe 91">
            <a:extLst>
              <a:ext uri="{FF2B5EF4-FFF2-40B4-BE49-F238E27FC236}">
                <a16:creationId xmlns:a16="http://schemas.microsoft.com/office/drawing/2014/main" id="{331E36F6-E559-6D88-49AD-150FB9C64BFA}"/>
              </a:ext>
            </a:extLst>
          </p:cNvPr>
          <p:cNvGrpSpPr/>
          <p:nvPr/>
        </p:nvGrpSpPr>
        <p:grpSpPr>
          <a:xfrm>
            <a:off x="2738191" y="1434413"/>
            <a:ext cx="300818" cy="274317"/>
            <a:chOff x="8855597" y="299995"/>
            <a:chExt cx="826889" cy="856516"/>
          </a:xfrm>
          <a:solidFill>
            <a:schemeClr val="bg1"/>
          </a:solidFill>
        </p:grpSpPr>
        <p:sp>
          <p:nvSpPr>
            <p:cNvPr id="93" name="Forme libre 92">
              <a:extLst>
                <a:ext uri="{FF2B5EF4-FFF2-40B4-BE49-F238E27FC236}">
                  <a16:creationId xmlns:a16="http://schemas.microsoft.com/office/drawing/2014/main" id="{331390D0-1FB5-BD49-90B5-8BEA3DB3B6FE}"/>
                </a:ext>
              </a:extLst>
            </p:cNvPr>
            <p:cNvSpPr/>
            <p:nvPr/>
          </p:nvSpPr>
          <p:spPr>
            <a:xfrm>
              <a:off x="8855597" y="602890"/>
              <a:ext cx="826889" cy="553621"/>
            </a:xfrm>
            <a:custGeom>
              <a:avLst/>
              <a:gdLst>
                <a:gd name="connsiteX0" fmla="*/ 819588 w 826889"/>
                <a:gd name="connsiteY0" fmla="*/ 264157 h 553621"/>
                <a:gd name="connsiteX1" fmla="*/ 754266 w 826889"/>
                <a:gd name="connsiteY1" fmla="*/ 247879 h 553621"/>
                <a:gd name="connsiteX2" fmla="*/ 735530 w 826889"/>
                <a:gd name="connsiteY2" fmla="*/ 255613 h 553621"/>
                <a:gd name="connsiteX3" fmla="*/ 639613 w 826889"/>
                <a:gd name="connsiteY3" fmla="*/ 177489 h 553621"/>
                <a:gd name="connsiteX4" fmla="*/ 492795 w 826889"/>
                <a:gd name="connsiteY4" fmla="*/ 145028 h 553621"/>
                <a:gd name="connsiteX5" fmla="*/ 492795 w 826889"/>
                <a:gd name="connsiteY5" fmla="*/ 9373 h 553621"/>
                <a:gd name="connsiteX6" fmla="*/ 483432 w 826889"/>
                <a:gd name="connsiteY6" fmla="*/ 0 h 553621"/>
                <a:gd name="connsiteX7" fmla="*/ 474059 w 826889"/>
                <a:gd name="connsiteY7" fmla="*/ 9373 h 553621"/>
                <a:gd name="connsiteX8" fmla="*/ 474059 w 826889"/>
                <a:gd name="connsiteY8" fmla="*/ 145028 h 553621"/>
                <a:gd name="connsiteX9" fmla="*/ 234810 w 826889"/>
                <a:gd name="connsiteY9" fmla="*/ 250774 h 553621"/>
                <a:gd name="connsiteX10" fmla="*/ 179108 w 826889"/>
                <a:gd name="connsiteY10" fmla="*/ 250774 h 553621"/>
                <a:gd name="connsiteX11" fmla="*/ 179108 w 826889"/>
                <a:gd name="connsiteY11" fmla="*/ 234468 h 553621"/>
                <a:gd name="connsiteX12" fmla="*/ 147876 w 826889"/>
                <a:gd name="connsiteY12" fmla="*/ 203244 h 553621"/>
                <a:gd name="connsiteX13" fmla="*/ 115329 w 826889"/>
                <a:gd name="connsiteY13" fmla="*/ 203244 h 553621"/>
                <a:gd name="connsiteX14" fmla="*/ 115329 w 826889"/>
                <a:gd name="connsiteY14" fmla="*/ 188909 h 553621"/>
                <a:gd name="connsiteX15" fmla="*/ 105956 w 826889"/>
                <a:gd name="connsiteY15" fmla="*/ 179546 h 553621"/>
                <a:gd name="connsiteX16" fmla="*/ 9373 w 826889"/>
                <a:gd name="connsiteY16" fmla="*/ 179546 h 553621"/>
                <a:gd name="connsiteX17" fmla="*/ 0 w 826889"/>
                <a:gd name="connsiteY17" fmla="*/ 188909 h 553621"/>
                <a:gd name="connsiteX18" fmla="*/ 0 w 826889"/>
                <a:gd name="connsiteY18" fmla="*/ 544259 h 553621"/>
                <a:gd name="connsiteX19" fmla="*/ 9373 w 826889"/>
                <a:gd name="connsiteY19" fmla="*/ 553622 h 553621"/>
                <a:gd name="connsiteX20" fmla="*/ 105956 w 826889"/>
                <a:gd name="connsiteY20" fmla="*/ 553622 h 553621"/>
                <a:gd name="connsiteX21" fmla="*/ 115329 w 826889"/>
                <a:gd name="connsiteY21" fmla="*/ 544259 h 553621"/>
                <a:gd name="connsiteX22" fmla="*/ 115329 w 826889"/>
                <a:gd name="connsiteY22" fmla="*/ 525447 h 553621"/>
                <a:gd name="connsiteX23" fmla="*/ 147876 w 826889"/>
                <a:gd name="connsiteY23" fmla="*/ 525447 h 553621"/>
                <a:gd name="connsiteX24" fmla="*/ 179108 w 826889"/>
                <a:gd name="connsiteY24" fmla="*/ 494205 h 553621"/>
                <a:gd name="connsiteX25" fmla="*/ 179108 w 826889"/>
                <a:gd name="connsiteY25" fmla="*/ 473402 h 553621"/>
                <a:gd name="connsiteX26" fmla="*/ 435245 w 826889"/>
                <a:gd name="connsiteY26" fmla="*/ 532828 h 553621"/>
                <a:gd name="connsiteX27" fmla="*/ 452857 w 826889"/>
                <a:gd name="connsiteY27" fmla="*/ 534562 h 553621"/>
                <a:gd name="connsiteX28" fmla="*/ 510483 w 826889"/>
                <a:gd name="connsiteY28" fmla="*/ 519236 h 553621"/>
                <a:gd name="connsiteX29" fmla="*/ 805158 w 826889"/>
                <a:gd name="connsiteY29" fmla="*/ 325812 h 553621"/>
                <a:gd name="connsiteX30" fmla="*/ 826094 w 826889"/>
                <a:gd name="connsiteY30" fmla="*/ 295618 h 553621"/>
                <a:gd name="connsiteX31" fmla="*/ 819588 w 826889"/>
                <a:gd name="connsiteY31" fmla="*/ 264157 h 553621"/>
                <a:gd name="connsiteX32" fmla="*/ 483527 w 826889"/>
                <a:gd name="connsiteY32" fmla="*/ 163649 h 553621"/>
                <a:gd name="connsiteX33" fmla="*/ 717833 w 826889"/>
                <a:gd name="connsiteY33" fmla="*/ 262909 h 553621"/>
                <a:gd name="connsiteX34" fmla="*/ 598846 w 826889"/>
                <a:gd name="connsiteY34" fmla="*/ 312001 h 553621"/>
                <a:gd name="connsiteX35" fmla="*/ 552050 w 826889"/>
                <a:gd name="connsiteY35" fmla="*/ 278644 h 553621"/>
                <a:gd name="connsiteX36" fmla="*/ 414595 w 826889"/>
                <a:gd name="connsiteY36" fmla="*/ 278644 h 553621"/>
                <a:gd name="connsiteX37" fmla="*/ 375552 w 826889"/>
                <a:gd name="connsiteY37" fmla="*/ 274482 h 553621"/>
                <a:gd name="connsiteX38" fmla="*/ 340690 w 826889"/>
                <a:gd name="connsiteY38" fmla="*/ 265510 h 553621"/>
                <a:gd name="connsiteX39" fmla="*/ 339881 w 826889"/>
                <a:gd name="connsiteY39" fmla="*/ 265176 h 553621"/>
                <a:gd name="connsiteX40" fmla="*/ 339671 w 826889"/>
                <a:gd name="connsiteY40" fmla="*/ 265109 h 553621"/>
                <a:gd name="connsiteX41" fmla="*/ 258080 w 826889"/>
                <a:gd name="connsiteY41" fmla="*/ 251203 h 553621"/>
                <a:gd name="connsiteX42" fmla="*/ 483527 w 826889"/>
                <a:gd name="connsiteY42" fmla="*/ 163649 h 553621"/>
                <a:gd name="connsiteX43" fmla="*/ 96574 w 826889"/>
                <a:gd name="connsiteY43" fmla="*/ 534867 h 553621"/>
                <a:gd name="connsiteX44" fmla="*/ 18745 w 826889"/>
                <a:gd name="connsiteY44" fmla="*/ 534867 h 553621"/>
                <a:gd name="connsiteX45" fmla="*/ 18745 w 826889"/>
                <a:gd name="connsiteY45" fmla="*/ 198272 h 553621"/>
                <a:gd name="connsiteX46" fmla="*/ 96574 w 826889"/>
                <a:gd name="connsiteY46" fmla="*/ 198272 h 553621"/>
                <a:gd name="connsiteX47" fmla="*/ 96574 w 826889"/>
                <a:gd name="connsiteY47" fmla="*/ 534867 h 553621"/>
                <a:gd name="connsiteX48" fmla="*/ 147857 w 826889"/>
                <a:gd name="connsiteY48" fmla="*/ 506692 h 553621"/>
                <a:gd name="connsiteX49" fmla="*/ 115310 w 826889"/>
                <a:gd name="connsiteY49" fmla="*/ 506692 h 553621"/>
                <a:gd name="connsiteX50" fmla="*/ 115310 w 826889"/>
                <a:gd name="connsiteY50" fmla="*/ 221971 h 553621"/>
                <a:gd name="connsiteX51" fmla="*/ 147857 w 826889"/>
                <a:gd name="connsiteY51" fmla="*/ 221971 h 553621"/>
                <a:gd name="connsiteX52" fmla="*/ 160344 w 826889"/>
                <a:gd name="connsiteY52" fmla="*/ 234458 h 553621"/>
                <a:gd name="connsiteX53" fmla="*/ 160344 w 826889"/>
                <a:gd name="connsiteY53" fmla="*/ 461277 h 553621"/>
                <a:gd name="connsiteX54" fmla="*/ 160344 w 826889"/>
                <a:gd name="connsiteY54" fmla="*/ 461496 h 553621"/>
                <a:gd name="connsiteX55" fmla="*/ 160344 w 826889"/>
                <a:gd name="connsiteY55" fmla="*/ 494186 h 553621"/>
                <a:gd name="connsiteX56" fmla="*/ 147857 w 826889"/>
                <a:gd name="connsiteY56" fmla="*/ 506692 h 553621"/>
                <a:gd name="connsiteX57" fmla="*/ 807672 w 826889"/>
                <a:gd name="connsiteY57" fmla="*/ 291989 h 553621"/>
                <a:gd name="connsiteX58" fmla="*/ 794919 w 826889"/>
                <a:gd name="connsiteY58" fmla="*/ 310077 h 553621"/>
                <a:gd name="connsiteX59" fmla="*/ 500243 w 826889"/>
                <a:gd name="connsiteY59" fmla="*/ 503501 h 553621"/>
                <a:gd name="connsiteX60" fmla="*/ 439322 w 826889"/>
                <a:gd name="connsiteY60" fmla="*/ 514531 h 553621"/>
                <a:gd name="connsiteX61" fmla="*/ 179080 w 826889"/>
                <a:gd name="connsiteY61" fmla="*/ 454152 h 553621"/>
                <a:gd name="connsiteX62" fmla="*/ 179080 w 826889"/>
                <a:gd name="connsiteY62" fmla="*/ 269510 h 553621"/>
                <a:gd name="connsiteX63" fmla="*/ 239278 w 826889"/>
                <a:gd name="connsiteY63" fmla="*/ 269510 h 553621"/>
                <a:gd name="connsiteX64" fmla="*/ 333089 w 826889"/>
                <a:gd name="connsiteY64" fmla="*/ 282654 h 553621"/>
                <a:gd name="connsiteX65" fmla="*/ 333889 w 826889"/>
                <a:gd name="connsiteY65" fmla="*/ 282978 h 553621"/>
                <a:gd name="connsiteX66" fmla="*/ 334090 w 826889"/>
                <a:gd name="connsiteY66" fmla="*/ 283054 h 553621"/>
                <a:gd name="connsiteX67" fmla="*/ 372161 w 826889"/>
                <a:gd name="connsiteY67" fmla="*/ 292932 h 553621"/>
                <a:gd name="connsiteX68" fmla="*/ 414566 w 826889"/>
                <a:gd name="connsiteY68" fmla="*/ 297390 h 553621"/>
                <a:gd name="connsiteX69" fmla="*/ 552021 w 826889"/>
                <a:gd name="connsiteY69" fmla="*/ 297390 h 553621"/>
                <a:gd name="connsiteX70" fmla="*/ 582425 w 826889"/>
                <a:gd name="connsiteY70" fmla="*/ 325479 h 553621"/>
                <a:gd name="connsiteX71" fmla="*/ 582435 w 826889"/>
                <a:gd name="connsiteY71" fmla="*/ 325736 h 553621"/>
                <a:gd name="connsiteX72" fmla="*/ 582492 w 826889"/>
                <a:gd name="connsiteY72" fmla="*/ 326879 h 553621"/>
                <a:gd name="connsiteX73" fmla="*/ 581901 w 826889"/>
                <a:gd name="connsiteY73" fmla="*/ 332518 h 553621"/>
                <a:gd name="connsiteX74" fmla="*/ 552012 w 826889"/>
                <a:gd name="connsiteY74" fmla="*/ 356340 h 553621"/>
                <a:gd name="connsiteX75" fmla="*/ 414776 w 826889"/>
                <a:gd name="connsiteY75" fmla="*/ 356340 h 553621"/>
                <a:gd name="connsiteX76" fmla="*/ 343348 w 826889"/>
                <a:gd name="connsiteY76" fmla="*/ 381876 h 553621"/>
                <a:gd name="connsiteX77" fmla="*/ 342376 w 826889"/>
                <a:gd name="connsiteY77" fmla="*/ 395097 h 553621"/>
                <a:gd name="connsiteX78" fmla="*/ 349472 w 826889"/>
                <a:gd name="connsiteY78" fmla="*/ 398355 h 553621"/>
                <a:gd name="connsiteX79" fmla="*/ 355597 w 826889"/>
                <a:gd name="connsiteY79" fmla="*/ 396069 h 553621"/>
                <a:gd name="connsiteX80" fmla="*/ 414042 w 826889"/>
                <a:gd name="connsiteY80" fmla="*/ 375085 h 553621"/>
                <a:gd name="connsiteX81" fmla="*/ 414566 w 826889"/>
                <a:gd name="connsiteY81" fmla="*/ 375104 h 553621"/>
                <a:gd name="connsiteX82" fmla="*/ 552021 w 826889"/>
                <a:gd name="connsiteY82" fmla="*/ 375104 h 553621"/>
                <a:gd name="connsiteX83" fmla="*/ 600275 w 826889"/>
                <a:gd name="connsiteY83" fmla="*/ 336261 h 553621"/>
                <a:gd name="connsiteX84" fmla="*/ 600999 w 826889"/>
                <a:gd name="connsiteY84" fmla="*/ 331384 h 553621"/>
                <a:gd name="connsiteX85" fmla="*/ 761486 w 826889"/>
                <a:gd name="connsiteY85" fmla="*/ 265176 h 553621"/>
                <a:gd name="connsiteX86" fmla="*/ 761686 w 826889"/>
                <a:gd name="connsiteY86" fmla="*/ 265090 h 553621"/>
                <a:gd name="connsiteX87" fmla="*/ 804215 w 826889"/>
                <a:gd name="connsiteY87" fmla="*/ 274901 h 553621"/>
                <a:gd name="connsiteX88" fmla="*/ 807672 w 826889"/>
                <a:gd name="connsiteY88" fmla="*/ 291989 h 55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26889" h="553621">
                  <a:moveTo>
                    <a:pt x="819588" y="264157"/>
                  </a:moveTo>
                  <a:cubicBezTo>
                    <a:pt x="806329" y="245221"/>
                    <a:pt x="777050" y="237925"/>
                    <a:pt x="754266" y="247879"/>
                  </a:cubicBezTo>
                  <a:lnTo>
                    <a:pt x="735530" y="255613"/>
                  </a:lnTo>
                  <a:cubicBezTo>
                    <a:pt x="714975" y="224057"/>
                    <a:pt x="682009" y="197149"/>
                    <a:pt x="639613" y="177489"/>
                  </a:cubicBezTo>
                  <a:cubicBezTo>
                    <a:pt x="596170" y="157363"/>
                    <a:pt x="545602" y="146199"/>
                    <a:pt x="492795" y="145028"/>
                  </a:cubicBezTo>
                  <a:lnTo>
                    <a:pt x="492795" y="9373"/>
                  </a:lnTo>
                  <a:cubicBezTo>
                    <a:pt x="492795" y="4201"/>
                    <a:pt x="488614" y="0"/>
                    <a:pt x="483432" y="0"/>
                  </a:cubicBezTo>
                  <a:cubicBezTo>
                    <a:pt x="478260" y="0"/>
                    <a:pt x="474059" y="4201"/>
                    <a:pt x="474059" y="9373"/>
                  </a:cubicBezTo>
                  <a:lnTo>
                    <a:pt x="474059" y="145028"/>
                  </a:lnTo>
                  <a:cubicBezTo>
                    <a:pt x="371332" y="147399"/>
                    <a:pt x="278844" y="188243"/>
                    <a:pt x="234810" y="250774"/>
                  </a:cubicBezTo>
                  <a:lnTo>
                    <a:pt x="179108" y="250774"/>
                  </a:lnTo>
                  <a:lnTo>
                    <a:pt x="179108" y="234468"/>
                  </a:lnTo>
                  <a:cubicBezTo>
                    <a:pt x="179108" y="217246"/>
                    <a:pt x="165097" y="203244"/>
                    <a:pt x="147876" y="203244"/>
                  </a:cubicBezTo>
                  <a:lnTo>
                    <a:pt x="115329" y="203244"/>
                  </a:lnTo>
                  <a:lnTo>
                    <a:pt x="115329" y="188909"/>
                  </a:lnTo>
                  <a:cubicBezTo>
                    <a:pt x="115329" y="183737"/>
                    <a:pt x="111128" y="179546"/>
                    <a:pt x="105956" y="179546"/>
                  </a:cubicBezTo>
                  <a:lnTo>
                    <a:pt x="9373" y="179546"/>
                  </a:lnTo>
                  <a:cubicBezTo>
                    <a:pt x="4201" y="179546"/>
                    <a:pt x="0" y="183737"/>
                    <a:pt x="0" y="188909"/>
                  </a:cubicBezTo>
                  <a:lnTo>
                    <a:pt x="0" y="544259"/>
                  </a:lnTo>
                  <a:cubicBezTo>
                    <a:pt x="0" y="549431"/>
                    <a:pt x="4191" y="553622"/>
                    <a:pt x="9373" y="553622"/>
                  </a:cubicBezTo>
                  <a:lnTo>
                    <a:pt x="105956" y="553622"/>
                  </a:lnTo>
                  <a:cubicBezTo>
                    <a:pt x="111128" y="553622"/>
                    <a:pt x="115329" y="549431"/>
                    <a:pt x="115329" y="544259"/>
                  </a:cubicBezTo>
                  <a:lnTo>
                    <a:pt x="115329" y="525447"/>
                  </a:lnTo>
                  <a:lnTo>
                    <a:pt x="147876" y="525447"/>
                  </a:lnTo>
                  <a:cubicBezTo>
                    <a:pt x="165097" y="525447"/>
                    <a:pt x="179108" y="511426"/>
                    <a:pt x="179108" y="494205"/>
                  </a:cubicBezTo>
                  <a:lnTo>
                    <a:pt x="179108" y="473402"/>
                  </a:lnTo>
                  <a:lnTo>
                    <a:pt x="435245" y="532828"/>
                  </a:lnTo>
                  <a:cubicBezTo>
                    <a:pt x="440626" y="534000"/>
                    <a:pt x="446608" y="534562"/>
                    <a:pt x="452857" y="534562"/>
                  </a:cubicBezTo>
                  <a:cubicBezTo>
                    <a:pt x="472859" y="534562"/>
                    <a:pt x="495576" y="528818"/>
                    <a:pt x="510483" y="519236"/>
                  </a:cubicBezTo>
                  <a:lnTo>
                    <a:pt x="805158" y="325812"/>
                  </a:lnTo>
                  <a:cubicBezTo>
                    <a:pt x="816074" y="318773"/>
                    <a:pt x="823713" y="307772"/>
                    <a:pt x="826094" y="295618"/>
                  </a:cubicBezTo>
                  <a:cubicBezTo>
                    <a:pt x="828266" y="284436"/>
                    <a:pt x="825961" y="273272"/>
                    <a:pt x="819588" y="264157"/>
                  </a:cubicBezTo>
                  <a:close/>
                  <a:moveTo>
                    <a:pt x="483527" y="163649"/>
                  </a:moveTo>
                  <a:cubicBezTo>
                    <a:pt x="584444" y="163649"/>
                    <a:pt x="676732" y="203159"/>
                    <a:pt x="717833" y="262909"/>
                  </a:cubicBezTo>
                  <a:lnTo>
                    <a:pt x="598846" y="312001"/>
                  </a:lnTo>
                  <a:cubicBezTo>
                    <a:pt x="592455" y="292541"/>
                    <a:pt x="573891" y="278644"/>
                    <a:pt x="552050" y="278644"/>
                  </a:cubicBezTo>
                  <a:lnTo>
                    <a:pt x="414595" y="278644"/>
                  </a:lnTo>
                  <a:cubicBezTo>
                    <a:pt x="404327" y="278644"/>
                    <a:pt x="390087" y="277130"/>
                    <a:pt x="375552" y="274482"/>
                  </a:cubicBezTo>
                  <a:cubicBezTo>
                    <a:pt x="362179" y="272025"/>
                    <a:pt x="349796" y="268834"/>
                    <a:pt x="340690" y="265510"/>
                  </a:cubicBezTo>
                  <a:lnTo>
                    <a:pt x="339881" y="265176"/>
                  </a:lnTo>
                  <a:cubicBezTo>
                    <a:pt x="339814" y="265157"/>
                    <a:pt x="339738" y="265128"/>
                    <a:pt x="339671" y="265109"/>
                  </a:cubicBezTo>
                  <a:cubicBezTo>
                    <a:pt x="319230" y="257604"/>
                    <a:pt x="289655" y="252632"/>
                    <a:pt x="258080" y="251203"/>
                  </a:cubicBezTo>
                  <a:cubicBezTo>
                    <a:pt x="302838" y="197567"/>
                    <a:pt x="388906" y="163649"/>
                    <a:pt x="483527" y="163649"/>
                  </a:cubicBezTo>
                  <a:close/>
                  <a:moveTo>
                    <a:pt x="96574" y="534867"/>
                  </a:moveTo>
                  <a:lnTo>
                    <a:pt x="18745" y="534867"/>
                  </a:lnTo>
                  <a:lnTo>
                    <a:pt x="18745" y="198272"/>
                  </a:lnTo>
                  <a:lnTo>
                    <a:pt x="96574" y="198272"/>
                  </a:lnTo>
                  <a:lnTo>
                    <a:pt x="96574" y="534867"/>
                  </a:lnTo>
                  <a:close/>
                  <a:moveTo>
                    <a:pt x="147857" y="506692"/>
                  </a:moveTo>
                  <a:lnTo>
                    <a:pt x="115310" y="506692"/>
                  </a:lnTo>
                  <a:lnTo>
                    <a:pt x="115310" y="221971"/>
                  </a:lnTo>
                  <a:lnTo>
                    <a:pt x="147857" y="221971"/>
                  </a:lnTo>
                  <a:cubicBezTo>
                    <a:pt x="154743" y="221971"/>
                    <a:pt x="160344" y="227571"/>
                    <a:pt x="160344" y="234458"/>
                  </a:cubicBezTo>
                  <a:lnTo>
                    <a:pt x="160344" y="461277"/>
                  </a:lnTo>
                  <a:cubicBezTo>
                    <a:pt x="160344" y="461353"/>
                    <a:pt x="160344" y="461429"/>
                    <a:pt x="160344" y="461496"/>
                  </a:cubicBezTo>
                  <a:lnTo>
                    <a:pt x="160344" y="494186"/>
                  </a:lnTo>
                  <a:cubicBezTo>
                    <a:pt x="160344" y="501082"/>
                    <a:pt x="154743" y="506692"/>
                    <a:pt x="147857" y="506692"/>
                  </a:cubicBezTo>
                  <a:close/>
                  <a:moveTo>
                    <a:pt x="807672" y="291989"/>
                  </a:moveTo>
                  <a:cubicBezTo>
                    <a:pt x="806282" y="299171"/>
                    <a:pt x="801643" y="305743"/>
                    <a:pt x="794919" y="310077"/>
                  </a:cubicBezTo>
                  <a:lnTo>
                    <a:pt x="500243" y="503501"/>
                  </a:lnTo>
                  <a:cubicBezTo>
                    <a:pt x="484946" y="513350"/>
                    <a:pt x="457000" y="518389"/>
                    <a:pt x="439322" y="514531"/>
                  </a:cubicBezTo>
                  <a:lnTo>
                    <a:pt x="179080" y="454152"/>
                  </a:lnTo>
                  <a:lnTo>
                    <a:pt x="179080" y="269510"/>
                  </a:lnTo>
                  <a:lnTo>
                    <a:pt x="239278" y="269510"/>
                  </a:lnTo>
                  <a:cubicBezTo>
                    <a:pt x="275539" y="269510"/>
                    <a:pt x="310591" y="274425"/>
                    <a:pt x="333089" y="282654"/>
                  </a:cubicBezTo>
                  <a:lnTo>
                    <a:pt x="333889" y="282978"/>
                  </a:lnTo>
                  <a:cubicBezTo>
                    <a:pt x="333956" y="283007"/>
                    <a:pt x="334023" y="283036"/>
                    <a:pt x="334090" y="283054"/>
                  </a:cubicBezTo>
                  <a:cubicBezTo>
                    <a:pt x="344186" y="286769"/>
                    <a:pt x="357692" y="290274"/>
                    <a:pt x="372161" y="292932"/>
                  </a:cubicBezTo>
                  <a:cubicBezTo>
                    <a:pt x="387991" y="295809"/>
                    <a:pt x="403060" y="297390"/>
                    <a:pt x="414566" y="297390"/>
                  </a:cubicBezTo>
                  <a:lnTo>
                    <a:pt x="552021" y="297390"/>
                  </a:lnTo>
                  <a:cubicBezTo>
                    <a:pt x="568052" y="297390"/>
                    <a:pt x="581692" y="309991"/>
                    <a:pt x="582425" y="325479"/>
                  </a:cubicBezTo>
                  <a:cubicBezTo>
                    <a:pt x="582425" y="325574"/>
                    <a:pt x="582435" y="325660"/>
                    <a:pt x="582435" y="325736"/>
                  </a:cubicBezTo>
                  <a:cubicBezTo>
                    <a:pt x="582463" y="326117"/>
                    <a:pt x="582492" y="326488"/>
                    <a:pt x="582492" y="326879"/>
                  </a:cubicBezTo>
                  <a:cubicBezTo>
                    <a:pt x="582492" y="328746"/>
                    <a:pt x="582292" y="330622"/>
                    <a:pt x="581901" y="332518"/>
                  </a:cubicBezTo>
                  <a:cubicBezTo>
                    <a:pt x="579139" y="346319"/>
                    <a:pt x="566557" y="356340"/>
                    <a:pt x="552012" y="356340"/>
                  </a:cubicBezTo>
                  <a:lnTo>
                    <a:pt x="414776" y="356340"/>
                  </a:lnTo>
                  <a:cubicBezTo>
                    <a:pt x="410785" y="356178"/>
                    <a:pt x="373961" y="355435"/>
                    <a:pt x="343348" y="381876"/>
                  </a:cubicBezTo>
                  <a:cubicBezTo>
                    <a:pt x="339433" y="385248"/>
                    <a:pt x="338995" y="391182"/>
                    <a:pt x="342376" y="395097"/>
                  </a:cubicBezTo>
                  <a:cubicBezTo>
                    <a:pt x="344234" y="397250"/>
                    <a:pt x="346843" y="398355"/>
                    <a:pt x="349472" y="398355"/>
                  </a:cubicBezTo>
                  <a:cubicBezTo>
                    <a:pt x="351644" y="398355"/>
                    <a:pt x="353825" y="397602"/>
                    <a:pt x="355597" y="396069"/>
                  </a:cubicBezTo>
                  <a:cubicBezTo>
                    <a:pt x="381438" y="373751"/>
                    <a:pt x="413747" y="375066"/>
                    <a:pt x="414042" y="375085"/>
                  </a:cubicBezTo>
                  <a:cubicBezTo>
                    <a:pt x="414223" y="375085"/>
                    <a:pt x="414385" y="375104"/>
                    <a:pt x="414566" y="375104"/>
                  </a:cubicBezTo>
                  <a:lnTo>
                    <a:pt x="552021" y="375104"/>
                  </a:lnTo>
                  <a:cubicBezTo>
                    <a:pt x="575472" y="375104"/>
                    <a:pt x="595760" y="358750"/>
                    <a:pt x="600275" y="336261"/>
                  </a:cubicBezTo>
                  <a:cubicBezTo>
                    <a:pt x="600599" y="334651"/>
                    <a:pt x="600847" y="333013"/>
                    <a:pt x="600999" y="331384"/>
                  </a:cubicBezTo>
                  <a:lnTo>
                    <a:pt x="761486" y="265176"/>
                  </a:lnTo>
                  <a:cubicBezTo>
                    <a:pt x="761562" y="265147"/>
                    <a:pt x="761619" y="265119"/>
                    <a:pt x="761686" y="265090"/>
                  </a:cubicBezTo>
                  <a:cubicBezTo>
                    <a:pt x="776478" y="258594"/>
                    <a:pt x="795947" y="263100"/>
                    <a:pt x="804215" y="274901"/>
                  </a:cubicBezTo>
                  <a:cubicBezTo>
                    <a:pt x="807663" y="279806"/>
                    <a:pt x="808882" y="285874"/>
                    <a:pt x="807672" y="291989"/>
                  </a:cubicBezTo>
                  <a:close/>
                </a:path>
              </a:pathLst>
            </a:custGeom>
            <a:grpFill/>
            <a:ln w="6350" cap="flat">
              <a:solidFill>
                <a:schemeClr val="bg1"/>
              </a:solidFill>
              <a:prstDash val="solid"/>
              <a:miter/>
            </a:ln>
          </p:spPr>
          <p:txBody>
            <a:bodyPr rtlCol="0" anchor="ctr"/>
            <a:lstStyle/>
            <a:p>
              <a:pPr defTabSz="685783">
                <a:defRPr/>
              </a:pPr>
              <a:endParaRPr lang="fr-FR" sz="1350" kern="0" dirty="0">
                <a:solidFill>
                  <a:prstClr val="black"/>
                </a:solidFill>
                <a:latin typeface="Arial"/>
              </a:endParaRPr>
            </a:p>
          </p:txBody>
        </p:sp>
        <p:sp>
          <p:nvSpPr>
            <p:cNvPr id="94" name="Forme libre 93">
              <a:extLst>
                <a:ext uri="{FF2B5EF4-FFF2-40B4-BE49-F238E27FC236}">
                  <a16:creationId xmlns:a16="http://schemas.microsoft.com/office/drawing/2014/main" id="{A02A8B77-7A7F-69C6-00F1-903005D99607}"/>
                </a:ext>
              </a:extLst>
            </p:cNvPr>
            <p:cNvSpPr/>
            <p:nvPr/>
          </p:nvSpPr>
          <p:spPr>
            <a:xfrm>
              <a:off x="9057818" y="523027"/>
              <a:ext cx="245454" cy="179580"/>
            </a:xfrm>
            <a:custGeom>
              <a:avLst/>
              <a:gdLst>
                <a:gd name="connsiteX0" fmla="*/ 24 w 245454"/>
                <a:gd name="connsiteY0" fmla="*/ 23018 h 179580"/>
                <a:gd name="connsiteX1" fmla="*/ 34 w 245454"/>
                <a:gd name="connsiteY1" fmla="*/ 23685 h 179580"/>
                <a:gd name="connsiteX2" fmla="*/ 78663 w 245454"/>
                <a:gd name="connsiteY2" fmla="*/ 157082 h 179580"/>
                <a:gd name="connsiteX3" fmla="*/ 160235 w 245454"/>
                <a:gd name="connsiteY3" fmla="*/ 179581 h 179580"/>
                <a:gd name="connsiteX4" fmla="*/ 238997 w 245454"/>
                <a:gd name="connsiteY4" fmla="*/ 165712 h 179580"/>
                <a:gd name="connsiteX5" fmla="*/ 239187 w 245454"/>
                <a:gd name="connsiteY5" fmla="*/ 165636 h 179580"/>
                <a:gd name="connsiteX6" fmla="*/ 239616 w 245454"/>
                <a:gd name="connsiteY6" fmla="*/ 165483 h 179580"/>
                <a:gd name="connsiteX7" fmla="*/ 239778 w 245454"/>
                <a:gd name="connsiteY7" fmla="*/ 165407 h 179580"/>
                <a:gd name="connsiteX8" fmla="*/ 240711 w 245454"/>
                <a:gd name="connsiteY8" fmla="*/ 164960 h 179580"/>
                <a:gd name="connsiteX9" fmla="*/ 240873 w 245454"/>
                <a:gd name="connsiteY9" fmla="*/ 164864 h 179580"/>
                <a:gd name="connsiteX10" fmla="*/ 241073 w 245454"/>
                <a:gd name="connsiteY10" fmla="*/ 164721 h 179580"/>
                <a:gd name="connsiteX11" fmla="*/ 241426 w 245454"/>
                <a:gd name="connsiteY11" fmla="*/ 164502 h 179580"/>
                <a:gd name="connsiteX12" fmla="*/ 242055 w 245454"/>
                <a:gd name="connsiteY12" fmla="*/ 164017 h 179580"/>
                <a:gd name="connsiteX13" fmla="*/ 242378 w 245454"/>
                <a:gd name="connsiteY13" fmla="*/ 163750 h 179580"/>
                <a:gd name="connsiteX14" fmla="*/ 242654 w 245454"/>
                <a:gd name="connsiteY14" fmla="*/ 163502 h 179580"/>
                <a:gd name="connsiteX15" fmla="*/ 242788 w 245454"/>
                <a:gd name="connsiteY15" fmla="*/ 163359 h 179580"/>
                <a:gd name="connsiteX16" fmla="*/ 243464 w 245454"/>
                <a:gd name="connsiteY16" fmla="*/ 162588 h 179580"/>
                <a:gd name="connsiteX17" fmla="*/ 243588 w 245454"/>
                <a:gd name="connsiteY17" fmla="*/ 162416 h 179580"/>
                <a:gd name="connsiteX18" fmla="*/ 243683 w 245454"/>
                <a:gd name="connsiteY18" fmla="*/ 162274 h 179580"/>
                <a:gd name="connsiteX19" fmla="*/ 243950 w 245454"/>
                <a:gd name="connsiteY19" fmla="*/ 161883 h 179580"/>
                <a:gd name="connsiteX20" fmla="*/ 244159 w 245454"/>
                <a:gd name="connsiteY20" fmla="*/ 161578 h 179580"/>
                <a:gd name="connsiteX21" fmla="*/ 244283 w 245454"/>
                <a:gd name="connsiteY21" fmla="*/ 161321 h 179580"/>
                <a:gd name="connsiteX22" fmla="*/ 244560 w 245454"/>
                <a:gd name="connsiteY22" fmla="*/ 160778 h 179580"/>
                <a:gd name="connsiteX23" fmla="*/ 244807 w 245454"/>
                <a:gd name="connsiteY23" fmla="*/ 160159 h 179580"/>
                <a:gd name="connsiteX24" fmla="*/ 245007 w 245454"/>
                <a:gd name="connsiteY24" fmla="*/ 159616 h 179580"/>
                <a:gd name="connsiteX25" fmla="*/ 245169 w 245454"/>
                <a:gd name="connsiteY25" fmla="*/ 159092 h 179580"/>
                <a:gd name="connsiteX26" fmla="*/ 245302 w 245454"/>
                <a:gd name="connsiteY26" fmla="*/ 158406 h 179580"/>
                <a:gd name="connsiteX27" fmla="*/ 245407 w 245454"/>
                <a:gd name="connsiteY27" fmla="*/ 157844 h 179580"/>
                <a:gd name="connsiteX28" fmla="*/ 245436 w 245454"/>
                <a:gd name="connsiteY28" fmla="*/ 157282 h 179580"/>
                <a:gd name="connsiteX29" fmla="*/ 245455 w 245454"/>
                <a:gd name="connsiteY29" fmla="*/ 156606 h 179580"/>
                <a:gd name="connsiteX30" fmla="*/ 245426 w 245454"/>
                <a:gd name="connsiteY30" fmla="*/ 156025 h 179580"/>
                <a:gd name="connsiteX31" fmla="*/ 245341 w 245454"/>
                <a:gd name="connsiteY31" fmla="*/ 155416 h 179580"/>
                <a:gd name="connsiteX32" fmla="*/ 245312 w 245454"/>
                <a:gd name="connsiteY32" fmla="*/ 155082 h 179580"/>
                <a:gd name="connsiteX33" fmla="*/ 160644 w 245454"/>
                <a:gd name="connsiteY33" fmla="*/ 18656 h 179580"/>
                <a:gd name="connsiteX34" fmla="*/ 5863 w 245454"/>
                <a:gd name="connsiteY34" fmla="*/ 13874 h 179580"/>
                <a:gd name="connsiteX35" fmla="*/ 5244 w 245454"/>
                <a:gd name="connsiteY35" fmla="*/ 14198 h 179580"/>
                <a:gd name="connsiteX36" fmla="*/ 4472 w 245454"/>
                <a:gd name="connsiteY36" fmla="*/ 14598 h 179580"/>
                <a:gd name="connsiteX37" fmla="*/ 3634 w 245454"/>
                <a:gd name="connsiteY37" fmla="*/ 15198 h 179580"/>
                <a:gd name="connsiteX38" fmla="*/ 3034 w 245454"/>
                <a:gd name="connsiteY38" fmla="*/ 15693 h 179580"/>
                <a:gd name="connsiteX39" fmla="*/ 2320 w 245454"/>
                <a:gd name="connsiteY39" fmla="*/ 16436 h 179580"/>
                <a:gd name="connsiteX40" fmla="*/ 1824 w 245454"/>
                <a:gd name="connsiteY40" fmla="*/ 17036 h 179580"/>
                <a:gd name="connsiteX41" fmla="*/ 1300 w 245454"/>
                <a:gd name="connsiteY41" fmla="*/ 17856 h 179580"/>
                <a:gd name="connsiteX42" fmla="*/ 891 w 245454"/>
                <a:gd name="connsiteY42" fmla="*/ 18599 h 179580"/>
                <a:gd name="connsiteX43" fmla="*/ 557 w 245454"/>
                <a:gd name="connsiteY43" fmla="*/ 19437 h 179580"/>
                <a:gd name="connsiteX44" fmla="*/ 281 w 245454"/>
                <a:gd name="connsiteY44" fmla="*/ 20303 h 179580"/>
                <a:gd name="connsiteX45" fmla="*/ 119 w 245454"/>
                <a:gd name="connsiteY45" fmla="*/ 21170 h 179580"/>
                <a:gd name="connsiteX46" fmla="*/ 15 w 245454"/>
                <a:gd name="connsiteY46" fmla="*/ 22104 h 179580"/>
                <a:gd name="connsiteX47" fmla="*/ 24 w 245454"/>
                <a:gd name="connsiteY47" fmla="*/ 23018 h 179580"/>
                <a:gd name="connsiteX48" fmla="*/ 151729 w 245454"/>
                <a:gd name="connsiteY48" fmla="*/ 35143 h 179580"/>
                <a:gd name="connsiteX49" fmla="*/ 222204 w 245454"/>
                <a:gd name="connsiteY49" fmla="*/ 137690 h 179580"/>
                <a:gd name="connsiteX50" fmla="*/ 113200 w 245454"/>
                <a:gd name="connsiteY50" fmla="*/ 73148 h 179580"/>
                <a:gd name="connsiteX51" fmla="*/ 100361 w 245454"/>
                <a:gd name="connsiteY51" fmla="*/ 76444 h 179580"/>
                <a:gd name="connsiteX52" fmla="*/ 103656 w 245454"/>
                <a:gd name="connsiteY52" fmla="*/ 89283 h 179580"/>
                <a:gd name="connsiteX53" fmla="*/ 212670 w 245454"/>
                <a:gd name="connsiteY53" fmla="*/ 153825 h 179580"/>
                <a:gd name="connsiteX54" fmla="*/ 88854 w 245454"/>
                <a:gd name="connsiteY54" fmla="*/ 141347 h 179580"/>
                <a:gd name="connsiteX55" fmla="*/ 19922 w 245454"/>
                <a:gd name="connsiteY55" fmla="*/ 28819 h 179580"/>
                <a:gd name="connsiteX56" fmla="*/ 151729 w 245454"/>
                <a:gd name="connsiteY56" fmla="*/ 35143 h 17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45454" h="179580">
                  <a:moveTo>
                    <a:pt x="24" y="23018"/>
                  </a:moveTo>
                  <a:cubicBezTo>
                    <a:pt x="34" y="23237"/>
                    <a:pt x="15" y="23456"/>
                    <a:pt x="34" y="23685"/>
                  </a:cubicBezTo>
                  <a:cubicBezTo>
                    <a:pt x="481" y="27371"/>
                    <a:pt x="11730" y="114429"/>
                    <a:pt x="78663" y="157082"/>
                  </a:cubicBezTo>
                  <a:cubicBezTo>
                    <a:pt x="102199" y="172075"/>
                    <a:pt x="129469" y="179581"/>
                    <a:pt x="160235" y="179581"/>
                  </a:cubicBezTo>
                  <a:cubicBezTo>
                    <a:pt x="184381" y="179581"/>
                    <a:pt x="210679" y="174961"/>
                    <a:pt x="238997" y="165712"/>
                  </a:cubicBezTo>
                  <a:cubicBezTo>
                    <a:pt x="239073" y="165683"/>
                    <a:pt x="239121" y="165645"/>
                    <a:pt x="239187" y="165636"/>
                  </a:cubicBezTo>
                  <a:cubicBezTo>
                    <a:pt x="239330" y="165579"/>
                    <a:pt x="239473" y="165541"/>
                    <a:pt x="239616" y="165483"/>
                  </a:cubicBezTo>
                  <a:cubicBezTo>
                    <a:pt x="239673" y="165464"/>
                    <a:pt x="239721" y="165436"/>
                    <a:pt x="239778" y="165407"/>
                  </a:cubicBezTo>
                  <a:cubicBezTo>
                    <a:pt x="240092" y="165274"/>
                    <a:pt x="240407" y="165131"/>
                    <a:pt x="240711" y="164960"/>
                  </a:cubicBezTo>
                  <a:cubicBezTo>
                    <a:pt x="240769" y="164931"/>
                    <a:pt x="240816" y="164893"/>
                    <a:pt x="240873" y="164864"/>
                  </a:cubicBezTo>
                  <a:cubicBezTo>
                    <a:pt x="240949" y="164826"/>
                    <a:pt x="241016" y="164779"/>
                    <a:pt x="241073" y="164721"/>
                  </a:cubicBezTo>
                  <a:cubicBezTo>
                    <a:pt x="241197" y="164655"/>
                    <a:pt x="241312" y="164579"/>
                    <a:pt x="241426" y="164502"/>
                  </a:cubicBezTo>
                  <a:cubicBezTo>
                    <a:pt x="241635" y="164350"/>
                    <a:pt x="241854" y="164188"/>
                    <a:pt x="242055" y="164017"/>
                  </a:cubicBezTo>
                  <a:cubicBezTo>
                    <a:pt x="242159" y="163931"/>
                    <a:pt x="242264" y="163845"/>
                    <a:pt x="242378" y="163750"/>
                  </a:cubicBezTo>
                  <a:cubicBezTo>
                    <a:pt x="242464" y="163664"/>
                    <a:pt x="242569" y="163588"/>
                    <a:pt x="242654" y="163502"/>
                  </a:cubicBezTo>
                  <a:cubicBezTo>
                    <a:pt x="242702" y="163464"/>
                    <a:pt x="242740" y="163407"/>
                    <a:pt x="242788" y="163359"/>
                  </a:cubicBezTo>
                  <a:cubicBezTo>
                    <a:pt x="243016" y="163112"/>
                    <a:pt x="243264" y="162864"/>
                    <a:pt x="243464" y="162588"/>
                  </a:cubicBezTo>
                  <a:cubicBezTo>
                    <a:pt x="243512" y="162531"/>
                    <a:pt x="243531" y="162474"/>
                    <a:pt x="243588" y="162416"/>
                  </a:cubicBezTo>
                  <a:cubicBezTo>
                    <a:pt x="243617" y="162369"/>
                    <a:pt x="243645" y="162321"/>
                    <a:pt x="243683" y="162274"/>
                  </a:cubicBezTo>
                  <a:cubicBezTo>
                    <a:pt x="243779" y="162150"/>
                    <a:pt x="243864" y="162026"/>
                    <a:pt x="243950" y="161883"/>
                  </a:cubicBezTo>
                  <a:cubicBezTo>
                    <a:pt x="244017" y="161778"/>
                    <a:pt x="244093" y="161683"/>
                    <a:pt x="244159" y="161578"/>
                  </a:cubicBezTo>
                  <a:cubicBezTo>
                    <a:pt x="244207" y="161493"/>
                    <a:pt x="244235" y="161397"/>
                    <a:pt x="244283" y="161321"/>
                  </a:cubicBezTo>
                  <a:cubicBezTo>
                    <a:pt x="244378" y="161140"/>
                    <a:pt x="244464" y="160959"/>
                    <a:pt x="244560" y="160778"/>
                  </a:cubicBezTo>
                  <a:cubicBezTo>
                    <a:pt x="244655" y="160578"/>
                    <a:pt x="244740" y="160368"/>
                    <a:pt x="244807" y="160159"/>
                  </a:cubicBezTo>
                  <a:cubicBezTo>
                    <a:pt x="244883" y="159978"/>
                    <a:pt x="244960" y="159797"/>
                    <a:pt x="245007" y="159616"/>
                  </a:cubicBezTo>
                  <a:cubicBezTo>
                    <a:pt x="245064" y="159445"/>
                    <a:pt x="245121" y="159264"/>
                    <a:pt x="245169" y="159092"/>
                  </a:cubicBezTo>
                  <a:cubicBezTo>
                    <a:pt x="245217" y="158864"/>
                    <a:pt x="245264" y="158644"/>
                    <a:pt x="245302" y="158406"/>
                  </a:cubicBezTo>
                  <a:cubicBezTo>
                    <a:pt x="245341" y="158216"/>
                    <a:pt x="245379" y="158035"/>
                    <a:pt x="245407" y="157844"/>
                  </a:cubicBezTo>
                  <a:cubicBezTo>
                    <a:pt x="245417" y="157654"/>
                    <a:pt x="245426" y="157473"/>
                    <a:pt x="245436" y="157282"/>
                  </a:cubicBezTo>
                  <a:cubicBezTo>
                    <a:pt x="245455" y="157054"/>
                    <a:pt x="245455" y="156825"/>
                    <a:pt x="245455" y="156606"/>
                  </a:cubicBezTo>
                  <a:cubicBezTo>
                    <a:pt x="245436" y="156406"/>
                    <a:pt x="245436" y="156216"/>
                    <a:pt x="245426" y="156025"/>
                  </a:cubicBezTo>
                  <a:cubicBezTo>
                    <a:pt x="245407" y="155825"/>
                    <a:pt x="245379" y="155616"/>
                    <a:pt x="245341" y="155416"/>
                  </a:cubicBezTo>
                  <a:cubicBezTo>
                    <a:pt x="245331" y="155301"/>
                    <a:pt x="245331" y="155196"/>
                    <a:pt x="245312" y="155082"/>
                  </a:cubicBezTo>
                  <a:cubicBezTo>
                    <a:pt x="232786" y="88502"/>
                    <a:pt x="204297" y="42601"/>
                    <a:pt x="160644" y="18656"/>
                  </a:cubicBezTo>
                  <a:cubicBezTo>
                    <a:pt x="91055" y="-19521"/>
                    <a:pt x="9301" y="12493"/>
                    <a:pt x="5863" y="13874"/>
                  </a:cubicBezTo>
                  <a:cubicBezTo>
                    <a:pt x="5644" y="13969"/>
                    <a:pt x="5453" y="14093"/>
                    <a:pt x="5244" y="14198"/>
                  </a:cubicBezTo>
                  <a:cubicBezTo>
                    <a:pt x="4987" y="14331"/>
                    <a:pt x="4720" y="14446"/>
                    <a:pt x="4472" y="14598"/>
                  </a:cubicBezTo>
                  <a:cubicBezTo>
                    <a:pt x="4177" y="14779"/>
                    <a:pt x="3910" y="14979"/>
                    <a:pt x="3634" y="15198"/>
                  </a:cubicBezTo>
                  <a:cubicBezTo>
                    <a:pt x="3434" y="15360"/>
                    <a:pt x="3224" y="15512"/>
                    <a:pt x="3034" y="15693"/>
                  </a:cubicBezTo>
                  <a:cubicBezTo>
                    <a:pt x="2777" y="15932"/>
                    <a:pt x="2539" y="16179"/>
                    <a:pt x="2320" y="16436"/>
                  </a:cubicBezTo>
                  <a:cubicBezTo>
                    <a:pt x="2139" y="16636"/>
                    <a:pt x="1977" y="16827"/>
                    <a:pt x="1824" y="17036"/>
                  </a:cubicBezTo>
                  <a:cubicBezTo>
                    <a:pt x="1624" y="17294"/>
                    <a:pt x="1462" y="17570"/>
                    <a:pt x="1300" y="17856"/>
                  </a:cubicBezTo>
                  <a:cubicBezTo>
                    <a:pt x="1148" y="18094"/>
                    <a:pt x="1005" y="18341"/>
                    <a:pt x="891" y="18599"/>
                  </a:cubicBezTo>
                  <a:cubicBezTo>
                    <a:pt x="767" y="18875"/>
                    <a:pt x="662" y="19160"/>
                    <a:pt x="557" y="19437"/>
                  </a:cubicBezTo>
                  <a:cubicBezTo>
                    <a:pt x="453" y="19713"/>
                    <a:pt x="357" y="20008"/>
                    <a:pt x="281" y="20303"/>
                  </a:cubicBezTo>
                  <a:cubicBezTo>
                    <a:pt x="205" y="20589"/>
                    <a:pt x="167" y="20884"/>
                    <a:pt x="119" y="21170"/>
                  </a:cubicBezTo>
                  <a:cubicBezTo>
                    <a:pt x="72" y="21475"/>
                    <a:pt x="24" y="21789"/>
                    <a:pt x="15" y="22104"/>
                  </a:cubicBezTo>
                  <a:cubicBezTo>
                    <a:pt x="-14" y="22399"/>
                    <a:pt x="5" y="22694"/>
                    <a:pt x="24" y="23018"/>
                  </a:cubicBezTo>
                  <a:close/>
                  <a:moveTo>
                    <a:pt x="151729" y="35143"/>
                  </a:moveTo>
                  <a:cubicBezTo>
                    <a:pt x="185600" y="53765"/>
                    <a:pt x="209250" y="88217"/>
                    <a:pt x="222204" y="137690"/>
                  </a:cubicBezTo>
                  <a:lnTo>
                    <a:pt x="113200" y="73148"/>
                  </a:lnTo>
                  <a:cubicBezTo>
                    <a:pt x="108742" y="70519"/>
                    <a:pt x="102999" y="71986"/>
                    <a:pt x="100361" y="76444"/>
                  </a:cubicBezTo>
                  <a:cubicBezTo>
                    <a:pt x="97722" y="80902"/>
                    <a:pt x="99198" y="86645"/>
                    <a:pt x="103656" y="89283"/>
                  </a:cubicBezTo>
                  <a:lnTo>
                    <a:pt x="212670" y="153825"/>
                  </a:lnTo>
                  <a:cubicBezTo>
                    <a:pt x="163054" y="166255"/>
                    <a:pt x="121468" y="162093"/>
                    <a:pt x="88854" y="141347"/>
                  </a:cubicBezTo>
                  <a:cubicBezTo>
                    <a:pt x="39972" y="110277"/>
                    <a:pt x="24084" y="49812"/>
                    <a:pt x="19922" y="28819"/>
                  </a:cubicBezTo>
                  <a:cubicBezTo>
                    <a:pt x="40334" y="22370"/>
                    <a:pt x="100989" y="7226"/>
                    <a:pt x="151729" y="35143"/>
                  </a:cubicBezTo>
                  <a:close/>
                </a:path>
              </a:pathLst>
            </a:custGeom>
            <a:grpFill/>
            <a:ln w="6350" cap="flat">
              <a:solidFill>
                <a:schemeClr val="bg1"/>
              </a:solidFill>
              <a:prstDash val="solid"/>
              <a:miter/>
            </a:ln>
          </p:spPr>
          <p:txBody>
            <a:bodyPr rtlCol="0" anchor="ctr"/>
            <a:lstStyle/>
            <a:p>
              <a:pPr defTabSz="685783">
                <a:defRPr/>
              </a:pPr>
              <a:endParaRPr lang="fr-FR" sz="1350" kern="0">
                <a:solidFill>
                  <a:prstClr val="black"/>
                </a:solidFill>
                <a:latin typeface="Arial"/>
              </a:endParaRPr>
            </a:p>
          </p:txBody>
        </p:sp>
        <p:sp>
          <p:nvSpPr>
            <p:cNvPr id="95" name="Forme libre 94">
              <a:extLst>
                <a:ext uri="{FF2B5EF4-FFF2-40B4-BE49-F238E27FC236}">
                  <a16:creationId xmlns:a16="http://schemas.microsoft.com/office/drawing/2014/main" id="{E978C3A3-B2F4-4CC9-E2E1-1A4F3CD77A15}"/>
                </a:ext>
              </a:extLst>
            </p:cNvPr>
            <p:cNvSpPr/>
            <p:nvPr/>
          </p:nvSpPr>
          <p:spPr>
            <a:xfrm>
              <a:off x="9368883" y="522984"/>
              <a:ext cx="245453" cy="179595"/>
            </a:xfrm>
            <a:custGeom>
              <a:avLst/>
              <a:gdLst>
                <a:gd name="connsiteX0" fmla="*/ 112 w 245453"/>
                <a:gd name="connsiteY0" fmla="*/ 155450 h 179595"/>
                <a:gd name="connsiteX1" fmla="*/ 26 w 245453"/>
                <a:gd name="connsiteY1" fmla="*/ 156107 h 179595"/>
                <a:gd name="connsiteX2" fmla="*/ 7 w 245453"/>
                <a:gd name="connsiteY2" fmla="*/ 156573 h 179595"/>
                <a:gd name="connsiteX3" fmla="*/ 7 w 245453"/>
                <a:gd name="connsiteY3" fmla="*/ 157316 h 179595"/>
                <a:gd name="connsiteX4" fmla="*/ 64 w 245453"/>
                <a:gd name="connsiteY4" fmla="*/ 157926 h 179595"/>
                <a:gd name="connsiteX5" fmla="*/ 131 w 245453"/>
                <a:gd name="connsiteY5" fmla="*/ 158383 h 179595"/>
                <a:gd name="connsiteX6" fmla="*/ 283 w 245453"/>
                <a:gd name="connsiteY6" fmla="*/ 159117 h 179595"/>
                <a:gd name="connsiteX7" fmla="*/ 455 w 245453"/>
                <a:gd name="connsiteY7" fmla="*/ 159698 h 179595"/>
                <a:gd name="connsiteX8" fmla="*/ 617 w 245453"/>
                <a:gd name="connsiteY8" fmla="*/ 160136 h 179595"/>
                <a:gd name="connsiteX9" fmla="*/ 893 w 245453"/>
                <a:gd name="connsiteY9" fmla="*/ 160803 h 179595"/>
                <a:gd name="connsiteX10" fmla="*/ 1207 w 245453"/>
                <a:gd name="connsiteY10" fmla="*/ 161393 h 179595"/>
                <a:gd name="connsiteX11" fmla="*/ 1303 w 245453"/>
                <a:gd name="connsiteY11" fmla="*/ 161612 h 179595"/>
                <a:gd name="connsiteX12" fmla="*/ 1493 w 245453"/>
                <a:gd name="connsiteY12" fmla="*/ 161860 h 179595"/>
                <a:gd name="connsiteX13" fmla="*/ 1798 w 245453"/>
                <a:gd name="connsiteY13" fmla="*/ 162336 h 179595"/>
                <a:gd name="connsiteX14" fmla="*/ 2017 w 245453"/>
                <a:gd name="connsiteY14" fmla="*/ 162650 h 179595"/>
                <a:gd name="connsiteX15" fmla="*/ 2598 w 245453"/>
                <a:gd name="connsiteY15" fmla="*/ 163289 h 179595"/>
                <a:gd name="connsiteX16" fmla="*/ 2827 w 245453"/>
                <a:gd name="connsiteY16" fmla="*/ 163546 h 179595"/>
                <a:gd name="connsiteX17" fmla="*/ 3055 w 245453"/>
                <a:gd name="connsiteY17" fmla="*/ 163736 h 179595"/>
                <a:gd name="connsiteX18" fmla="*/ 3436 w 245453"/>
                <a:gd name="connsiteY18" fmla="*/ 164070 h 179595"/>
                <a:gd name="connsiteX19" fmla="*/ 4008 w 245453"/>
                <a:gd name="connsiteY19" fmla="*/ 164498 h 179595"/>
                <a:gd name="connsiteX20" fmla="*/ 4417 w 245453"/>
                <a:gd name="connsiteY20" fmla="*/ 164755 h 179595"/>
                <a:gd name="connsiteX21" fmla="*/ 4522 w 245453"/>
                <a:gd name="connsiteY21" fmla="*/ 164822 h 179595"/>
                <a:gd name="connsiteX22" fmla="*/ 4769 w 245453"/>
                <a:gd name="connsiteY22" fmla="*/ 164984 h 179595"/>
                <a:gd name="connsiteX23" fmla="*/ 5617 w 245453"/>
                <a:gd name="connsiteY23" fmla="*/ 165394 h 179595"/>
                <a:gd name="connsiteX24" fmla="*/ 5855 w 245453"/>
                <a:gd name="connsiteY24" fmla="*/ 165498 h 179595"/>
                <a:gd name="connsiteX25" fmla="*/ 6246 w 245453"/>
                <a:gd name="connsiteY25" fmla="*/ 165632 h 179595"/>
                <a:gd name="connsiteX26" fmla="*/ 6446 w 245453"/>
                <a:gd name="connsiteY26" fmla="*/ 165727 h 179595"/>
                <a:gd name="connsiteX27" fmla="*/ 85218 w 245453"/>
                <a:gd name="connsiteY27" fmla="*/ 179595 h 179595"/>
                <a:gd name="connsiteX28" fmla="*/ 166780 w 245453"/>
                <a:gd name="connsiteY28" fmla="*/ 157097 h 179595"/>
                <a:gd name="connsiteX29" fmla="*/ 245409 w 245453"/>
                <a:gd name="connsiteY29" fmla="*/ 23700 h 179595"/>
                <a:gd name="connsiteX30" fmla="*/ 245428 w 245453"/>
                <a:gd name="connsiteY30" fmla="*/ 23100 h 179595"/>
                <a:gd name="connsiteX31" fmla="*/ 245447 w 245453"/>
                <a:gd name="connsiteY31" fmla="*/ 22090 h 179595"/>
                <a:gd name="connsiteX32" fmla="*/ 245343 w 245453"/>
                <a:gd name="connsiteY32" fmla="*/ 21233 h 179595"/>
                <a:gd name="connsiteX33" fmla="*/ 245161 w 245453"/>
                <a:gd name="connsiteY33" fmla="*/ 20299 h 179595"/>
                <a:gd name="connsiteX34" fmla="*/ 244905 w 245453"/>
                <a:gd name="connsiteY34" fmla="*/ 19471 h 179595"/>
                <a:gd name="connsiteX35" fmla="*/ 244562 w 245453"/>
                <a:gd name="connsiteY35" fmla="*/ 18604 h 179595"/>
                <a:gd name="connsiteX36" fmla="*/ 244171 w 245453"/>
                <a:gd name="connsiteY36" fmla="*/ 17870 h 179595"/>
                <a:gd name="connsiteX37" fmla="*/ 243628 w 245453"/>
                <a:gd name="connsiteY37" fmla="*/ 17042 h 179595"/>
                <a:gd name="connsiteX38" fmla="*/ 243133 w 245453"/>
                <a:gd name="connsiteY38" fmla="*/ 16442 h 179595"/>
                <a:gd name="connsiteX39" fmla="*/ 242418 w 245453"/>
                <a:gd name="connsiteY39" fmla="*/ 15689 h 179595"/>
                <a:gd name="connsiteX40" fmla="*/ 241809 w 245453"/>
                <a:gd name="connsiteY40" fmla="*/ 15184 h 179595"/>
                <a:gd name="connsiteX41" fmla="*/ 240990 w 245453"/>
                <a:gd name="connsiteY41" fmla="*/ 14594 h 179595"/>
                <a:gd name="connsiteX42" fmla="*/ 240218 w 245453"/>
                <a:gd name="connsiteY42" fmla="*/ 14194 h 179595"/>
                <a:gd name="connsiteX43" fmla="*/ 239589 w 245453"/>
                <a:gd name="connsiteY43" fmla="*/ 13870 h 179595"/>
                <a:gd name="connsiteX44" fmla="*/ 84827 w 245453"/>
                <a:gd name="connsiteY44" fmla="*/ 18651 h 179595"/>
                <a:gd name="connsiteX45" fmla="*/ 131 w 245453"/>
                <a:gd name="connsiteY45" fmla="*/ 155078 h 179595"/>
                <a:gd name="connsiteX46" fmla="*/ 112 w 245453"/>
                <a:gd name="connsiteY46" fmla="*/ 155450 h 179595"/>
                <a:gd name="connsiteX47" fmla="*/ 93714 w 245453"/>
                <a:gd name="connsiteY47" fmla="*/ 35177 h 179595"/>
                <a:gd name="connsiteX48" fmla="*/ 225540 w 245453"/>
                <a:gd name="connsiteY48" fmla="*/ 28872 h 179595"/>
                <a:gd name="connsiteX49" fmla="*/ 156703 w 245453"/>
                <a:gd name="connsiteY49" fmla="*/ 141324 h 179595"/>
                <a:gd name="connsiteX50" fmla="*/ 32783 w 245453"/>
                <a:gd name="connsiteY50" fmla="*/ 153859 h 179595"/>
                <a:gd name="connsiteX51" fmla="*/ 141787 w 245453"/>
                <a:gd name="connsiteY51" fmla="*/ 89318 h 179595"/>
                <a:gd name="connsiteX52" fmla="*/ 145082 w 245453"/>
                <a:gd name="connsiteY52" fmla="*/ 76478 h 179595"/>
                <a:gd name="connsiteX53" fmla="*/ 132243 w 245453"/>
                <a:gd name="connsiteY53" fmla="*/ 73182 h 179595"/>
                <a:gd name="connsiteX54" fmla="*/ 23229 w 245453"/>
                <a:gd name="connsiteY54" fmla="*/ 137733 h 179595"/>
                <a:gd name="connsiteX55" fmla="*/ 93714 w 245453"/>
                <a:gd name="connsiteY55" fmla="*/ 35177 h 17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5453" h="179595">
                  <a:moveTo>
                    <a:pt x="112" y="155450"/>
                  </a:moveTo>
                  <a:cubicBezTo>
                    <a:pt x="74" y="155669"/>
                    <a:pt x="45" y="155888"/>
                    <a:pt x="26" y="156107"/>
                  </a:cubicBezTo>
                  <a:cubicBezTo>
                    <a:pt x="7" y="156269"/>
                    <a:pt x="7" y="156421"/>
                    <a:pt x="7" y="156573"/>
                  </a:cubicBezTo>
                  <a:cubicBezTo>
                    <a:pt x="-2" y="156821"/>
                    <a:pt x="-2" y="157059"/>
                    <a:pt x="7" y="157316"/>
                  </a:cubicBezTo>
                  <a:cubicBezTo>
                    <a:pt x="26" y="157516"/>
                    <a:pt x="36" y="157717"/>
                    <a:pt x="64" y="157926"/>
                  </a:cubicBezTo>
                  <a:cubicBezTo>
                    <a:pt x="83" y="158088"/>
                    <a:pt x="112" y="158231"/>
                    <a:pt x="131" y="158383"/>
                  </a:cubicBezTo>
                  <a:cubicBezTo>
                    <a:pt x="188" y="158631"/>
                    <a:pt x="226" y="158879"/>
                    <a:pt x="283" y="159117"/>
                  </a:cubicBezTo>
                  <a:cubicBezTo>
                    <a:pt x="331" y="159317"/>
                    <a:pt x="398" y="159507"/>
                    <a:pt x="455" y="159698"/>
                  </a:cubicBezTo>
                  <a:cubicBezTo>
                    <a:pt x="502" y="159841"/>
                    <a:pt x="569" y="159983"/>
                    <a:pt x="617" y="160136"/>
                  </a:cubicBezTo>
                  <a:cubicBezTo>
                    <a:pt x="721" y="160355"/>
                    <a:pt x="807" y="160584"/>
                    <a:pt x="893" y="160803"/>
                  </a:cubicBezTo>
                  <a:cubicBezTo>
                    <a:pt x="988" y="161003"/>
                    <a:pt x="1093" y="161193"/>
                    <a:pt x="1207" y="161393"/>
                  </a:cubicBezTo>
                  <a:cubicBezTo>
                    <a:pt x="1245" y="161469"/>
                    <a:pt x="1264" y="161536"/>
                    <a:pt x="1303" y="161612"/>
                  </a:cubicBezTo>
                  <a:cubicBezTo>
                    <a:pt x="1350" y="161698"/>
                    <a:pt x="1426" y="161784"/>
                    <a:pt x="1493" y="161860"/>
                  </a:cubicBezTo>
                  <a:cubicBezTo>
                    <a:pt x="1588" y="162022"/>
                    <a:pt x="1693" y="162184"/>
                    <a:pt x="1798" y="162336"/>
                  </a:cubicBezTo>
                  <a:cubicBezTo>
                    <a:pt x="1893" y="162441"/>
                    <a:pt x="1950" y="162546"/>
                    <a:pt x="2017" y="162650"/>
                  </a:cubicBezTo>
                  <a:cubicBezTo>
                    <a:pt x="2198" y="162879"/>
                    <a:pt x="2388" y="163089"/>
                    <a:pt x="2598" y="163289"/>
                  </a:cubicBezTo>
                  <a:cubicBezTo>
                    <a:pt x="2684" y="163374"/>
                    <a:pt x="2750" y="163470"/>
                    <a:pt x="2827" y="163546"/>
                  </a:cubicBezTo>
                  <a:cubicBezTo>
                    <a:pt x="2903" y="163613"/>
                    <a:pt x="2988" y="163670"/>
                    <a:pt x="3055" y="163736"/>
                  </a:cubicBezTo>
                  <a:cubicBezTo>
                    <a:pt x="3179" y="163851"/>
                    <a:pt x="3303" y="163965"/>
                    <a:pt x="3436" y="164070"/>
                  </a:cubicBezTo>
                  <a:cubicBezTo>
                    <a:pt x="3627" y="164222"/>
                    <a:pt x="3808" y="164374"/>
                    <a:pt x="4008" y="164498"/>
                  </a:cubicBezTo>
                  <a:cubicBezTo>
                    <a:pt x="4151" y="164594"/>
                    <a:pt x="4274" y="164679"/>
                    <a:pt x="4417" y="164755"/>
                  </a:cubicBezTo>
                  <a:cubicBezTo>
                    <a:pt x="4446" y="164784"/>
                    <a:pt x="4484" y="164803"/>
                    <a:pt x="4522" y="164822"/>
                  </a:cubicBezTo>
                  <a:cubicBezTo>
                    <a:pt x="4608" y="164870"/>
                    <a:pt x="4693" y="164936"/>
                    <a:pt x="4769" y="164984"/>
                  </a:cubicBezTo>
                  <a:cubicBezTo>
                    <a:pt x="5046" y="165136"/>
                    <a:pt x="5332" y="165270"/>
                    <a:pt x="5617" y="165394"/>
                  </a:cubicBezTo>
                  <a:cubicBezTo>
                    <a:pt x="5703" y="165432"/>
                    <a:pt x="5779" y="165470"/>
                    <a:pt x="5855" y="165498"/>
                  </a:cubicBezTo>
                  <a:cubicBezTo>
                    <a:pt x="5979" y="165556"/>
                    <a:pt x="6103" y="165594"/>
                    <a:pt x="6246" y="165632"/>
                  </a:cubicBezTo>
                  <a:cubicBezTo>
                    <a:pt x="6313" y="165651"/>
                    <a:pt x="6379" y="165698"/>
                    <a:pt x="6446" y="165727"/>
                  </a:cubicBezTo>
                  <a:cubicBezTo>
                    <a:pt x="34764" y="174976"/>
                    <a:pt x="61053" y="179595"/>
                    <a:pt x="85218" y="179595"/>
                  </a:cubicBezTo>
                  <a:cubicBezTo>
                    <a:pt x="115974" y="179595"/>
                    <a:pt x="143263" y="172090"/>
                    <a:pt x="166780" y="157097"/>
                  </a:cubicBezTo>
                  <a:cubicBezTo>
                    <a:pt x="233722" y="114435"/>
                    <a:pt x="244962" y="27386"/>
                    <a:pt x="245409" y="23700"/>
                  </a:cubicBezTo>
                  <a:cubicBezTo>
                    <a:pt x="245438" y="23500"/>
                    <a:pt x="245409" y="23300"/>
                    <a:pt x="245428" y="23100"/>
                  </a:cubicBezTo>
                  <a:cubicBezTo>
                    <a:pt x="245438" y="22766"/>
                    <a:pt x="245466" y="22423"/>
                    <a:pt x="245447" y="22090"/>
                  </a:cubicBezTo>
                  <a:cubicBezTo>
                    <a:pt x="245428" y="21804"/>
                    <a:pt x="245390" y="21518"/>
                    <a:pt x="245343" y="21233"/>
                  </a:cubicBezTo>
                  <a:cubicBezTo>
                    <a:pt x="245285" y="20918"/>
                    <a:pt x="245238" y="20614"/>
                    <a:pt x="245161" y="20299"/>
                  </a:cubicBezTo>
                  <a:cubicBezTo>
                    <a:pt x="245095" y="20014"/>
                    <a:pt x="244990" y="19747"/>
                    <a:pt x="244905" y="19471"/>
                  </a:cubicBezTo>
                  <a:cubicBezTo>
                    <a:pt x="244800" y="19175"/>
                    <a:pt x="244704" y="18880"/>
                    <a:pt x="244562" y="18604"/>
                  </a:cubicBezTo>
                  <a:cubicBezTo>
                    <a:pt x="244438" y="18347"/>
                    <a:pt x="244304" y="18118"/>
                    <a:pt x="244171" y="17870"/>
                  </a:cubicBezTo>
                  <a:cubicBezTo>
                    <a:pt x="243990" y="17585"/>
                    <a:pt x="243828" y="17309"/>
                    <a:pt x="243628" y="17042"/>
                  </a:cubicBezTo>
                  <a:cubicBezTo>
                    <a:pt x="243466" y="16832"/>
                    <a:pt x="243304" y="16642"/>
                    <a:pt x="243133" y="16442"/>
                  </a:cubicBezTo>
                  <a:cubicBezTo>
                    <a:pt x="242904" y="16184"/>
                    <a:pt x="242676" y="15927"/>
                    <a:pt x="242418" y="15689"/>
                  </a:cubicBezTo>
                  <a:cubicBezTo>
                    <a:pt x="242228" y="15508"/>
                    <a:pt x="242028" y="15346"/>
                    <a:pt x="241809" y="15184"/>
                  </a:cubicBezTo>
                  <a:cubicBezTo>
                    <a:pt x="241552" y="14984"/>
                    <a:pt x="241275" y="14784"/>
                    <a:pt x="240990" y="14594"/>
                  </a:cubicBezTo>
                  <a:cubicBezTo>
                    <a:pt x="240732" y="14441"/>
                    <a:pt x="240475" y="14327"/>
                    <a:pt x="240218" y="14194"/>
                  </a:cubicBezTo>
                  <a:cubicBezTo>
                    <a:pt x="239999" y="14089"/>
                    <a:pt x="239818" y="13965"/>
                    <a:pt x="239589" y="13870"/>
                  </a:cubicBezTo>
                  <a:cubicBezTo>
                    <a:pt x="236151" y="12489"/>
                    <a:pt x="154407" y="-19515"/>
                    <a:pt x="84827" y="18651"/>
                  </a:cubicBezTo>
                  <a:cubicBezTo>
                    <a:pt x="41174" y="42597"/>
                    <a:pt x="12675" y="88498"/>
                    <a:pt x="131" y="155078"/>
                  </a:cubicBezTo>
                  <a:cubicBezTo>
                    <a:pt x="122" y="155221"/>
                    <a:pt x="122" y="155335"/>
                    <a:pt x="112" y="155450"/>
                  </a:cubicBezTo>
                  <a:close/>
                  <a:moveTo>
                    <a:pt x="93714" y="35177"/>
                  </a:moveTo>
                  <a:cubicBezTo>
                    <a:pt x="144482" y="7269"/>
                    <a:pt x="205137" y="22423"/>
                    <a:pt x="225540" y="28872"/>
                  </a:cubicBezTo>
                  <a:cubicBezTo>
                    <a:pt x="221416" y="49817"/>
                    <a:pt x="205642" y="110139"/>
                    <a:pt x="156703" y="141324"/>
                  </a:cubicBezTo>
                  <a:cubicBezTo>
                    <a:pt x="124070" y="162117"/>
                    <a:pt x="82446" y="166308"/>
                    <a:pt x="32783" y="153859"/>
                  </a:cubicBezTo>
                  <a:lnTo>
                    <a:pt x="141787" y="89318"/>
                  </a:lnTo>
                  <a:cubicBezTo>
                    <a:pt x="146235" y="86679"/>
                    <a:pt x="147711" y="80935"/>
                    <a:pt x="145082" y="76478"/>
                  </a:cubicBezTo>
                  <a:cubicBezTo>
                    <a:pt x="142444" y="72030"/>
                    <a:pt x="136691" y="70553"/>
                    <a:pt x="132243" y="73182"/>
                  </a:cubicBezTo>
                  <a:lnTo>
                    <a:pt x="23229" y="137733"/>
                  </a:lnTo>
                  <a:cubicBezTo>
                    <a:pt x="36202" y="88260"/>
                    <a:pt x="59853" y="53799"/>
                    <a:pt x="93714" y="35177"/>
                  </a:cubicBezTo>
                  <a:close/>
                </a:path>
              </a:pathLst>
            </a:custGeom>
            <a:grpFill/>
            <a:ln w="6350" cap="flat">
              <a:solidFill>
                <a:schemeClr val="bg1"/>
              </a:solidFill>
              <a:prstDash val="solid"/>
              <a:miter/>
            </a:ln>
          </p:spPr>
          <p:txBody>
            <a:bodyPr rtlCol="0" anchor="ctr"/>
            <a:lstStyle/>
            <a:p>
              <a:pPr defTabSz="685783">
                <a:defRPr/>
              </a:pPr>
              <a:endParaRPr lang="fr-FR" sz="1350" kern="0">
                <a:solidFill>
                  <a:prstClr val="black"/>
                </a:solidFill>
                <a:latin typeface="Arial"/>
              </a:endParaRPr>
            </a:p>
          </p:txBody>
        </p:sp>
        <p:sp>
          <p:nvSpPr>
            <p:cNvPr id="96" name="Forme libre 95">
              <a:extLst>
                <a:ext uri="{FF2B5EF4-FFF2-40B4-BE49-F238E27FC236}">
                  <a16:creationId xmlns:a16="http://schemas.microsoft.com/office/drawing/2014/main" id="{3902493D-4FB7-FD9E-1375-E0194B5A1972}"/>
                </a:ext>
              </a:extLst>
            </p:cNvPr>
            <p:cNvSpPr/>
            <p:nvPr/>
          </p:nvSpPr>
          <p:spPr>
            <a:xfrm>
              <a:off x="9255594" y="299995"/>
              <a:ext cx="161035" cy="282178"/>
            </a:xfrm>
            <a:custGeom>
              <a:avLst/>
              <a:gdLst>
                <a:gd name="connsiteX0" fmla="*/ 75843 w 161035"/>
                <a:gd name="connsiteY0" fmla="*/ 279921 h 282178"/>
                <a:gd name="connsiteX1" fmla="*/ 76224 w 161035"/>
                <a:gd name="connsiteY1" fmla="*/ 280197 h 282178"/>
                <a:gd name="connsiteX2" fmla="*/ 76625 w 161035"/>
                <a:gd name="connsiteY2" fmla="*/ 280511 h 282178"/>
                <a:gd name="connsiteX3" fmla="*/ 76948 w 161035"/>
                <a:gd name="connsiteY3" fmla="*/ 280711 h 282178"/>
                <a:gd name="connsiteX4" fmla="*/ 77834 w 161035"/>
                <a:gd name="connsiteY4" fmla="*/ 281197 h 282178"/>
                <a:gd name="connsiteX5" fmla="*/ 78272 w 161035"/>
                <a:gd name="connsiteY5" fmla="*/ 281426 h 282178"/>
                <a:gd name="connsiteX6" fmla="*/ 78482 w 161035"/>
                <a:gd name="connsiteY6" fmla="*/ 281492 h 282178"/>
                <a:gd name="connsiteX7" fmla="*/ 79653 w 161035"/>
                <a:gd name="connsiteY7" fmla="*/ 281854 h 282178"/>
                <a:gd name="connsiteX8" fmla="*/ 80053 w 161035"/>
                <a:gd name="connsiteY8" fmla="*/ 281988 h 282178"/>
                <a:gd name="connsiteX9" fmla="*/ 80149 w 161035"/>
                <a:gd name="connsiteY9" fmla="*/ 281988 h 282178"/>
                <a:gd name="connsiteX10" fmla="*/ 81939 w 161035"/>
                <a:gd name="connsiteY10" fmla="*/ 282178 h 282178"/>
                <a:gd name="connsiteX11" fmla="*/ 81997 w 161035"/>
                <a:gd name="connsiteY11" fmla="*/ 282178 h 282178"/>
                <a:gd name="connsiteX12" fmla="*/ 82044 w 161035"/>
                <a:gd name="connsiteY12" fmla="*/ 282178 h 282178"/>
                <a:gd name="connsiteX13" fmla="*/ 82235 w 161035"/>
                <a:gd name="connsiteY13" fmla="*/ 282159 h 282178"/>
                <a:gd name="connsiteX14" fmla="*/ 83768 w 161035"/>
                <a:gd name="connsiteY14" fmla="*/ 281997 h 282178"/>
                <a:gd name="connsiteX15" fmla="*/ 84178 w 161035"/>
                <a:gd name="connsiteY15" fmla="*/ 281892 h 282178"/>
                <a:gd name="connsiteX16" fmla="*/ 84378 w 161035"/>
                <a:gd name="connsiteY16" fmla="*/ 281826 h 282178"/>
                <a:gd name="connsiteX17" fmla="*/ 85502 w 161035"/>
                <a:gd name="connsiteY17" fmla="*/ 281473 h 282178"/>
                <a:gd name="connsiteX18" fmla="*/ 85711 w 161035"/>
                <a:gd name="connsiteY18" fmla="*/ 281397 h 282178"/>
                <a:gd name="connsiteX19" fmla="*/ 86197 w 161035"/>
                <a:gd name="connsiteY19" fmla="*/ 281130 h 282178"/>
                <a:gd name="connsiteX20" fmla="*/ 87045 w 161035"/>
                <a:gd name="connsiteY20" fmla="*/ 280664 h 282178"/>
                <a:gd name="connsiteX21" fmla="*/ 87378 w 161035"/>
                <a:gd name="connsiteY21" fmla="*/ 280445 h 282178"/>
                <a:gd name="connsiteX22" fmla="*/ 87816 w 161035"/>
                <a:gd name="connsiteY22" fmla="*/ 280083 h 282178"/>
                <a:gd name="connsiteX23" fmla="*/ 88207 w 161035"/>
                <a:gd name="connsiteY23" fmla="*/ 279797 h 282178"/>
                <a:gd name="connsiteX24" fmla="*/ 160902 w 161035"/>
                <a:gd name="connsiteY24" fmla="*/ 136627 h 282178"/>
                <a:gd name="connsiteX25" fmla="*/ 84692 w 161035"/>
                <a:gd name="connsiteY25" fmla="*/ 1838 h 282178"/>
                <a:gd name="connsiteX26" fmla="*/ 84187 w 161035"/>
                <a:gd name="connsiteY26" fmla="*/ 1534 h 282178"/>
                <a:gd name="connsiteX27" fmla="*/ 83292 w 161035"/>
                <a:gd name="connsiteY27" fmla="*/ 1000 h 282178"/>
                <a:gd name="connsiteX28" fmla="*/ 82530 w 161035"/>
                <a:gd name="connsiteY28" fmla="*/ 667 h 282178"/>
                <a:gd name="connsiteX29" fmla="*/ 81615 w 161035"/>
                <a:gd name="connsiteY29" fmla="*/ 343 h 282178"/>
                <a:gd name="connsiteX30" fmla="*/ 80777 w 161035"/>
                <a:gd name="connsiteY30" fmla="*/ 162 h 282178"/>
                <a:gd name="connsiteX31" fmla="*/ 79834 w 161035"/>
                <a:gd name="connsiteY31" fmla="*/ 19 h 282178"/>
                <a:gd name="connsiteX32" fmla="*/ 79015 w 161035"/>
                <a:gd name="connsiteY32" fmla="*/ 0 h 282178"/>
                <a:gd name="connsiteX33" fmla="*/ 78006 w 161035"/>
                <a:gd name="connsiteY33" fmla="*/ 48 h 282178"/>
                <a:gd name="connsiteX34" fmla="*/ 77272 w 161035"/>
                <a:gd name="connsiteY34" fmla="*/ 181 h 282178"/>
                <a:gd name="connsiteX35" fmla="*/ 76253 w 161035"/>
                <a:gd name="connsiteY35" fmla="*/ 429 h 282178"/>
                <a:gd name="connsiteX36" fmla="*/ 75548 w 161035"/>
                <a:gd name="connsiteY36" fmla="*/ 695 h 282178"/>
                <a:gd name="connsiteX37" fmla="*/ 74577 w 161035"/>
                <a:gd name="connsiteY37" fmla="*/ 1134 h 282178"/>
                <a:gd name="connsiteX38" fmla="*/ 73891 w 161035"/>
                <a:gd name="connsiteY38" fmla="*/ 1572 h 282178"/>
                <a:gd name="connsiteX39" fmla="*/ 73281 w 161035"/>
                <a:gd name="connsiteY39" fmla="*/ 1962 h 282178"/>
                <a:gd name="connsiteX40" fmla="*/ 34 w 161035"/>
                <a:gd name="connsiteY40" fmla="*/ 138389 h 282178"/>
                <a:gd name="connsiteX41" fmla="*/ 75843 w 161035"/>
                <a:gd name="connsiteY41" fmla="*/ 279921 h 282178"/>
                <a:gd name="connsiteX42" fmla="*/ 18760 w 161035"/>
                <a:gd name="connsiteY42" fmla="*/ 138913 h 282178"/>
                <a:gd name="connsiteX43" fmla="*/ 79206 w 161035"/>
                <a:gd name="connsiteY43" fmla="*/ 21612 h 282178"/>
                <a:gd name="connsiteX44" fmla="*/ 142185 w 161035"/>
                <a:gd name="connsiteY44" fmla="*/ 137570 h 282178"/>
                <a:gd name="connsiteX45" fmla="*/ 91084 w 161035"/>
                <a:gd name="connsiteY45" fmla="*/ 251041 h 282178"/>
                <a:gd name="connsiteX46" fmla="*/ 89693 w 161035"/>
                <a:gd name="connsiteY46" fmla="*/ 124358 h 282178"/>
                <a:gd name="connsiteX47" fmla="*/ 80215 w 161035"/>
                <a:gd name="connsiteY47" fmla="*/ 115081 h 282178"/>
                <a:gd name="connsiteX48" fmla="*/ 70938 w 161035"/>
                <a:gd name="connsiteY48" fmla="*/ 124559 h 282178"/>
                <a:gd name="connsiteX49" fmla="*/ 72329 w 161035"/>
                <a:gd name="connsiteY49" fmla="*/ 251241 h 282178"/>
                <a:gd name="connsiteX50" fmla="*/ 18760 w 161035"/>
                <a:gd name="connsiteY50" fmla="*/ 138913 h 28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61035" h="282178">
                  <a:moveTo>
                    <a:pt x="75843" y="279921"/>
                  </a:moveTo>
                  <a:cubicBezTo>
                    <a:pt x="75958" y="280026"/>
                    <a:pt x="76091" y="280102"/>
                    <a:pt x="76224" y="280197"/>
                  </a:cubicBezTo>
                  <a:cubicBezTo>
                    <a:pt x="76358" y="280302"/>
                    <a:pt x="76491" y="280407"/>
                    <a:pt x="76625" y="280511"/>
                  </a:cubicBezTo>
                  <a:cubicBezTo>
                    <a:pt x="76739" y="280588"/>
                    <a:pt x="76834" y="280654"/>
                    <a:pt x="76948" y="280711"/>
                  </a:cubicBezTo>
                  <a:cubicBezTo>
                    <a:pt x="77234" y="280892"/>
                    <a:pt x="77529" y="281045"/>
                    <a:pt x="77834" y="281197"/>
                  </a:cubicBezTo>
                  <a:cubicBezTo>
                    <a:pt x="77977" y="281273"/>
                    <a:pt x="78120" y="281359"/>
                    <a:pt x="78272" y="281426"/>
                  </a:cubicBezTo>
                  <a:cubicBezTo>
                    <a:pt x="78339" y="281445"/>
                    <a:pt x="78415" y="281473"/>
                    <a:pt x="78482" y="281492"/>
                  </a:cubicBezTo>
                  <a:cubicBezTo>
                    <a:pt x="78872" y="281654"/>
                    <a:pt x="79263" y="281759"/>
                    <a:pt x="79653" y="281854"/>
                  </a:cubicBezTo>
                  <a:cubicBezTo>
                    <a:pt x="79806" y="281892"/>
                    <a:pt x="79920" y="281950"/>
                    <a:pt x="80053" y="281988"/>
                  </a:cubicBezTo>
                  <a:cubicBezTo>
                    <a:pt x="80091" y="281988"/>
                    <a:pt x="80130" y="281988"/>
                    <a:pt x="80149" y="281988"/>
                  </a:cubicBezTo>
                  <a:cubicBezTo>
                    <a:pt x="80749" y="282102"/>
                    <a:pt x="81349" y="282178"/>
                    <a:pt x="81939" y="282178"/>
                  </a:cubicBezTo>
                  <a:cubicBezTo>
                    <a:pt x="81949" y="282178"/>
                    <a:pt x="81977" y="282178"/>
                    <a:pt x="81997" y="282178"/>
                  </a:cubicBezTo>
                  <a:cubicBezTo>
                    <a:pt x="82006" y="282178"/>
                    <a:pt x="82025" y="282178"/>
                    <a:pt x="82044" y="282178"/>
                  </a:cubicBezTo>
                  <a:cubicBezTo>
                    <a:pt x="82111" y="282178"/>
                    <a:pt x="82168" y="282159"/>
                    <a:pt x="82235" y="282159"/>
                  </a:cubicBezTo>
                  <a:cubicBezTo>
                    <a:pt x="82758" y="282150"/>
                    <a:pt x="83254" y="282102"/>
                    <a:pt x="83768" y="281997"/>
                  </a:cubicBezTo>
                  <a:cubicBezTo>
                    <a:pt x="83911" y="281969"/>
                    <a:pt x="84044" y="281921"/>
                    <a:pt x="84178" y="281892"/>
                  </a:cubicBezTo>
                  <a:cubicBezTo>
                    <a:pt x="84254" y="281883"/>
                    <a:pt x="84311" y="281845"/>
                    <a:pt x="84378" y="281826"/>
                  </a:cubicBezTo>
                  <a:cubicBezTo>
                    <a:pt x="84759" y="281730"/>
                    <a:pt x="85140" y="281626"/>
                    <a:pt x="85502" y="281473"/>
                  </a:cubicBezTo>
                  <a:cubicBezTo>
                    <a:pt x="85568" y="281445"/>
                    <a:pt x="85645" y="281426"/>
                    <a:pt x="85711" y="281397"/>
                  </a:cubicBezTo>
                  <a:cubicBezTo>
                    <a:pt x="85883" y="281321"/>
                    <a:pt x="86035" y="281216"/>
                    <a:pt x="86197" y="281130"/>
                  </a:cubicBezTo>
                  <a:cubicBezTo>
                    <a:pt x="86483" y="280988"/>
                    <a:pt x="86769" y="280835"/>
                    <a:pt x="87045" y="280664"/>
                  </a:cubicBezTo>
                  <a:cubicBezTo>
                    <a:pt x="87159" y="280588"/>
                    <a:pt x="87273" y="280521"/>
                    <a:pt x="87378" y="280445"/>
                  </a:cubicBezTo>
                  <a:cubicBezTo>
                    <a:pt x="87531" y="280330"/>
                    <a:pt x="87674" y="280206"/>
                    <a:pt x="87816" y="280083"/>
                  </a:cubicBezTo>
                  <a:cubicBezTo>
                    <a:pt x="87950" y="279978"/>
                    <a:pt x="88083" y="279911"/>
                    <a:pt x="88207" y="279797"/>
                  </a:cubicBezTo>
                  <a:cubicBezTo>
                    <a:pt x="138632" y="234544"/>
                    <a:pt x="163083" y="186366"/>
                    <a:pt x="160902" y="136627"/>
                  </a:cubicBezTo>
                  <a:cubicBezTo>
                    <a:pt x="157434" y="57331"/>
                    <a:pt x="87664" y="4067"/>
                    <a:pt x="84692" y="1838"/>
                  </a:cubicBezTo>
                  <a:cubicBezTo>
                    <a:pt x="84530" y="1715"/>
                    <a:pt x="84368" y="1648"/>
                    <a:pt x="84187" y="1534"/>
                  </a:cubicBezTo>
                  <a:cubicBezTo>
                    <a:pt x="83901" y="1343"/>
                    <a:pt x="83606" y="1153"/>
                    <a:pt x="83292" y="1000"/>
                  </a:cubicBezTo>
                  <a:cubicBezTo>
                    <a:pt x="83044" y="867"/>
                    <a:pt x="82787" y="772"/>
                    <a:pt x="82530" y="667"/>
                  </a:cubicBezTo>
                  <a:cubicBezTo>
                    <a:pt x="82235" y="543"/>
                    <a:pt x="81930" y="429"/>
                    <a:pt x="81615" y="343"/>
                  </a:cubicBezTo>
                  <a:cubicBezTo>
                    <a:pt x="81339" y="267"/>
                    <a:pt x="81054" y="210"/>
                    <a:pt x="80777" y="162"/>
                  </a:cubicBezTo>
                  <a:cubicBezTo>
                    <a:pt x="80463" y="105"/>
                    <a:pt x="80149" y="48"/>
                    <a:pt x="79834" y="19"/>
                  </a:cubicBezTo>
                  <a:cubicBezTo>
                    <a:pt x="79558" y="0"/>
                    <a:pt x="79282" y="0"/>
                    <a:pt x="79015" y="0"/>
                  </a:cubicBezTo>
                  <a:cubicBezTo>
                    <a:pt x="78682" y="0"/>
                    <a:pt x="78349" y="10"/>
                    <a:pt x="78006" y="48"/>
                  </a:cubicBezTo>
                  <a:cubicBezTo>
                    <a:pt x="77767" y="76"/>
                    <a:pt x="77520" y="124"/>
                    <a:pt x="77272" y="181"/>
                  </a:cubicBezTo>
                  <a:cubicBezTo>
                    <a:pt x="76920" y="248"/>
                    <a:pt x="76586" y="324"/>
                    <a:pt x="76253" y="429"/>
                  </a:cubicBezTo>
                  <a:cubicBezTo>
                    <a:pt x="76015" y="505"/>
                    <a:pt x="75777" y="610"/>
                    <a:pt x="75548" y="695"/>
                  </a:cubicBezTo>
                  <a:cubicBezTo>
                    <a:pt x="75224" y="829"/>
                    <a:pt x="74900" y="972"/>
                    <a:pt x="74577" y="1134"/>
                  </a:cubicBezTo>
                  <a:cubicBezTo>
                    <a:pt x="74357" y="1257"/>
                    <a:pt x="74119" y="1419"/>
                    <a:pt x="73891" y="1572"/>
                  </a:cubicBezTo>
                  <a:cubicBezTo>
                    <a:pt x="73691" y="1705"/>
                    <a:pt x="73471" y="1810"/>
                    <a:pt x="73281" y="1962"/>
                  </a:cubicBezTo>
                  <a:cubicBezTo>
                    <a:pt x="70357" y="4258"/>
                    <a:pt x="1767" y="59046"/>
                    <a:pt x="34" y="138389"/>
                  </a:cubicBezTo>
                  <a:cubicBezTo>
                    <a:pt x="-1061" y="188147"/>
                    <a:pt x="24447" y="235772"/>
                    <a:pt x="75843" y="279921"/>
                  </a:cubicBezTo>
                  <a:close/>
                  <a:moveTo>
                    <a:pt x="18760" y="138913"/>
                  </a:moveTo>
                  <a:cubicBezTo>
                    <a:pt x="19970" y="80991"/>
                    <a:pt x="63423" y="36052"/>
                    <a:pt x="79206" y="21612"/>
                  </a:cubicBezTo>
                  <a:cubicBezTo>
                    <a:pt x="95284" y="35700"/>
                    <a:pt x="139728" y="79686"/>
                    <a:pt x="142185" y="137570"/>
                  </a:cubicBezTo>
                  <a:cubicBezTo>
                    <a:pt x="143842" y="176184"/>
                    <a:pt x="126650" y="214284"/>
                    <a:pt x="91084" y="251041"/>
                  </a:cubicBezTo>
                  <a:lnTo>
                    <a:pt x="89693" y="124358"/>
                  </a:lnTo>
                  <a:cubicBezTo>
                    <a:pt x="89636" y="119186"/>
                    <a:pt x="85463" y="114995"/>
                    <a:pt x="80215" y="115081"/>
                  </a:cubicBezTo>
                  <a:cubicBezTo>
                    <a:pt x="75043" y="115138"/>
                    <a:pt x="70890" y="119386"/>
                    <a:pt x="70938" y="124559"/>
                  </a:cubicBezTo>
                  <a:lnTo>
                    <a:pt x="72329" y="251241"/>
                  </a:lnTo>
                  <a:cubicBezTo>
                    <a:pt x="35962" y="215265"/>
                    <a:pt x="17960" y="177556"/>
                    <a:pt x="18760" y="138913"/>
                  </a:cubicBezTo>
                  <a:close/>
                </a:path>
              </a:pathLst>
            </a:custGeom>
            <a:grpFill/>
            <a:ln w="6350" cap="flat">
              <a:solidFill>
                <a:schemeClr val="bg1"/>
              </a:solidFill>
              <a:prstDash val="solid"/>
              <a:miter/>
            </a:ln>
          </p:spPr>
          <p:txBody>
            <a:bodyPr rtlCol="0" anchor="ctr"/>
            <a:lstStyle/>
            <a:p>
              <a:pPr defTabSz="685783">
                <a:defRPr/>
              </a:pPr>
              <a:endParaRPr lang="fr-FR" sz="1350" kern="0">
                <a:solidFill>
                  <a:prstClr val="black"/>
                </a:solidFill>
                <a:latin typeface="Arial"/>
              </a:endParaRPr>
            </a:p>
          </p:txBody>
        </p:sp>
      </p:grpSp>
      <p:grpSp>
        <p:nvGrpSpPr>
          <p:cNvPr id="97" name="Groupe 96">
            <a:extLst>
              <a:ext uri="{FF2B5EF4-FFF2-40B4-BE49-F238E27FC236}">
                <a16:creationId xmlns:a16="http://schemas.microsoft.com/office/drawing/2014/main" id="{D916181F-A6CA-39FB-B2D5-033715439272}"/>
              </a:ext>
            </a:extLst>
          </p:cNvPr>
          <p:cNvGrpSpPr/>
          <p:nvPr/>
        </p:nvGrpSpPr>
        <p:grpSpPr>
          <a:xfrm>
            <a:off x="6046788" y="1477070"/>
            <a:ext cx="368900" cy="228191"/>
            <a:chOff x="7008183" y="1043880"/>
            <a:chExt cx="1175577" cy="825996"/>
          </a:xfrm>
          <a:noFill/>
        </p:grpSpPr>
        <p:sp>
          <p:nvSpPr>
            <p:cNvPr id="98" name="Forme libre 97">
              <a:extLst>
                <a:ext uri="{FF2B5EF4-FFF2-40B4-BE49-F238E27FC236}">
                  <a16:creationId xmlns:a16="http://schemas.microsoft.com/office/drawing/2014/main" id="{9B179DD1-CE40-68A0-9D9F-4604174E3E85}"/>
                </a:ext>
              </a:extLst>
            </p:cNvPr>
            <p:cNvSpPr/>
            <p:nvPr/>
          </p:nvSpPr>
          <p:spPr>
            <a:xfrm>
              <a:off x="8057852" y="1293911"/>
              <a:ext cx="125908" cy="50006"/>
            </a:xfrm>
            <a:custGeom>
              <a:avLst/>
              <a:gdLst>
                <a:gd name="connsiteX0" fmla="*/ 0 w 125908"/>
                <a:gd name="connsiteY0" fmla="*/ 50006 h 50006"/>
                <a:gd name="connsiteX1" fmla="*/ 11608 w 125908"/>
                <a:gd name="connsiteY1" fmla="*/ 27682 h 50006"/>
                <a:gd name="connsiteX2" fmla="*/ 56257 w 125908"/>
                <a:gd name="connsiteY2" fmla="*/ 0 h 50006"/>
                <a:gd name="connsiteX3" fmla="*/ 125908 w 125908"/>
                <a:gd name="connsiteY3" fmla="*/ 0 h 50006"/>
              </a:gdLst>
              <a:ahLst/>
              <a:cxnLst>
                <a:cxn ang="0">
                  <a:pos x="connsiteX0" y="connsiteY0"/>
                </a:cxn>
                <a:cxn ang="0">
                  <a:pos x="connsiteX1" y="connsiteY1"/>
                </a:cxn>
                <a:cxn ang="0">
                  <a:pos x="connsiteX2" y="connsiteY2"/>
                </a:cxn>
                <a:cxn ang="0">
                  <a:pos x="connsiteX3" y="connsiteY3"/>
                </a:cxn>
              </a:cxnLst>
              <a:rect l="l" t="t" r="r" b="b"/>
              <a:pathLst>
                <a:path w="125908" h="50006">
                  <a:moveTo>
                    <a:pt x="0" y="50006"/>
                  </a:moveTo>
                  <a:lnTo>
                    <a:pt x="11608" y="27682"/>
                  </a:lnTo>
                  <a:cubicBezTo>
                    <a:pt x="20538" y="10716"/>
                    <a:pt x="37505" y="0"/>
                    <a:pt x="56257" y="0"/>
                  </a:cubicBezTo>
                  <a:lnTo>
                    <a:pt x="125908"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99" name="Forme libre 98">
              <a:extLst>
                <a:ext uri="{FF2B5EF4-FFF2-40B4-BE49-F238E27FC236}">
                  <a16:creationId xmlns:a16="http://schemas.microsoft.com/office/drawing/2014/main" id="{C492F608-4907-4155-BE73-D4E5D2B58953}"/>
                </a:ext>
              </a:extLst>
            </p:cNvPr>
            <p:cNvSpPr/>
            <p:nvPr/>
          </p:nvSpPr>
          <p:spPr>
            <a:xfrm>
              <a:off x="7478315" y="1343917"/>
              <a:ext cx="679549" cy="375939"/>
            </a:xfrm>
            <a:custGeom>
              <a:avLst/>
              <a:gdLst>
                <a:gd name="connsiteX0" fmla="*/ 75010 w 679549"/>
                <a:gd name="connsiteY0" fmla="*/ 0 h 375939"/>
                <a:gd name="connsiteX1" fmla="*/ 529530 w 679549"/>
                <a:gd name="connsiteY1" fmla="*/ 0 h 375939"/>
                <a:gd name="connsiteX2" fmla="*/ 679550 w 679549"/>
                <a:gd name="connsiteY2" fmla="*/ 150019 h 375939"/>
                <a:gd name="connsiteX3" fmla="*/ 679550 w 679549"/>
                <a:gd name="connsiteY3" fmla="*/ 325934 h 375939"/>
                <a:gd name="connsiteX4" fmla="*/ 629543 w 679549"/>
                <a:gd name="connsiteY4" fmla="*/ 375940 h 375939"/>
                <a:gd name="connsiteX5" fmla="*/ 0 w 679549"/>
                <a:gd name="connsiteY5" fmla="*/ 375940 h 37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549" h="375939">
                  <a:moveTo>
                    <a:pt x="75010" y="0"/>
                  </a:moveTo>
                  <a:lnTo>
                    <a:pt x="529530" y="0"/>
                  </a:lnTo>
                  <a:cubicBezTo>
                    <a:pt x="612577" y="0"/>
                    <a:pt x="679550" y="66973"/>
                    <a:pt x="679550" y="150019"/>
                  </a:cubicBezTo>
                  <a:lnTo>
                    <a:pt x="679550" y="325934"/>
                  </a:lnTo>
                  <a:cubicBezTo>
                    <a:pt x="679550" y="353616"/>
                    <a:pt x="657225" y="375940"/>
                    <a:pt x="629543" y="375940"/>
                  </a:cubicBezTo>
                  <a:lnTo>
                    <a:pt x="0" y="375940"/>
                  </a:lnTo>
                </a:path>
              </a:pathLst>
            </a:custGeom>
            <a:grpFill/>
            <a:ln w="25400" cap="flat">
              <a:solidFill>
                <a:schemeClr val="bg1"/>
              </a:solidFill>
              <a:prstDash val="solid"/>
              <a:miter/>
            </a:ln>
          </p:spPr>
          <p:txBody>
            <a:bodyPr rtlCol="0" anchor="ctr"/>
            <a:lstStyle/>
            <a:p>
              <a:pPr defTabSz="457189"/>
              <a:endParaRPr lang="fr-FR" sz="1350" dirty="0">
                <a:solidFill>
                  <a:srgbClr val="008B92"/>
                </a:solidFill>
                <a:latin typeface="Arial"/>
              </a:endParaRPr>
            </a:p>
          </p:txBody>
        </p:sp>
        <p:sp>
          <p:nvSpPr>
            <p:cNvPr id="100" name="Forme libre 99">
              <a:extLst>
                <a:ext uri="{FF2B5EF4-FFF2-40B4-BE49-F238E27FC236}">
                  <a16:creationId xmlns:a16="http://schemas.microsoft.com/office/drawing/2014/main" id="{D323313F-073F-D943-0249-0C54DD0691B4}"/>
                </a:ext>
              </a:extLst>
            </p:cNvPr>
            <p:cNvSpPr/>
            <p:nvPr/>
          </p:nvSpPr>
          <p:spPr>
            <a:xfrm>
              <a:off x="7932836" y="1794867"/>
              <a:ext cx="175021" cy="75009"/>
            </a:xfrm>
            <a:custGeom>
              <a:avLst/>
              <a:gdLst>
                <a:gd name="connsiteX0" fmla="*/ 175022 w 175021"/>
                <a:gd name="connsiteY0" fmla="*/ 0 h 75009"/>
                <a:gd name="connsiteX1" fmla="*/ 175022 w 175021"/>
                <a:gd name="connsiteY1" fmla="*/ 25003 h 75009"/>
                <a:gd name="connsiteX2" fmla="*/ 125016 w 175021"/>
                <a:gd name="connsiteY2" fmla="*/ 75009 h 75009"/>
                <a:gd name="connsiteX3" fmla="*/ 50006 w 175021"/>
                <a:gd name="connsiteY3" fmla="*/ 75009 h 75009"/>
                <a:gd name="connsiteX4" fmla="*/ 0 w 175021"/>
                <a:gd name="connsiteY4" fmla="*/ 25003 h 75009"/>
                <a:gd name="connsiteX5" fmla="*/ 0 w 175021"/>
                <a:gd name="connsiteY5" fmla="*/ 0 h 7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21" h="75009">
                  <a:moveTo>
                    <a:pt x="175022" y="0"/>
                  </a:moveTo>
                  <a:lnTo>
                    <a:pt x="175022" y="25003"/>
                  </a:lnTo>
                  <a:cubicBezTo>
                    <a:pt x="175022" y="52685"/>
                    <a:pt x="152697" y="75009"/>
                    <a:pt x="125016" y="75009"/>
                  </a:cubicBezTo>
                  <a:lnTo>
                    <a:pt x="50006" y="75009"/>
                  </a:lnTo>
                  <a:cubicBezTo>
                    <a:pt x="22324" y="75009"/>
                    <a:pt x="0" y="52685"/>
                    <a:pt x="0" y="25003"/>
                  </a:cubicBezTo>
                  <a:lnTo>
                    <a:pt x="0"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01" name="Forme libre 100">
              <a:extLst>
                <a:ext uri="{FF2B5EF4-FFF2-40B4-BE49-F238E27FC236}">
                  <a16:creationId xmlns:a16="http://schemas.microsoft.com/office/drawing/2014/main" id="{EC50050D-6F83-E2FC-29F5-03E01A59A5AD}"/>
                </a:ext>
              </a:extLst>
            </p:cNvPr>
            <p:cNvSpPr/>
            <p:nvPr/>
          </p:nvSpPr>
          <p:spPr>
            <a:xfrm>
              <a:off x="7457777" y="1168896"/>
              <a:ext cx="550068" cy="175914"/>
            </a:xfrm>
            <a:custGeom>
              <a:avLst/>
              <a:gdLst>
                <a:gd name="connsiteX0" fmla="*/ 0 w 550068"/>
                <a:gd name="connsiteY0" fmla="*/ 45541 h 175914"/>
                <a:gd name="connsiteX1" fmla="*/ 96441 w 550068"/>
                <a:gd name="connsiteY1" fmla="*/ 0 h 175914"/>
                <a:gd name="connsiteX2" fmla="*/ 376833 w 550068"/>
                <a:gd name="connsiteY2" fmla="*/ 0 h 175914"/>
                <a:gd name="connsiteX3" fmla="*/ 485775 w 550068"/>
                <a:gd name="connsiteY3" fmla="*/ 63401 h 175914"/>
                <a:gd name="connsiteX4" fmla="*/ 550069 w 550068"/>
                <a:gd name="connsiteY4" fmla="*/ 175915 h 175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068" h="175914">
                  <a:moveTo>
                    <a:pt x="0" y="45541"/>
                  </a:moveTo>
                  <a:cubicBezTo>
                    <a:pt x="23217" y="16966"/>
                    <a:pt x="58936" y="0"/>
                    <a:pt x="96441" y="0"/>
                  </a:cubicBezTo>
                  <a:lnTo>
                    <a:pt x="376833" y="0"/>
                  </a:lnTo>
                  <a:cubicBezTo>
                    <a:pt x="421481" y="0"/>
                    <a:pt x="463451" y="24110"/>
                    <a:pt x="485775" y="63401"/>
                  </a:cubicBezTo>
                  <a:lnTo>
                    <a:pt x="550069" y="175915"/>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02" name="Forme libre 101">
              <a:extLst>
                <a:ext uri="{FF2B5EF4-FFF2-40B4-BE49-F238E27FC236}">
                  <a16:creationId xmlns:a16="http://schemas.microsoft.com/office/drawing/2014/main" id="{74A61F9C-AFC5-290F-904F-5BFD5EF251DB}"/>
                </a:ext>
              </a:extLst>
            </p:cNvPr>
            <p:cNvSpPr/>
            <p:nvPr/>
          </p:nvSpPr>
          <p:spPr>
            <a:xfrm>
              <a:off x="7550646" y="1519832"/>
              <a:ext cx="306288" cy="100012"/>
            </a:xfrm>
            <a:custGeom>
              <a:avLst/>
              <a:gdLst>
                <a:gd name="connsiteX0" fmla="*/ 31254 w 306288"/>
                <a:gd name="connsiteY0" fmla="*/ 0 h 100012"/>
                <a:gd name="connsiteX1" fmla="*/ 256282 w 306288"/>
                <a:gd name="connsiteY1" fmla="*/ 0 h 100012"/>
                <a:gd name="connsiteX2" fmla="*/ 306288 w 306288"/>
                <a:gd name="connsiteY2" fmla="*/ 50006 h 100012"/>
                <a:gd name="connsiteX3" fmla="*/ 256282 w 306288"/>
                <a:gd name="connsiteY3" fmla="*/ 100012 h 100012"/>
                <a:gd name="connsiteX4" fmla="*/ 31254 w 306288"/>
                <a:gd name="connsiteY4" fmla="*/ 100012 h 100012"/>
                <a:gd name="connsiteX5" fmla="*/ 0 w 306288"/>
                <a:gd name="connsiteY5" fmla="*/ 88404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288" h="100012">
                  <a:moveTo>
                    <a:pt x="31254" y="0"/>
                  </a:moveTo>
                  <a:lnTo>
                    <a:pt x="256282" y="0"/>
                  </a:lnTo>
                  <a:cubicBezTo>
                    <a:pt x="283964" y="0"/>
                    <a:pt x="306288" y="22324"/>
                    <a:pt x="306288" y="50006"/>
                  </a:cubicBezTo>
                  <a:cubicBezTo>
                    <a:pt x="306288" y="77688"/>
                    <a:pt x="283964" y="100012"/>
                    <a:pt x="256282" y="100012"/>
                  </a:cubicBezTo>
                  <a:lnTo>
                    <a:pt x="31254" y="100012"/>
                  </a:lnTo>
                  <a:cubicBezTo>
                    <a:pt x="19645" y="100012"/>
                    <a:pt x="8036" y="95548"/>
                    <a:pt x="0" y="88404"/>
                  </a:cubicBez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03" name="Forme libre 102">
              <a:extLst>
                <a:ext uri="{FF2B5EF4-FFF2-40B4-BE49-F238E27FC236}">
                  <a16:creationId xmlns:a16="http://schemas.microsoft.com/office/drawing/2014/main" id="{71014AAE-29A5-3FAC-EB35-4353A9CE2417}"/>
                </a:ext>
              </a:extLst>
            </p:cNvPr>
            <p:cNvSpPr/>
            <p:nvPr/>
          </p:nvSpPr>
          <p:spPr>
            <a:xfrm>
              <a:off x="7932836" y="1494829"/>
              <a:ext cx="150018" cy="8929"/>
            </a:xfrm>
            <a:custGeom>
              <a:avLst/>
              <a:gdLst>
                <a:gd name="connsiteX0" fmla="*/ 0 w 150018"/>
                <a:gd name="connsiteY0" fmla="*/ 0 h 8929"/>
                <a:gd name="connsiteX1" fmla="*/ 150019 w 150018"/>
                <a:gd name="connsiteY1" fmla="*/ 0 h 8929"/>
              </a:gdLst>
              <a:ahLst/>
              <a:cxnLst>
                <a:cxn ang="0">
                  <a:pos x="connsiteX0" y="connsiteY0"/>
                </a:cxn>
                <a:cxn ang="0">
                  <a:pos x="connsiteX1" y="connsiteY1"/>
                </a:cxn>
              </a:cxnLst>
              <a:rect l="l" t="t" r="r" b="b"/>
              <a:pathLst>
                <a:path w="150018" h="8929">
                  <a:moveTo>
                    <a:pt x="0" y="0"/>
                  </a:moveTo>
                  <a:lnTo>
                    <a:pt x="150019"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04" name="Forme libre 103">
              <a:extLst>
                <a:ext uri="{FF2B5EF4-FFF2-40B4-BE49-F238E27FC236}">
                  <a16:creationId xmlns:a16="http://schemas.microsoft.com/office/drawing/2014/main" id="{133BD302-5195-546A-4E0A-61352CE6E530}"/>
                </a:ext>
              </a:extLst>
            </p:cNvPr>
            <p:cNvSpPr/>
            <p:nvPr/>
          </p:nvSpPr>
          <p:spPr>
            <a:xfrm>
              <a:off x="8007846" y="1619845"/>
              <a:ext cx="75009" cy="8929"/>
            </a:xfrm>
            <a:custGeom>
              <a:avLst/>
              <a:gdLst>
                <a:gd name="connsiteX0" fmla="*/ 0 w 75009"/>
                <a:gd name="connsiteY0" fmla="*/ 0 h 8929"/>
                <a:gd name="connsiteX1" fmla="*/ 75009 w 75009"/>
                <a:gd name="connsiteY1" fmla="*/ 0 h 8929"/>
              </a:gdLst>
              <a:ahLst/>
              <a:cxnLst>
                <a:cxn ang="0">
                  <a:pos x="connsiteX0" y="connsiteY0"/>
                </a:cxn>
                <a:cxn ang="0">
                  <a:pos x="connsiteX1" y="connsiteY1"/>
                </a:cxn>
              </a:cxnLst>
              <a:rect l="l" t="t" r="r" b="b"/>
              <a:pathLst>
                <a:path w="75009" h="8929">
                  <a:moveTo>
                    <a:pt x="0" y="0"/>
                  </a:moveTo>
                  <a:lnTo>
                    <a:pt x="75009"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05" name="Forme libre 104">
              <a:extLst>
                <a:ext uri="{FF2B5EF4-FFF2-40B4-BE49-F238E27FC236}">
                  <a16:creationId xmlns:a16="http://schemas.microsoft.com/office/drawing/2014/main" id="{3CBEBBA8-6269-CDF2-6C97-6C874689DD7F}"/>
                </a:ext>
              </a:extLst>
            </p:cNvPr>
            <p:cNvSpPr/>
            <p:nvPr/>
          </p:nvSpPr>
          <p:spPr>
            <a:xfrm>
              <a:off x="7008183" y="1043880"/>
              <a:ext cx="500814" cy="676870"/>
            </a:xfrm>
            <a:custGeom>
              <a:avLst/>
              <a:gdLst>
                <a:gd name="connsiteX0" fmla="*/ 308505 w 500814"/>
                <a:gd name="connsiteY0" fmla="*/ 676870 h 676870"/>
                <a:gd name="connsiteX1" fmla="*/ 115623 w 500814"/>
                <a:gd name="connsiteY1" fmla="*/ 0 h 676870"/>
                <a:gd name="connsiteX2" fmla="*/ 373691 w 500814"/>
                <a:gd name="connsiteY2" fmla="*/ 675977 h 676870"/>
              </a:gdLst>
              <a:ahLst/>
              <a:cxnLst>
                <a:cxn ang="0">
                  <a:pos x="connsiteX0" y="connsiteY0"/>
                </a:cxn>
                <a:cxn ang="0">
                  <a:pos x="connsiteX1" y="connsiteY1"/>
                </a:cxn>
                <a:cxn ang="0">
                  <a:pos x="connsiteX2" y="connsiteY2"/>
                </a:cxn>
              </a:cxnLst>
              <a:rect l="l" t="t" r="r" b="b"/>
              <a:pathLst>
                <a:path w="500814" h="676870">
                  <a:moveTo>
                    <a:pt x="308505" y="676870"/>
                  </a:moveTo>
                  <a:cubicBezTo>
                    <a:pt x="-43325" y="659904"/>
                    <a:pt x="-74579" y="307181"/>
                    <a:pt x="115623" y="0"/>
                  </a:cubicBezTo>
                  <a:cubicBezTo>
                    <a:pt x="274572" y="150019"/>
                    <a:pt x="716591" y="325934"/>
                    <a:pt x="373691" y="675977"/>
                  </a:cubicBez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06" name="Forme libre 105">
              <a:extLst>
                <a:ext uri="{FF2B5EF4-FFF2-40B4-BE49-F238E27FC236}">
                  <a16:creationId xmlns:a16="http://schemas.microsoft.com/office/drawing/2014/main" id="{E36113D6-2D5F-B54A-02D3-6945BEDAC01A}"/>
                </a:ext>
              </a:extLst>
            </p:cNvPr>
            <p:cNvSpPr/>
            <p:nvPr/>
          </p:nvSpPr>
          <p:spPr>
            <a:xfrm>
              <a:off x="7183635" y="1260871"/>
              <a:ext cx="241101" cy="584001"/>
            </a:xfrm>
            <a:custGeom>
              <a:avLst/>
              <a:gdLst>
                <a:gd name="connsiteX0" fmla="*/ 241102 w 241101"/>
                <a:gd name="connsiteY0" fmla="*/ 584002 h 584001"/>
                <a:gd name="connsiteX1" fmla="*/ 0 w 241101"/>
                <a:gd name="connsiteY1" fmla="*/ 0 h 584001"/>
              </a:gdLst>
              <a:ahLst/>
              <a:cxnLst>
                <a:cxn ang="0">
                  <a:pos x="connsiteX0" y="connsiteY0"/>
                </a:cxn>
                <a:cxn ang="0">
                  <a:pos x="connsiteX1" y="connsiteY1"/>
                </a:cxn>
              </a:cxnLst>
              <a:rect l="l" t="t" r="r" b="b"/>
              <a:pathLst>
                <a:path w="241101" h="584001">
                  <a:moveTo>
                    <a:pt x="241102" y="584002"/>
                  </a:moveTo>
                  <a:cubicBezTo>
                    <a:pt x="198239" y="344686"/>
                    <a:pt x="67866" y="116086"/>
                    <a:pt x="0" y="0"/>
                  </a:cubicBez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07" name="Forme libre 106">
              <a:extLst>
                <a:ext uri="{FF2B5EF4-FFF2-40B4-BE49-F238E27FC236}">
                  <a16:creationId xmlns:a16="http://schemas.microsoft.com/office/drawing/2014/main" id="{452B9980-6603-1E15-531C-D9260888F4BC}"/>
                </a:ext>
              </a:extLst>
            </p:cNvPr>
            <p:cNvSpPr/>
            <p:nvPr/>
          </p:nvSpPr>
          <p:spPr>
            <a:xfrm>
              <a:off x="7155953" y="1494829"/>
              <a:ext cx="200917" cy="100012"/>
            </a:xfrm>
            <a:custGeom>
              <a:avLst/>
              <a:gdLst>
                <a:gd name="connsiteX0" fmla="*/ 0 w 200917"/>
                <a:gd name="connsiteY0" fmla="*/ 0 h 100012"/>
                <a:gd name="connsiteX1" fmla="*/ 200918 w 200917"/>
                <a:gd name="connsiteY1" fmla="*/ 100013 h 100012"/>
              </a:gdLst>
              <a:ahLst/>
              <a:cxnLst>
                <a:cxn ang="0">
                  <a:pos x="connsiteX0" y="connsiteY0"/>
                </a:cxn>
                <a:cxn ang="0">
                  <a:pos x="connsiteX1" y="connsiteY1"/>
                </a:cxn>
              </a:cxnLst>
              <a:rect l="l" t="t" r="r" b="b"/>
              <a:pathLst>
                <a:path w="200917" h="100012">
                  <a:moveTo>
                    <a:pt x="0" y="0"/>
                  </a:moveTo>
                  <a:lnTo>
                    <a:pt x="200918" y="100013"/>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08" name="Forme libre 107">
              <a:extLst>
                <a:ext uri="{FF2B5EF4-FFF2-40B4-BE49-F238E27FC236}">
                  <a16:creationId xmlns:a16="http://schemas.microsoft.com/office/drawing/2014/main" id="{9566C962-1985-0354-315C-F31E7457786D}"/>
                </a:ext>
              </a:extLst>
            </p:cNvPr>
            <p:cNvSpPr/>
            <p:nvPr/>
          </p:nvSpPr>
          <p:spPr>
            <a:xfrm>
              <a:off x="7281862" y="1318914"/>
              <a:ext cx="25003" cy="125908"/>
            </a:xfrm>
            <a:custGeom>
              <a:avLst/>
              <a:gdLst>
                <a:gd name="connsiteX0" fmla="*/ 0 w 25003"/>
                <a:gd name="connsiteY0" fmla="*/ 125909 h 125908"/>
                <a:gd name="connsiteX1" fmla="*/ 25003 w 25003"/>
                <a:gd name="connsiteY1" fmla="*/ 0 h 125908"/>
              </a:gdLst>
              <a:ahLst/>
              <a:cxnLst>
                <a:cxn ang="0">
                  <a:pos x="connsiteX0" y="connsiteY0"/>
                </a:cxn>
                <a:cxn ang="0">
                  <a:pos x="connsiteX1" y="connsiteY1"/>
                </a:cxn>
              </a:cxnLst>
              <a:rect l="l" t="t" r="r" b="b"/>
              <a:pathLst>
                <a:path w="25003" h="125908">
                  <a:moveTo>
                    <a:pt x="0" y="125909"/>
                  </a:moveTo>
                  <a:lnTo>
                    <a:pt x="25003"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grpSp>
      <p:grpSp>
        <p:nvGrpSpPr>
          <p:cNvPr id="117" name="Groupe 116">
            <a:extLst>
              <a:ext uri="{FF2B5EF4-FFF2-40B4-BE49-F238E27FC236}">
                <a16:creationId xmlns:a16="http://schemas.microsoft.com/office/drawing/2014/main" id="{278F71E2-BB11-2B3F-9DB9-A843EADF6DAA}"/>
              </a:ext>
            </a:extLst>
          </p:cNvPr>
          <p:cNvGrpSpPr/>
          <p:nvPr/>
        </p:nvGrpSpPr>
        <p:grpSpPr>
          <a:xfrm>
            <a:off x="465000" y="1060853"/>
            <a:ext cx="1518665" cy="290079"/>
            <a:chOff x="562249" y="1987714"/>
            <a:chExt cx="2024886" cy="386772"/>
          </a:xfrm>
        </p:grpSpPr>
        <p:sp>
          <p:nvSpPr>
            <p:cNvPr id="111" name="ZoneTexte 110">
              <a:extLst>
                <a:ext uri="{FF2B5EF4-FFF2-40B4-BE49-F238E27FC236}">
                  <a16:creationId xmlns:a16="http://schemas.microsoft.com/office/drawing/2014/main" id="{3DA67A61-5759-06E5-0134-0CE544160D81}"/>
                </a:ext>
              </a:extLst>
            </p:cNvPr>
            <p:cNvSpPr txBox="1"/>
            <p:nvPr/>
          </p:nvSpPr>
          <p:spPr>
            <a:xfrm>
              <a:off x="562249" y="1987714"/>
              <a:ext cx="2024886" cy="38677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algn="ctr" defTabSz="457189">
                <a:lnSpc>
                  <a:spcPts val="1050"/>
                </a:lnSpc>
                <a:buClr>
                  <a:srgbClr val="007C54"/>
                </a:buClr>
                <a:defRPr/>
              </a:pPr>
              <a:r>
                <a:rPr lang="fr-FR" sz="3150" b="1" dirty="0">
                  <a:solidFill>
                    <a:prstClr val="white"/>
                  </a:solidFill>
                  <a:latin typeface="Arial"/>
                </a:rPr>
                <a:t>1</a:t>
              </a:r>
            </a:p>
          </p:txBody>
        </p:sp>
        <p:cxnSp>
          <p:nvCxnSpPr>
            <p:cNvPr id="115" name="Connecteur droit 114">
              <a:extLst>
                <a:ext uri="{FF2B5EF4-FFF2-40B4-BE49-F238E27FC236}">
                  <a16:creationId xmlns:a16="http://schemas.microsoft.com/office/drawing/2014/main" id="{5E427C53-64FD-CD02-BEFF-2C65FBC6BC92}"/>
                </a:ext>
              </a:extLst>
            </p:cNvPr>
            <p:cNvCxnSpPr>
              <a:cxnSpLocks/>
            </p:cNvCxnSpPr>
            <p:nvPr/>
          </p:nvCxnSpPr>
          <p:spPr>
            <a:xfrm>
              <a:off x="1403248" y="2286635"/>
              <a:ext cx="369543"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8" name="Groupe 117">
            <a:extLst>
              <a:ext uri="{FF2B5EF4-FFF2-40B4-BE49-F238E27FC236}">
                <a16:creationId xmlns:a16="http://schemas.microsoft.com/office/drawing/2014/main" id="{36DA5A17-09AB-2354-47C9-192042A647FC}"/>
              </a:ext>
            </a:extLst>
          </p:cNvPr>
          <p:cNvGrpSpPr/>
          <p:nvPr/>
        </p:nvGrpSpPr>
        <p:grpSpPr>
          <a:xfrm>
            <a:off x="2171880" y="1060853"/>
            <a:ext cx="1518665" cy="290079"/>
            <a:chOff x="562249" y="1987714"/>
            <a:chExt cx="2024886" cy="386772"/>
          </a:xfrm>
        </p:grpSpPr>
        <p:sp>
          <p:nvSpPr>
            <p:cNvPr id="119" name="ZoneTexte 118">
              <a:extLst>
                <a:ext uri="{FF2B5EF4-FFF2-40B4-BE49-F238E27FC236}">
                  <a16:creationId xmlns:a16="http://schemas.microsoft.com/office/drawing/2014/main" id="{9EF8B8C5-054F-8E0A-CAA0-0164AEB485DF}"/>
                </a:ext>
              </a:extLst>
            </p:cNvPr>
            <p:cNvSpPr txBox="1"/>
            <p:nvPr/>
          </p:nvSpPr>
          <p:spPr>
            <a:xfrm>
              <a:off x="562249" y="1987714"/>
              <a:ext cx="2024886" cy="38677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algn="ctr" defTabSz="457189">
                <a:lnSpc>
                  <a:spcPts val="1050"/>
                </a:lnSpc>
                <a:buClr>
                  <a:srgbClr val="007C54"/>
                </a:buClr>
                <a:defRPr/>
              </a:pPr>
              <a:r>
                <a:rPr lang="fr-FR" sz="3150" b="1" dirty="0">
                  <a:solidFill>
                    <a:prstClr val="white"/>
                  </a:solidFill>
                  <a:latin typeface="Arial"/>
                </a:rPr>
                <a:t>2</a:t>
              </a:r>
            </a:p>
          </p:txBody>
        </p:sp>
        <p:cxnSp>
          <p:nvCxnSpPr>
            <p:cNvPr id="120" name="Connecteur droit 119">
              <a:extLst>
                <a:ext uri="{FF2B5EF4-FFF2-40B4-BE49-F238E27FC236}">
                  <a16:creationId xmlns:a16="http://schemas.microsoft.com/office/drawing/2014/main" id="{5075AD2B-2F68-BA58-2FD3-E63609D31490}"/>
                </a:ext>
              </a:extLst>
            </p:cNvPr>
            <p:cNvCxnSpPr>
              <a:cxnSpLocks/>
            </p:cNvCxnSpPr>
            <p:nvPr/>
          </p:nvCxnSpPr>
          <p:spPr>
            <a:xfrm>
              <a:off x="1382928" y="2286635"/>
              <a:ext cx="369543"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
        <p:nvSpPr>
          <p:cNvPr id="122" name="ZoneTexte 121">
            <a:extLst>
              <a:ext uri="{FF2B5EF4-FFF2-40B4-BE49-F238E27FC236}">
                <a16:creationId xmlns:a16="http://schemas.microsoft.com/office/drawing/2014/main" id="{555370D7-5583-4871-BB9B-39D298F21953}"/>
              </a:ext>
            </a:extLst>
          </p:cNvPr>
          <p:cNvSpPr txBox="1"/>
          <p:nvPr/>
        </p:nvSpPr>
        <p:spPr>
          <a:xfrm>
            <a:off x="3871140" y="1060854"/>
            <a:ext cx="1518665" cy="29007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algn="ctr" defTabSz="457189">
              <a:lnSpc>
                <a:spcPts val="1050"/>
              </a:lnSpc>
              <a:buClr>
                <a:srgbClr val="007C54"/>
              </a:buClr>
              <a:defRPr/>
            </a:pPr>
            <a:r>
              <a:rPr lang="fr-FR" sz="3150" b="1" dirty="0">
                <a:solidFill>
                  <a:prstClr val="white"/>
                </a:solidFill>
                <a:latin typeface="Arial"/>
              </a:rPr>
              <a:t>3</a:t>
            </a:r>
          </a:p>
        </p:txBody>
      </p:sp>
      <p:cxnSp>
        <p:nvCxnSpPr>
          <p:cNvPr id="123" name="Connecteur droit 122">
            <a:extLst>
              <a:ext uri="{FF2B5EF4-FFF2-40B4-BE49-F238E27FC236}">
                <a16:creationId xmlns:a16="http://schemas.microsoft.com/office/drawing/2014/main" id="{EE83D77A-0CE5-C769-3874-01F5BC8890A6}"/>
              </a:ext>
            </a:extLst>
          </p:cNvPr>
          <p:cNvCxnSpPr>
            <a:cxnSpLocks/>
          </p:cNvCxnSpPr>
          <p:nvPr/>
        </p:nvCxnSpPr>
        <p:spPr>
          <a:xfrm>
            <a:off x="4486650" y="1285043"/>
            <a:ext cx="277157"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nvGrpSpPr>
          <p:cNvPr id="126" name="Groupe 125">
            <a:extLst>
              <a:ext uri="{FF2B5EF4-FFF2-40B4-BE49-F238E27FC236}">
                <a16:creationId xmlns:a16="http://schemas.microsoft.com/office/drawing/2014/main" id="{EDD6BC69-B2DE-1D6A-8D6E-D09D066E0C4F}"/>
              </a:ext>
            </a:extLst>
          </p:cNvPr>
          <p:cNvGrpSpPr/>
          <p:nvPr/>
        </p:nvGrpSpPr>
        <p:grpSpPr>
          <a:xfrm>
            <a:off x="7223940" y="1060853"/>
            <a:ext cx="1518665" cy="290079"/>
            <a:chOff x="5103769" y="1987714"/>
            <a:chExt cx="2024886" cy="386772"/>
          </a:xfrm>
        </p:grpSpPr>
        <p:sp>
          <p:nvSpPr>
            <p:cNvPr id="127" name="ZoneTexte 126">
              <a:extLst>
                <a:ext uri="{FF2B5EF4-FFF2-40B4-BE49-F238E27FC236}">
                  <a16:creationId xmlns:a16="http://schemas.microsoft.com/office/drawing/2014/main" id="{CEF5120B-AB7C-142A-F7D8-B902B5099ADF}"/>
                </a:ext>
              </a:extLst>
            </p:cNvPr>
            <p:cNvSpPr txBox="1"/>
            <p:nvPr/>
          </p:nvSpPr>
          <p:spPr>
            <a:xfrm>
              <a:off x="5103769" y="1987714"/>
              <a:ext cx="2024886" cy="38677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algn="ctr" defTabSz="457189">
                <a:lnSpc>
                  <a:spcPts val="1050"/>
                </a:lnSpc>
                <a:buClr>
                  <a:srgbClr val="007C54"/>
                </a:buClr>
                <a:defRPr/>
              </a:pPr>
              <a:r>
                <a:rPr lang="fr-FR" sz="3150" b="1" dirty="0">
                  <a:solidFill>
                    <a:prstClr val="white"/>
                  </a:solidFill>
                  <a:latin typeface="Arial"/>
                </a:rPr>
                <a:t>5</a:t>
              </a:r>
            </a:p>
          </p:txBody>
        </p:sp>
        <p:cxnSp>
          <p:nvCxnSpPr>
            <p:cNvPr id="128" name="Connecteur droit 127">
              <a:extLst>
                <a:ext uri="{FF2B5EF4-FFF2-40B4-BE49-F238E27FC236}">
                  <a16:creationId xmlns:a16="http://schemas.microsoft.com/office/drawing/2014/main" id="{87E8E1BE-1F38-7CA6-9A31-AD478325850B}"/>
                </a:ext>
              </a:extLst>
            </p:cNvPr>
            <p:cNvCxnSpPr>
              <a:cxnSpLocks/>
            </p:cNvCxnSpPr>
            <p:nvPr/>
          </p:nvCxnSpPr>
          <p:spPr>
            <a:xfrm>
              <a:off x="5924448" y="2286635"/>
              <a:ext cx="369543"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29" name="Groupe 128">
            <a:extLst>
              <a:ext uri="{FF2B5EF4-FFF2-40B4-BE49-F238E27FC236}">
                <a16:creationId xmlns:a16="http://schemas.microsoft.com/office/drawing/2014/main" id="{7672CD5E-00AC-C000-8C2A-E81185B0921C}"/>
              </a:ext>
            </a:extLst>
          </p:cNvPr>
          <p:cNvGrpSpPr/>
          <p:nvPr/>
        </p:nvGrpSpPr>
        <p:grpSpPr>
          <a:xfrm>
            <a:off x="5555160" y="1060853"/>
            <a:ext cx="1518665" cy="290079"/>
            <a:chOff x="5103769" y="1987714"/>
            <a:chExt cx="2024886" cy="386772"/>
          </a:xfrm>
        </p:grpSpPr>
        <p:sp>
          <p:nvSpPr>
            <p:cNvPr id="130" name="ZoneTexte 129">
              <a:extLst>
                <a:ext uri="{FF2B5EF4-FFF2-40B4-BE49-F238E27FC236}">
                  <a16:creationId xmlns:a16="http://schemas.microsoft.com/office/drawing/2014/main" id="{591EBD92-1BB7-3D65-248D-7C22F593BD94}"/>
                </a:ext>
              </a:extLst>
            </p:cNvPr>
            <p:cNvSpPr txBox="1"/>
            <p:nvPr/>
          </p:nvSpPr>
          <p:spPr>
            <a:xfrm>
              <a:off x="5103769" y="1987714"/>
              <a:ext cx="2024886" cy="38677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algn="ctr" defTabSz="457189">
                <a:lnSpc>
                  <a:spcPts val="1050"/>
                </a:lnSpc>
                <a:buClr>
                  <a:srgbClr val="007C54"/>
                </a:buClr>
                <a:defRPr/>
              </a:pPr>
              <a:r>
                <a:rPr lang="fr-FR" sz="3150" b="1" dirty="0">
                  <a:solidFill>
                    <a:prstClr val="white"/>
                  </a:solidFill>
                  <a:latin typeface="Arial"/>
                </a:rPr>
                <a:t>4</a:t>
              </a:r>
            </a:p>
          </p:txBody>
        </p:sp>
        <p:cxnSp>
          <p:nvCxnSpPr>
            <p:cNvPr id="131" name="Connecteur droit 130">
              <a:extLst>
                <a:ext uri="{FF2B5EF4-FFF2-40B4-BE49-F238E27FC236}">
                  <a16:creationId xmlns:a16="http://schemas.microsoft.com/office/drawing/2014/main" id="{A9763CEA-993B-2295-7964-58A13310D77A}"/>
                </a:ext>
              </a:extLst>
            </p:cNvPr>
            <p:cNvCxnSpPr>
              <a:cxnSpLocks/>
            </p:cNvCxnSpPr>
            <p:nvPr/>
          </p:nvCxnSpPr>
          <p:spPr>
            <a:xfrm>
              <a:off x="5924448" y="2286635"/>
              <a:ext cx="369543"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3" name="Connecteur droit 2">
            <a:extLst>
              <a:ext uri="{FF2B5EF4-FFF2-40B4-BE49-F238E27FC236}">
                <a16:creationId xmlns:a16="http://schemas.microsoft.com/office/drawing/2014/main" id="{EA882345-72A9-C6E0-65EA-0AD9FA15F9B2}"/>
              </a:ext>
            </a:extLst>
          </p:cNvPr>
          <p:cNvCxnSpPr>
            <a:cxnSpLocks/>
          </p:cNvCxnSpPr>
          <p:nvPr/>
        </p:nvCxnSpPr>
        <p:spPr>
          <a:xfrm>
            <a:off x="4458262" y="1827608"/>
            <a:ext cx="277157"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1E46C8A7-FCD0-B359-76E1-B446B8EAB35E}"/>
              </a:ext>
            </a:extLst>
          </p:cNvPr>
          <p:cNvCxnSpPr>
            <a:cxnSpLocks/>
          </p:cNvCxnSpPr>
          <p:nvPr/>
        </p:nvCxnSpPr>
        <p:spPr>
          <a:xfrm>
            <a:off x="6130381" y="1827608"/>
            <a:ext cx="277157"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1BA920C8-36B2-618E-3F60-49E169B580E1}"/>
              </a:ext>
            </a:extLst>
          </p:cNvPr>
          <p:cNvCxnSpPr>
            <a:cxnSpLocks/>
          </p:cNvCxnSpPr>
          <p:nvPr/>
        </p:nvCxnSpPr>
        <p:spPr>
          <a:xfrm>
            <a:off x="7833322" y="1881548"/>
            <a:ext cx="277157"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91E6429E-9A73-F948-5B19-8E8876FCBBD7}"/>
              </a:ext>
            </a:extLst>
          </p:cNvPr>
          <p:cNvCxnSpPr>
            <a:cxnSpLocks/>
          </p:cNvCxnSpPr>
          <p:nvPr/>
        </p:nvCxnSpPr>
        <p:spPr>
          <a:xfrm>
            <a:off x="2739909" y="1858431"/>
            <a:ext cx="277157"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B0DC766B-33C3-0C82-DE8B-C632B3CFC5FD}"/>
              </a:ext>
            </a:extLst>
          </p:cNvPr>
          <p:cNvCxnSpPr>
            <a:cxnSpLocks/>
          </p:cNvCxnSpPr>
          <p:nvPr/>
        </p:nvCxnSpPr>
        <p:spPr>
          <a:xfrm>
            <a:off x="1076964" y="1858431"/>
            <a:ext cx="277157"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nvGrpSpPr>
          <p:cNvPr id="53" name="Groupe 52">
            <a:extLst>
              <a:ext uri="{FF2B5EF4-FFF2-40B4-BE49-F238E27FC236}">
                <a16:creationId xmlns:a16="http://schemas.microsoft.com/office/drawing/2014/main" id="{D8C7666B-D43E-2DB3-165F-A91322848ACF}"/>
              </a:ext>
            </a:extLst>
          </p:cNvPr>
          <p:cNvGrpSpPr/>
          <p:nvPr/>
        </p:nvGrpSpPr>
        <p:grpSpPr>
          <a:xfrm>
            <a:off x="4388065" y="1441717"/>
            <a:ext cx="434245" cy="296985"/>
            <a:chOff x="4369056" y="2253046"/>
            <a:chExt cx="3314930" cy="2575206"/>
          </a:xfrm>
        </p:grpSpPr>
        <p:sp>
          <p:nvSpPr>
            <p:cNvPr id="47" name="Forme libre 46">
              <a:extLst>
                <a:ext uri="{FF2B5EF4-FFF2-40B4-BE49-F238E27FC236}">
                  <a16:creationId xmlns:a16="http://schemas.microsoft.com/office/drawing/2014/main" id="{A6D9A508-4B3B-1ECA-8DBE-161B566596D3}"/>
                </a:ext>
              </a:extLst>
            </p:cNvPr>
            <p:cNvSpPr/>
            <p:nvPr/>
          </p:nvSpPr>
          <p:spPr>
            <a:xfrm>
              <a:off x="5583723" y="3910857"/>
              <a:ext cx="886285" cy="67750"/>
            </a:xfrm>
            <a:custGeom>
              <a:avLst/>
              <a:gdLst>
                <a:gd name="connsiteX0" fmla="*/ 886286 w 886285"/>
                <a:gd name="connsiteY0" fmla="*/ 0 h 67750"/>
                <a:gd name="connsiteX1" fmla="*/ 880755 w 886285"/>
                <a:gd name="connsiteY1" fmla="*/ 67750 h 67750"/>
                <a:gd name="connsiteX2" fmla="*/ 0 w 886285"/>
                <a:gd name="connsiteY2" fmla="*/ 67750 h 67750"/>
                <a:gd name="connsiteX3" fmla="*/ 0 w 886285"/>
                <a:gd name="connsiteY3" fmla="*/ 0 h 67750"/>
              </a:gdLst>
              <a:ahLst/>
              <a:cxnLst>
                <a:cxn ang="0">
                  <a:pos x="connsiteX0" y="connsiteY0"/>
                </a:cxn>
                <a:cxn ang="0">
                  <a:pos x="connsiteX1" y="connsiteY1"/>
                </a:cxn>
                <a:cxn ang="0">
                  <a:pos x="connsiteX2" y="connsiteY2"/>
                </a:cxn>
                <a:cxn ang="0">
                  <a:pos x="connsiteX3" y="connsiteY3"/>
                </a:cxn>
              </a:cxnLst>
              <a:rect l="l" t="t" r="r" b="b"/>
              <a:pathLst>
                <a:path w="886285" h="67750">
                  <a:moveTo>
                    <a:pt x="886286" y="0"/>
                  </a:moveTo>
                  <a:lnTo>
                    <a:pt x="880755" y="67750"/>
                  </a:lnTo>
                  <a:lnTo>
                    <a:pt x="0" y="67750"/>
                  </a:lnTo>
                  <a:lnTo>
                    <a:pt x="0" y="0"/>
                  </a:lnTo>
                  <a:close/>
                </a:path>
              </a:pathLst>
            </a:custGeom>
            <a:solidFill>
              <a:srgbClr val="FFFFFF"/>
            </a:solidFill>
            <a:ln w="6913" cap="flat">
              <a:noFill/>
              <a:prstDash val="solid"/>
              <a:miter/>
            </a:ln>
          </p:spPr>
          <p:txBody>
            <a:bodyPr rtlCol="0" anchor="ctr"/>
            <a:lstStyle/>
            <a:p>
              <a:pPr defTabSz="457189"/>
              <a:endParaRPr lang="fr-FR" sz="1350">
                <a:solidFill>
                  <a:prstClr val="black"/>
                </a:solidFill>
                <a:latin typeface="Arial"/>
              </a:endParaRPr>
            </a:p>
          </p:txBody>
        </p:sp>
        <p:sp>
          <p:nvSpPr>
            <p:cNvPr id="49" name="Forme libre 48">
              <a:extLst>
                <a:ext uri="{FF2B5EF4-FFF2-40B4-BE49-F238E27FC236}">
                  <a16:creationId xmlns:a16="http://schemas.microsoft.com/office/drawing/2014/main" id="{D6129413-6220-74B0-96CC-0530B49DC45E}"/>
                </a:ext>
              </a:extLst>
            </p:cNvPr>
            <p:cNvSpPr/>
            <p:nvPr/>
          </p:nvSpPr>
          <p:spPr>
            <a:xfrm>
              <a:off x="6502502" y="2253046"/>
              <a:ext cx="1181484" cy="1727635"/>
            </a:xfrm>
            <a:custGeom>
              <a:avLst/>
              <a:gdLst>
                <a:gd name="connsiteX0" fmla="*/ 630494 w 1181484"/>
                <a:gd name="connsiteY0" fmla="*/ 0 h 1727635"/>
                <a:gd name="connsiteX1" fmla="*/ 62220 w 1181484"/>
                <a:gd name="connsiteY1" fmla="*/ 983764 h 1727635"/>
                <a:gd name="connsiteX2" fmla="*/ 0 w 1181484"/>
                <a:gd name="connsiteY2" fmla="*/ 1727635 h 1727635"/>
                <a:gd name="connsiteX3" fmla="*/ 613210 w 1181484"/>
                <a:gd name="connsiteY3" fmla="*/ 1301776 h 1727635"/>
                <a:gd name="connsiteX4" fmla="*/ 1181484 w 1181484"/>
                <a:gd name="connsiteY4" fmla="*/ 318012 h 1727635"/>
                <a:gd name="connsiteX5" fmla="*/ 630494 w 1181484"/>
                <a:gd name="connsiteY5" fmla="*/ 0 h 1727635"/>
                <a:gd name="connsiteX6" fmla="*/ 79503 w 1181484"/>
                <a:gd name="connsiteY6" fmla="*/ 1590061 h 1727635"/>
                <a:gd name="connsiteX7" fmla="*/ 124440 w 1181484"/>
                <a:gd name="connsiteY7" fmla="*/ 1049440 h 1727635"/>
                <a:gd name="connsiteX8" fmla="*/ 524720 w 1181484"/>
                <a:gd name="connsiteY8" fmla="*/ 1280345 h 1727635"/>
                <a:gd name="connsiteX9" fmla="*/ 79503 w 1181484"/>
                <a:gd name="connsiteY9" fmla="*/ 1590061 h 1727635"/>
                <a:gd name="connsiteX10" fmla="*/ 575187 w 1181484"/>
                <a:gd name="connsiteY10" fmla="*/ 1231951 h 1727635"/>
                <a:gd name="connsiteX11" fmla="*/ 141032 w 1181484"/>
                <a:gd name="connsiteY11" fmla="*/ 981690 h 1727635"/>
                <a:gd name="connsiteX12" fmla="*/ 654690 w 1181484"/>
                <a:gd name="connsiteY12" fmla="*/ 91947 h 1727635"/>
                <a:gd name="connsiteX13" fmla="*/ 660221 w 1181484"/>
                <a:gd name="connsiteY13" fmla="*/ 95404 h 1727635"/>
                <a:gd name="connsiteX14" fmla="*/ 1088155 w 1181484"/>
                <a:gd name="connsiteY14" fmla="*/ 342900 h 1727635"/>
                <a:gd name="connsiteX15" fmla="*/ 575187 w 1181484"/>
                <a:gd name="connsiteY15" fmla="*/ 1231951 h 172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1484" h="1727635">
                  <a:moveTo>
                    <a:pt x="630494" y="0"/>
                  </a:moveTo>
                  <a:lnTo>
                    <a:pt x="62220" y="983764"/>
                  </a:lnTo>
                  <a:lnTo>
                    <a:pt x="0" y="1727635"/>
                  </a:lnTo>
                  <a:lnTo>
                    <a:pt x="613210" y="1301776"/>
                  </a:lnTo>
                  <a:lnTo>
                    <a:pt x="1181484" y="318012"/>
                  </a:lnTo>
                  <a:lnTo>
                    <a:pt x="630494" y="0"/>
                  </a:lnTo>
                  <a:close/>
                  <a:moveTo>
                    <a:pt x="79503" y="1590061"/>
                  </a:moveTo>
                  <a:lnTo>
                    <a:pt x="124440" y="1049440"/>
                  </a:lnTo>
                  <a:lnTo>
                    <a:pt x="524720" y="1280345"/>
                  </a:lnTo>
                  <a:lnTo>
                    <a:pt x="79503" y="1590061"/>
                  </a:lnTo>
                  <a:close/>
                  <a:moveTo>
                    <a:pt x="575187" y="1231951"/>
                  </a:moveTo>
                  <a:lnTo>
                    <a:pt x="141032" y="981690"/>
                  </a:lnTo>
                  <a:lnTo>
                    <a:pt x="654690" y="91947"/>
                  </a:lnTo>
                  <a:lnTo>
                    <a:pt x="660221" y="95404"/>
                  </a:lnTo>
                  <a:lnTo>
                    <a:pt x="1088155" y="342900"/>
                  </a:lnTo>
                  <a:lnTo>
                    <a:pt x="575187" y="1231951"/>
                  </a:lnTo>
                  <a:close/>
                </a:path>
              </a:pathLst>
            </a:custGeom>
            <a:solidFill>
              <a:srgbClr val="FFFFFF"/>
            </a:solidFill>
            <a:ln w="6913" cap="flat">
              <a:noFill/>
              <a:prstDash val="solid"/>
              <a:miter/>
            </a:ln>
          </p:spPr>
          <p:txBody>
            <a:bodyPr rtlCol="0" anchor="ctr"/>
            <a:lstStyle/>
            <a:p>
              <a:pPr defTabSz="457189"/>
              <a:endParaRPr lang="fr-FR" sz="1350">
                <a:solidFill>
                  <a:prstClr val="black"/>
                </a:solidFill>
                <a:latin typeface="Arial"/>
              </a:endParaRPr>
            </a:p>
          </p:txBody>
        </p:sp>
        <p:sp>
          <p:nvSpPr>
            <p:cNvPr id="51" name="Forme libre 50">
              <a:extLst>
                <a:ext uri="{FF2B5EF4-FFF2-40B4-BE49-F238E27FC236}">
                  <a16:creationId xmlns:a16="http://schemas.microsoft.com/office/drawing/2014/main" id="{CADBB583-F12A-3A91-15A0-F0E51D47B635}"/>
                </a:ext>
              </a:extLst>
            </p:cNvPr>
            <p:cNvSpPr/>
            <p:nvPr/>
          </p:nvSpPr>
          <p:spPr>
            <a:xfrm>
              <a:off x="4369056" y="3066742"/>
              <a:ext cx="1760819" cy="1761510"/>
            </a:xfrm>
            <a:custGeom>
              <a:avLst/>
              <a:gdLst>
                <a:gd name="connsiteX0" fmla="*/ 1691686 w 1760819"/>
                <a:gd name="connsiteY0" fmla="*/ 537855 h 1761510"/>
                <a:gd name="connsiteX1" fmla="*/ 1502953 w 1760819"/>
                <a:gd name="connsiteY1" fmla="*/ 257866 h 1761510"/>
                <a:gd name="connsiteX2" fmla="*/ 1222964 w 1760819"/>
                <a:gd name="connsiteY2" fmla="*/ 69133 h 1761510"/>
                <a:gd name="connsiteX3" fmla="*/ 880755 w 1760819"/>
                <a:gd name="connsiteY3" fmla="*/ 0 h 1761510"/>
                <a:gd name="connsiteX4" fmla="*/ 880755 w 1760819"/>
                <a:gd name="connsiteY4" fmla="*/ 0 h 1761510"/>
                <a:gd name="connsiteX5" fmla="*/ 880755 w 1760819"/>
                <a:gd name="connsiteY5" fmla="*/ 0 h 1761510"/>
                <a:gd name="connsiteX6" fmla="*/ 880755 w 1760819"/>
                <a:gd name="connsiteY6" fmla="*/ 0 h 1761510"/>
                <a:gd name="connsiteX7" fmla="*/ 538547 w 1760819"/>
                <a:gd name="connsiteY7" fmla="*/ 69133 h 1761510"/>
                <a:gd name="connsiteX8" fmla="*/ 258558 w 1760819"/>
                <a:gd name="connsiteY8" fmla="*/ 257866 h 1761510"/>
                <a:gd name="connsiteX9" fmla="*/ 69824 w 1760819"/>
                <a:gd name="connsiteY9" fmla="*/ 537855 h 1761510"/>
                <a:gd name="connsiteX10" fmla="*/ 691 w 1760819"/>
                <a:gd name="connsiteY10" fmla="*/ 871768 h 1761510"/>
                <a:gd name="connsiteX11" fmla="*/ 0 w 1760819"/>
                <a:gd name="connsiteY11" fmla="*/ 880755 h 1761510"/>
                <a:gd name="connsiteX12" fmla="*/ 691 w 1760819"/>
                <a:gd name="connsiteY12" fmla="*/ 889742 h 1761510"/>
                <a:gd name="connsiteX13" fmla="*/ 69824 w 1760819"/>
                <a:gd name="connsiteY13" fmla="*/ 1222964 h 1761510"/>
                <a:gd name="connsiteX14" fmla="*/ 206708 w 1760819"/>
                <a:gd name="connsiteY14" fmla="*/ 1446264 h 1761510"/>
                <a:gd name="connsiteX15" fmla="*/ 218460 w 1760819"/>
                <a:gd name="connsiteY15" fmla="*/ 1460090 h 1761510"/>
                <a:gd name="connsiteX16" fmla="*/ 258558 w 1760819"/>
                <a:gd name="connsiteY16" fmla="*/ 1503644 h 1761510"/>
                <a:gd name="connsiteX17" fmla="*/ 538547 w 1760819"/>
                <a:gd name="connsiteY17" fmla="*/ 1692378 h 1761510"/>
                <a:gd name="connsiteX18" fmla="*/ 880755 w 1760819"/>
                <a:gd name="connsiteY18" fmla="*/ 1761511 h 1761510"/>
                <a:gd name="connsiteX19" fmla="*/ 880755 w 1760819"/>
                <a:gd name="connsiteY19" fmla="*/ 1761511 h 1761510"/>
                <a:gd name="connsiteX20" fmla="*/ 880755 w 1760819"/>
                <a:gd name="connsiteY20" fmla="*/ 1761511 h 1761510"/>
                <a:gd name="connsiteX21" fmla="*/ 880755 w 1760819"/>
                <a:gd name="connsiteY21" fmla="*/ 1761511 h 1761510"/>
                <a:gd name="connsiteX22" fmla="*/ 1222964 w 1760819"/>
                <a:gd name="connsiteY22" fmla="*/ 1692378 h 1761510"/>
                <a:gd name="connsiteX23" fmla="*/ 1502953 w 1760819"/>
                <a:gd name="connsiteY23" fmla="*/ 1503644 h 1761510"/>
                <a:gd name="connsiteX24" fmla="*/ 1691686 w 1760819"/>
                <a:gd name="connsiteY24" fmla="*/ 1223655 h 1761510"/>
                <a:gd name="connsiteX25" fmla="*/ 1760819 w 1760819"/>
                <a:gd name="connsiteY25" fmla="*/ 881446 h 1761510"/>
                <a:gd name="connsiteX26" fmla="*/ 1691686 w 1760819"/>
                <a:gd name="connsiteY26" fmla="*/ 537855 h 1761510"/>
                <a:gd name="connsiteX27" fmla="*/ 1506410 w 1760819"/>
                <a:gd name="connsiteY27" fmla="*/ 1372983 h 1761510"/>
                <a:gd name="connsiteX28" fmla="*/ 1471843 w 1760819"/>
                <a:gd name="connsiteY28" fmla="*/ 1357773 h 1761510"/>
                <a:gd name="connsiteX29" fmla="*/ 1470460 w 1760819"/>
                <a:gd name="connsiteY29" fmla="*/ 1357082 h 1761510"/>
                <a:gd name="connsiteX30" fmla="*/ 1406167 w 1760819"/>
                <a:gd name="connsiteY30" fmla="*/ 1331503 h 1761510"/>
                <a:gd name="connsiteX31" fmla="*/ 1404093 w 1760819"/>
                <a:gd name="connsiteY31" fmla="*/ 1330811 h 1761510"/>
                <a:gd name="connsiteX32" fmla="*/ 1337725 w 1760819"/>
                <a:gd name="connsiteY32" fmla="*/ 1308689 h 1761510"/>
                <a:gd name="connsiteX33" fmla="*/ 1335651 w 1760819"/>
                <a:gd name="connsiteY33" fmla="*/ 1307998 h 1761510"/>
                <a:gd name="connsiteX34" fmla="*/ 1294171 w 1760819"/>
                <a:gd name="connsiteY34" fmla="*/ 1296245 h 1761510"/>
                <a:gd name="connsiteX35" fmla="*/ 1348095 w 1760819"/>
                <a:gd name="connsiteY35" fmla="*/ 922235 h 1761510"/>
                <a:gd name="connsiteX36" fmla="*/ 1676477 w 1760819"/>
                <a:gd name="connsiteY36" fmla="*/ 922235 h 1761510"/>
                <a:gd name="connsiteX37" fmla="*/ 1506410 w 1760819"/>
                <a:gd name="connsiteY37" fmla="*/ 1372983 h 1761510"/>
                <a:gd name="connsiteX38" fmla="*/ 922235 w 1760819"/>
                <a:gd name="connsiteY38" fmla="*/ 1675786 h 1761510"/>
                <a:gd name="connsiteX39" fmla="*/ 922235 w 1760819"/>
                <a:gd name="connsiteY39" fmla="*/ 1323207 h 1761510"/>
                <a:gd name="connsiteX40" fmla="*/ 981690 w 1760819"/>
                <a:gd name="connsiteY40" fmla="*/ 1325281 h 1761510"/>
                <a:gd name="connsiteX41" fmla="*/ 1048749 w 1760819"/>
                <a:gd name="connsiteY41" fmla="*/ 1331503 h 1761510"/>
                <a:gd name="connsiteX42" fmla="*/ 1115808 w 1760819"/>
                <a:gd name="connsiteY42" fmla="*/ 1341181 h 1761510"/>
                <a:gd name="connsiteX43" fmla="*/ 1181484 w 1760819"/>
                <a:gd name="connsiteY43" fmla="*/ 1352934 h 1761510"/>
                <a:gd name="connsiteX44" fmla="*/ 1189089 w 1760819"/>
                <a:gd name="connsiteY44" fmla="*/ 1355008 h 1761510"/>
                <a:gd name="connsiteX45" fmla="*/ 1055662 w 1760819"/>
                <a:gd name="connsiteY45" fmla="*/ 1657119 h 1761510"/>
                <a:gd name="connsiteX46" fmla="*/ 922235 w 1760819"/>
                <a:gd name="connsiteY46" fmla="*/ 1675786 h 1761510"/>
                <a:gd name="connsiteX47" fmla="*/ 708614 w 1760819"/>
                <a:gd name="connsiteY47" fmla="*/ 1657811 h 1761510"/>
                <a:gd name="connsiteX48" fmla="*/ 573805 w 1760819"/>
                <a:gd name="connsiteY48" fmla="*/ 1355699 h 1761510"/>
                <a:gd name="connsiteX49" fmla="*/ 580718 w 1760819"/>
                <a:gd name="connsiteY49" fmla="*/ 1354317 h 1761510"/>
                <a:gd name="connsiteX50" fmla="*/ 646394 w 1760819"/>
                <a:gd name="connsiteY50" fmla="*/ 1342564 h 1761510"/>
                <a:gd name="connsiteX51" fmla="*/ 713453 w 1760819"/>
                <a:gd name="connsiteY51" fmla="*/ 1332886 h 1761510"/>
                <a:gd name="connsiteX52" fmla="*/ 781204 w 1760819"/>
                <a:gd name="connsiteY52" fmla="*/ 1326664 h 1761510"/>
                <a:gd name="connsiteX53" fmla="*/ 839967 w 1760819"/>
                <a:gd name="connsiteY53" fmla="*/ 1323898 h 1761510"/>
                <a:gd name="connsiteX54" fmla="*/ 839967 w 1760819"/>
                <a:gd name="connsiteY54" fmla="*/ 1675786 h 1761510"/>
                <a:gd name="connsiteX55" fmla="*/ 708614 w 1760819"/>
                <a:gd name="connsiteY55" fmla="*/ 1657811 h 1761510"/>
                <a:gd name="connsiteX56" fmla="*/ 290359 w 1760819"/>
                <a:gd name="connsiteY56" fmla="*/ 1359156 h 1761510"/>
                <a:gd name="connsiteX57" fmla="*/ 257175 w 1760819"/>
                <a:gd name="connsiteY57" fmla="*/ 1374366 h 1761510"/>
                <a:gd name="connsiteX58" fmla="*/ 86416 w 1760819"/>
                <a:gd name="connsiteY58" fmla="*/ 922235 h 1761510"/>
                <a:gd name="connsiteX59" fmla="*/ 414799 w 1760819"/>
                <a:gd name="connsiteY59" fmla="*/ 922235 h 1761510"/>
                <a:gd name="connsiteX60" fmla="*/ 469414 w 1760819"/>
                <a:gd name="connsiteY60" fmla="*/ 1296245 h 1761510"/>
                <a:gd name="connsiteX61" fmla="*/ 425860 w 1760819"/>
                <a:gd name="connsiteY61" fmla="*/ 1308689 h 1761510"/>
                <a:gd name="connsiteX62" fmla="*/ 423786 w 1760819"/>
                <a:gd name="connsiteY62" fmla="*/ 1309380 h 1761510"/>
                <a:gd name="connsiteX63" fmla="*/ 358801 w 1760819"/>
                <a:gd name="connsiteY63" fmla="*/ 1331503 h 1761510"/>
                <a:gd name="connsiteX64" fmla="*/ 356727 w 1760819"/>
                <a:gd name="connsiteY64" fmla="*/ 1332194 h 1761510"/>
                <a:gd name="connsiteX65" fmla="*/ 292433 w 1760819"/>
                <a:gd name="connsiteY65" fmla="*/ 1357773 h 1761510"/>
                <a:gd name="connsiteX66" fmla="*/ 290359 w 1760819"/>
                <a:gd name="connsiteY66" fmla="*/ 1359156 h 1761510"/>
                <a:gd name="connsiteX67" fmla="*/ 256484 w 1760819"/>
                <a:gd name="connsiteY67" fmla="*/ 386454 h 1761510"/>
                <a:gd name="connsiteX68" fmla="*/ 290359 w 1760819"/>
                <a:gd name="connsiteY68" fmla="*/ 401663 h 1761510"/>
                <a:gd name="connsiteX69" fmla="*/ 291742 w 1760819"/>
                <a:gd name="connsiteY69" fmla="*/ 402354 h 1761510"/>
                <a:gd name="connsiteX70" fmla="*/ 356035 w 1760819"/>
                <a:gd name="connsiteY70" fmla="*/ 427934 h 1761510"/>
                <a:gd name="connsiteX71" fmla="*/ 358109 w 1760819"/>
                <a:gd name="connsiteY71" fmla="*/ 428625 h 1761510"/>
                <a:gd name="connsiteX72" fmla="*/ 423094 w 1760819"/>
                <a:gd name="connsiteY72" fmla="*/ 450747 h 1761510"/>
                <a:gd name="connsiteX73" fmla="*/ 424477 w 1760819"/>
                <a:gd name="connsiteY73" fmla="*/ 451439 h 1761510"/>
                <a:gd name="connsiteX74" fmla="*/ 464574 w 1760819"/>
                <a:gd name="connsiteY74" fmla="*/ 463192 h 1761510"/>
                <a:gd name="connsiteX75" fmla="*/ 413416 w 1760819"/>
                <a:gd name="connsiteY75" fmla="*/ 838584 h 1761510"/>
                <a:gd name="connsiteX76" fmla="*/ 85034 w 1760819"/>
                <a:gd name="connsiteY76" fmla="*/ 838584 h 1761510"/>
                <a:gd name="connsiteX77" fmla="*/ 256484 w 1760819"/>
                <a:gd name="connsiteY77" fmla="*/ 386454 h 1761510"/>
                <a:gd name="connsiteX78" fmla="*/ 839275 w 1760819"/>
                <a:gd name="connsiteY78" fmla="*/ 84342 h 1761510"/>
                <a:gd name="connsiteX79" fmla="*/ 839275 w 1760819"/>
                <a:gd name="connsiteY79" fmla="*/ 437612 h 1761510"/>
                <a:gd name="connsiteX80" fmla="*/ 780512 w 1760819"/>
                <a:gd name="connsiteY80" fmla="*/ 434847 h 1761510"/>
                <a:gd name="connsiteX81" fmla="*/ 712762 w 1760819"/>
                <a:gd name="connsiteY81" fmla="*/ 428625 h 1761510"/>
                <a:gd name="connsiteX82" fmla="*/ 646394 w 1760819"/>
                <a:gd name="connsiteY82" fmla="*/ 418946 h 1761510"/>
                <a:gd name="connsiteX83" fmla="*/ 580027 w 1760819"/>
                <a:gd name="connsiteY83" fmla="*/ 405811 h 1761510"/>
                <a:gd name="connsiteX84" fmla="*/ 568965 w 1760819"/>
                <a:gd name="connsiteY84" fmla="*/ 403046 h 1761510"/>
                <a:gd name="connsiteX85" fmla="*/ 698244 w 1760819"/>
                <a:gd name="connsiteY85" fmla="*/ 104391 h 1761510"/>
                <a:gd name="connsiteX86" fmla="*/ 839275 w 1760819"/>
                <a:gd name="connsiteY86" fmla="*/ 84342 h 1761510"/>
                <a:gd name="connsiteX87" fmla="*/ 1061193 w 1760819"/>
                <a:gd name="connsiteY87" fmla="*/ 104391 h 1761510"/>
                <a:gd name="connsiteX88" fmla="*/ 1191854 w 1760819"/>
                <a:gd name="connsiteY88" fmla="*/ 404428 h 1761510"/>
                <a:gd name="connsiteX89" fmla="*/ 1181484 w 1760819"/>
                <a:gd name="connsiteY89" fmla="*/ 406502 h 1761510"/>
                <a:gd name="connsiteX90" fmla="*/ 1115808 w 1760819"/>
                <a:gd name="connsiteY90" fmla="*/ 419638 h 1761510"/>
                <a:gd name="connsiteX91" fmla="*/ 1049440 w 1760819"/>
                <a:gd name="connsiteY91" fmla="*/ 428625 h 1761510"/>
                <a:gd name="connsiteX92" fmla="*/ 981690 w 1760819"/>
                <a:gd name="connsiteY92" fmla="*/ 434847 h 1761510"/>
                <a:gd name="connsiteX93" fmla="*/ 922235 w 1760819"/>
                <a:gd name="connsiteY93" fmla="*/ 437612 h 1761510"/>
                <a:gd name="connsiteX94" fmla="*/ 922235 w 1760819"/>
                <a:gd name="connsiteY94" fmla="*/ 84342 h 1761510"/>
                <a:gd name="connsiteX95" fmla="*/ 1061193 w 1760819"/>
                <a:gd name="connsiteY95" fmla="*/ 104391 h 1761510"/>
                <a:gd name="connsiteX96" fmla="*/ 1213285 w 1760819"/>
                <a:gd name="connsiteY96" fmla="*/ 1275505 h 1761510"/>
                <a:gd name="connsiteX97" fmla="*/ 1200841 w 1760819"/>
                <a:gd name="connsiteY97" fmla="*/ 1272740 h 1761510"/>
                <a:gd name="connsiteX98" fmla="*/ 1198767 w 1760819"/>
                <a:gd name="connsiteY98" fmla="*/ 1272048 h 1761510"/>
                <a:gd name="connsiteX99" fmla="*/ 1131017 w 1760819"/>
                <a:gd name="connsiteY99" fmla="*/ 1259604 h 1761510"/>
                <a:gd name="connsiteX100" fmla="*/ 1129634 w 1760819"/>
                <a:gd name="connsiteY100" fmla="*/ 1259604 h 1761510"/>
                <a:gd name="connsiteX101" fmla="*/ 1061193 w 1760819"/>
                <a:gd name="connsiteY101" fmla="*/ 1249926 h 1761510"/>
                <a:gd name="connsiteX102" fmla="*/ 1059119 w 1760819"/>
                <a:gd name="connsiteY102" fmla="*/ 1249926 h 1761510"/>
                <a:gd name="connsiteX103" fmla="*/ 989985 w 1760819"/>
                <a:gd name="connsiteY103" fmla="*/ 1243013 h 1761510"/>
                <a:gd name="connsiteX104" fmla="*/ 987220 w 1760819"/>
                <a:gd name="connsiteY104" fmla="*/ 1243013 h 1761510"/>
                <a:gd name="connsiteX105" fmla="*/ 923618 w 1760819"/>
                <a:gd name="connsiteY105" fmla="*/ 1240938 h 1761510"/>
                <a:gd name="connsiteX106" fmla="*/ 923618 w 1760819"/>
                <a:gd name="connsiteY106" fmla="*/ 922235 h 1761510"/>
                <a:gd name="connsiteX107" fmla="*/ 1265135 w 1760819"/>
                <a:gd name="connsiteY107" fmla="*/ 922235 h 1761510"/>
                <a:gd name="connsiteX108" fmla="*/ 1213285 w 1760819"/>
                <a:gd name="connsiteY108" fmla="*/ 1275505 h 1761510"/>
                <a:gd name="connsiteX109" fmla="*/ 562052 w 1760819"/>
                <a:gd name="connsiteY109" fmla="*/ 1272740 h 1761510"/>
                <a:gd name="connsiteX110" fmla="*/ 550299 w 1760819"/>
                <a:gd name="connsiteY110" fmla="*/ 1275505 h 1761510"/>
                <a:gd name="connsiteX111" fmla="*/ 498449 w 1760819"/>
                <a:gd name="connsiteY111" fmla="*/ 922235 h 1761510"/>
                <a:gd name="connsiteX112" fmla="*/ 839275 w 1760819"/>
                <a:gd name="connsiteY112" fmla="*/ 922235 h 1761510"/>
                <a:gd name="connsiteX113" fmla="*/ 839275 w 1760819"/>
                <a:gd name="connsiteY113" fmla="*/ 1239556 h 1761510"/>
                <a:gd name="connsiteX114" fmla="*/ 775673 w 1760819"/>
                <a:gd name="connsiteY114" fmla="*/ 1242321 h 1761510"/>
                <a:gd name="connsiteX115" fmla="*/ 773599 w 1760819"/>
                <a:gd name="connsiteY115" fmla="*/ 1242321 h 1761510"/>
                <a:gd name="connsiteX116" fmla="*/ 704466 w 1760819"/>
                <a:gd name="connsiteY116" fmla="*/ 1249234 h 1761510"/>
                <a:gd name="connsiteX117" fmla="*/ 702392 w 1760819"/>
                <a:gd name="connsiteY117" fmla="*/ 1249234 h 1761510"/>
                <a:gd name="connsiteX118" fmla="*/ 633950 w 1760819"/>
                <a:gd name="connsiteY118" fmla="*/ 1258913 h 1761510"/>
                <a:gd name="connsiteX119" fmla="*/ 632568 w 1760819"/>
                <a:gd name="connsiteY119" fmla="*/ 1258913 h 1761510"/>
                <a:gd name="connsiteX120" fmla="*/ 564817 w 1760819"/>
                <a:gd name="connsiteY120" fmla="*/ 1271357 h 1761510"/>
                <a:gd name="connsiteX121" fmla="*/ 562052 w 1760819"/>
                <a:gd name="connsiteY121" fmla="*/ 1272740 h 1761510"/>
                <a:gd name="connsiteX122" fmla="*/ 546151 w 1760819"/>
                <a:gd name="connsiteY122" fmla="*/ 483931 h 1761510"/>
                <a:gd name="connsiteX123" fmla="*/ 562052 w 1760819"/>
                <a:gd name="connsiteY123" fmla="*/ 487388 h 1761510"/>
                <a:gd name="connsiteX124" fmla="*/ 563435 w 1760819"/>
                <a:gd name="connsiteY124" fmla="*/ 487388 h 1761510"/>
                <a:gd name="connsiteX125" fmla="*/ 631185 w 1760819"/>
                <a:gd name="connsiteY125" fmla="*/ 500523 h 1761510"/>
                <a:gd name="connsiteX126" fmla="*/ 633259 w 1760819"/>
                <a:gd name="connsiteY126" fmla="*/ 500523 h 1761510"/>
                <a:gd name="connsiteX127" fmla="*/ 701701 w 1760819"/>
                <a:gd name="connsiteY127" fmla="*/ 510202 h 1761510"/>
                <a:gd name="connsiteX128" fmla="*/ 703775 w 1760819"/>
                <a:gd name="connsiteY128" fmla="*/ 510202 h 1761510"/>
                <a:gd name="connsiteX129" fmla="*/ 772908 w 1760819"/>
                <a:gd name="connsiteY129" fmla="*/ 517115 h 1761510"/>
                <a:gd name="connsiteX130" fmla="*/ 774982 w 1760819"/>
                <a:gd name="connsiteY130" fmla="*/ 517115 h 1761510"/>
                <a:gd name="connsiteX131" fmla="*/ 838584 w 1760819"/>
                <a:gd name="connsiteY131" fmla="*/ 519881 h 1761510"/>
                <a:gd name="connsiteX132" fmla="*/ 838584 w 1760819"/>
                <a:gd name="connsiteY132" fmla="*/ 837201 h 1761510"/>
                <a:gd name="connsiteX133" fmla="*/ 497758 w 1760819"/>
                <a:gd name="connsiteY133" fmla="*/ 837201 h 1761510"/>
                <a:gd name="connsiteX134" fmla="*/ 546151 w 1760819"/>
                <a:gd name="connsiteY134" fmla="*/ 483931 h 1761510"/>
                <a:gd name="connsiteX135" fmla="*/ 922235 w 1760819"/>
                <a:gd name="connsiteY135" fmla="*/ 838584 h 1761510"/>
                <a:gd name="connsiteX136" fmla="*/ 922235 w 1760819"/>
                <a:gd name="connsiteY136" fmla="*/ 521263 h 1761510"/>
                <a:gd name="connsiteX137" fmla="*/ 986529 w 1760819"/>
                <a:gd name="connsiteY137" fmla="*/ 518498 h 1761510"/>
                <a:gd name="connsiteX138" fmla="*/ 988603 w 1760819"/>
                <a:gd name="connsiteY138" fmla="*/ 518498 h 1761510"/>
                <a:gd name="connsiteX139" fmla="*/ 1057736 w 1760819"/>
                <a:gd name="connsiteY139" fmla="*/ 511584 h 1761510"/>
                <a:gd name="connsiteX140" fmla="*/ 1059119 w 1760819"/>
                <a:gd name="connsiteY140" fmla="*/ 511584 h 1761510"/>
                <a:gd name="connsiteX141" fmla="*/ 1127560 w 1760819"/>
                <a:gd name="connsiteY141" fmla="*/ 502597 h 1761510"/>
                <a:gd name="connsiteX142" fmla="*/ 1130326 w 1760819"/>
                <a:gd name="connsiteY142" fmla="*/ 501906 h 1761510"/>
                <a:gd name="connsiteX143" fmla="*/ 1198076 w 1760819"/>
                <a:gd name="connsiteY143" fmla="*/ 488771 h 1761510"/>
                <a:gd name="connsiteX144" fmla="*/ 1199459 w 1760819"/>
                <a:gd name="connsiteY144" fmla="*/ 488771 h 1761510"/>
                <a:gd name="connsiteX145" fmla="*/ 1214668 w 1760819"/>
                <a:gd name="connsiteY145" fmla="*/ 485314 h 1761510"/>
                <a:gd name="connsiteX146" fmla="*/ 1263753 w 1760819"/>
                <a:gd name="connsiteY146" fmla="*/ 839275 h 1761510"/>
                <a:gd name="connsiteX147" fmla="*/ 922235 w 1760819"/>
                <a:gd name="connsiteY147" fmla="*/ 839275 h 1761510"/>
                <a:gd name="connsiteX148" fmla="*/ 1348095 w 1760819"/>
                <a:gd name="connsiteY148" fmla="*/ 838584 h 1761510"/>
                <a:gd name="connsiteX149" fmla="*/ 1296245 w 1760819"/>
                <a:gd name="connsiteY149" fmla="*/ 463883 h 1761510"/>
                <a:gd name="connsiteX150" fmla="*/ 1336342 w 1760819"/>
                <a:gd name="connsiteY150" fmla="*/ 452130 h 1761510"/>
                <a:gd name="connsiteX151" fmla="*/ 1337725 w 1760819"/>
                <a:gd name="connsiteY151" fmla="*/ 451439 h 1761510"/>
                <a:gd name="connsiteX152" fmla="*/ 1404093 w 1760819"/>
                <a:gd name="connsiteY152" fmla="*/ 429316 h 1761510"/>
                <a:gd name="connsiteX153" fmla="*/ 1405475 w 1760819"/>
                <a:gd name="connsiteY153" fmla="*/ 428625 h 1761510"/>
                <a:gd name="connsiteX154" fmla="*/ 1469769 w 1760819"/>
                <a:gd name="connsiteY154" fmla="*/ 403737 h 1761510"/>
                <a:gd name="connsiteX155" fmla="*/ 1471843 w 1760819"/>
                <a:gd name="connsiteY155" fmla="*/ 403046 h 1761510"/>
                <a:gd name="connsiteX156" fmla="*/ 1506410 w 1760819"/>
                <a:gd name="connsiteY156" fmla="*/ 387145 h 1761510"/>
                <a:gd name="connsiteX157" fmla="*/ 1676477 w 1760819"/>
                <a:gd name="connsiteY157" fmla="*/ 838584 h 1761510"/>
                <a:gd name="connsiteX158" fmla="*/ 1348095 w 1760819"/>
                <a:gd name="connsiteY158" fmla="*/ 838584 h 1761510"/>
                <a:gd name="connsiteX159" fmla="*/ 1449029 w 1760819"/>
                <a:gd name="connsiteY159" fmla="*/ 322160 h 1761510"/>
                <a:gd name="connsiteX160" fmla="*/ 1439350 w 1760819"/>
                <a:gd name="connsiteY160" fmla="*/ 326999 h 1761510"/>
                <a:gd name="connsiteX161" fmla="*/ 1377131 w 1760819"/>
                <a:gd name="connsiteY161" fmla="*/ 351196 h 1761510"/>
                <a:gd name="connsiteX162" fmla="*/ 1312837 w 1760819"/>
                <a:gd name="connsiteY162" fmla="*/ 373319 h 1761510"/>
                <a:gd name="connsiteX163" fmla="*/ 1274122 w 1760819"/>
                <a:gd name="connsiteY163" fmla="*/ 385071 h 1761510"/>
                <a:gd name="connsiteX164" fmla="*/ 1175953 w 1760819"/>
                <a:gd name="connsiteY164" fmla="*/ 141031 h 1761510"/>
                <a:gd name="connsiteX165" fmla="*/ 1449029 w 1760819"/>
                <a:gd name="connsiteY165" fmla="*/ 322160 h 1761510"/>
                <a:gd name="connsiteX166" fmla="*/ 584866 w 1760819"/>
                <a:gd name="connsiteY166" fmla="*/ 140340 h 1761510"/>
                <a:gd name="connsiteX167" fmla="*/ 488079 w 1760819"/>
                <a:gd name="connsiteY167" fmla="*/ 382306 h 1761510"/>
                <a:gd name="connsiteX168" fmla="*/ 449365 w 1760819"/>
                <a:gd name="connsiteY168" fmla="*/ 371244 h 1761510"/>
                <a:gd name="connsiteX169" fmla="*/ 385763 w 1760819"/>
                <a:gd name="connsiteY169" fmla="*/ 349813 h 1761510"/>
                <a:gd name="connsiteX170" fmla="*/ 322851 w 1760819"/>
                <a:gd name="connsiteY170" fmla="*/ 324925 h 1761510"/>
                <a:gd name="connsiteX171" fmla="*/ 313864 w 1760819"/>
                <a:gd name="connsiteY171" fmla="*/ 320777 h 1761510"/>
                <a:gd name="connsiteX172" fmla="*/ 584866 w 1760819"/>
                <a:gd name="connsiteY172" fmla="*/ 140340 h 1761510"/>
                <a:gd name="connsiteX173" fmla="*/ 314556 w 1760819"/>
                <a:gd name="connsiteY173" fmla="*/ 1439350 h 1761510"/>
                <a:gd name="connsiteX174" fmla="*/ 323543 w 1760819"/>
                <a:gd name="connsiteY174" fmla="*/ 1435203 h 1761510"/>
                <a:gd name="connsiteX175" fmla="*/ 385763 w 1760819"/>
                <a:gd name="connsiteY175" fmla="*/ 1410314 h 1761510"/>
                <a:gd name="connsiteX176" fmla="*/ 449365 w 1760819"/>
                <a:gd name="connsiteY176" fmla="*/ 1388883 h 1761510"/>
                <a:gd name="connsiteX177" fmla="*/ 492227 w 1760819"/>
                <a:gd name="connsiteY177" fmla="*/ 1376439 h 1761510"/>
                <a:gd name="connsiteX178" fmla="*/ 594544 w 1760819"/>
                <a:gd name="connsiteY178" fmla="*/ 1623245 h 1761510"/>
                <a:gd name="connsiteX179" fmla="*/ 314556 w 1760819"/>
                <a:gd name="connsiteY179" fmla="*/ 1439350 h 1761510"/>
                <a:gd name="connsiteX180" fmla="*/ 1169731 w 1760819"/>
                <a:gd name="connsiteY180" fmla="*/ 1622553 h 1761510"/>
                <a:gd name="connsiteX181" fmla="*/ 1270666 w 1760819"/>
                <a:gd name="connsiteY181" fmla="*/ 1376439 h 1761510"/>
                <a:gd name="connsiteX182" fmla="*/ 1311454 w 1760819"/>
                <a:gd name="connsiteY182" fmla="*/ 1388192 h 1761510"/>
                <a:gd name="connsiteX183" fmla="*/ 1375748 w 1760819"/>
                <a:gd name="connsiteY183" fmla="*/ 1409623 h 1761510"/>
                <a:gd name="connsiteX184" fmla="*/ 1438659 w 1760819"/>
                <a:gd name="connsiteY184" fmla="*/ 1434511 h 1761510"/>
                <a:gd name="connsiteX185" fmla="*/ 1448338 w 1760819"/>
                <a:gd name="connsiteY185" fmla="*/ 1438659 h 1761510"/>
                <a:gd name="connsiteX186" fmla="*/ 1169731 w 1760819"/>
                <a:gd name="connsiteY186" fmla="*/ 1622553 h 17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1760819" h="1761510">
                  <a:moveTo>
                    <a:pt x="1691686" y="537855"/>
                  </a:moveTo>
                  <a:cubicBezTo>
                    <a:pt x="1647441" y="432773"/>
                    <a:pt x="1583839" y="338752"/>
                    <a:pt x="1502953" y="257866"/>
                  </a:cubicBezTo>
                  <a:cubicBezTo>
                    <a:pt x="1422067" y="176981"/>
                    <a:pt x="1328046" y="113378"/>
                    <a:pt x="1222964" y="69133"/>
                  </a:cubicBezTo>
                  <a:cubicBezTo>
                    <a:pt x="1114425" y="23505"/>
                    <a:pt x="998973" y="0"/>
                    <a:pt x="880755" y="0"/>
                  </a:cubicBezTo>
                  <a:cubicBezTo>
                    <a:pt x="880755" y="0"/>
                    <a:pt x="880755" y="0"/>
                    <a:pt x="880755" y="0"/>
                  </a:cubicBezTo>
                  <a:cubicBezTo>
                    <a:pt x="880755" y="0"/>
                    <a:pt x="880755" y="0"/>
                    <a:pt x="880755" y="0"/>
                  </a:cubicBezTo>
                  <a:cubicBezTo>
                    <a:pt x="880755" y="0"/>
                    <a:pt x="880755" y="0"/>
                    <a:pt x="880755" y="0"/>
                  </a:cubicBezTo>
                  <a:cubicBezTo>
                    <a:pt x="761846" y="0"/>
                    <a:pt x="647085" y="23505"/>
                    <a:pt x="538547" y="69133"/>
                  </a:cubicBezTo>
                  <a:cubicBezTo>
                    <a:pt x="433464" y="113378"/>
                    <a:pt x="339443" y="176981"/>
                    <a:pt x="258558" y="257866"/>
                  </a:cubicBezTo>
                  <a:cubicBezTo>
                    <a:pt x="177672" y="338752"/>
                    <a:pt x="114070" y="432773"/>
                    <a:pt x="69824" y="537855"/>
                  </a:cubicBezTo>
                  <a:cubicBezTo>
                    <a:pt x="24888" y="643629"/>
                    <a:pt x="2074" y="756316"/>
                    <a:pt x="691" y="871768"/>
                  </a:cubicBezTo>
                  <a:cubicBezTo>
                    <a:pt x="0" y="874533"/>
                    <a:pt x="0" y="877299"/>
                    <a:pt x="0" y="880755"/>
                  </a:cubicBezTo>
                  <a:cubicBezTo>
                    <a:pt x="0" y="883521"/>
                    <a:pt x="0" y="886977"/>
                    <a:pt x="691" y="889742"/>
                  </a:cubicBezTo>
                  <a:cubicBezTo>
                    <a:pt x="2074" y="1005195"/>
                    <a:pt x="24888" y="1117190"/>
                    <a:pt x="69824" y="1222964"/>
                  </a:cubicBezTo>
                  <a:cubicBezTo>
                    <a:pt x="104391" y="1303850"/>
                    <a:pt x="150019" y="1378513"/>
                    <a:pt x="206708" y="1446264"/>
                  </a:cubicBezTo>
                  <a:cubicBezTo>
                    <a:pt x="209473" y="1451794"/>
                    <a:pt x="213621" y="1455942"/>
                    <a:pt x="218460" y="1460090"/>
                  </a:cubicBezTo>
                  <a:cubicBezTo>
                    <a:pt x="231596" y="1474608"/>
                    <a:pt x="244731" y="1489126"/>
                    <a:pt x="258558" y="1503644"/>
                  </a:cubicBezTo>
                  <a:cubicBezTo>
                    <a:pt x="339443" y="1584530"/>
                    <a:pt x="433464" y="1648132"/>
                    <a:pt x="538547" y="1692378"/>
                  </a:cubicBezTo>
                  <a:cubicBezTo>
                    <a:pt x="647085" y="1738005"/>
                    <a:pt x="761846" y="1761511"/>
                    <a:pt x="880755" y="1761511"/>
                  </a:cubicBezTo>
                  <a:cubicBezTo>
                    <a:pt x="880755" y="1761511"/>
                    <a:pt x="880755" y="1761511"/>
                    <a:pt x="880755" y="1761511"/>
                  </a:cubicBezTo>
                  <a:cubicBezTo>
                    <a:pt x="880755" y="1761511"/>
                    <a:pt x="880755" y="1761511"/>
                    <a:pt x="880755" y="1761511"/>
                  </a:cubicBezTo>
                  <a:cubicBezTo>
                    <a:pt x="880755" y="1761511"/>
                    <a:pt x="880755" y="1761511"/>
                    <a:pt x="880755" y="1761511"/>
                  </a:cubicBezTo>
                  <a:cubicBezTo>
                    <a:pt x="999664" y="1761511"/>
                    <a:pt x="1115116" y="1738005"/>
                    <a:pt x="1222964" y="1692378"/>
                  </a:cubicBezTo>
                  <a:cubicBezTo>
                    <a:pt x="1328046" y="1648132"/>
                    <a:pt x="1422067" y="1584530"/>
                    <a:pt x="1502953" y="1503644"/>
                  </a:cubicBezTo>
                  <a:cubicBezTo>
                    <a:pt x="1583839" y="1422759"/>
                    <a:pt x="1647441" y="1328737"/>
                    <a:pt x="1691686" y="1223655"/>
                  </a:cubicBezTo>
                  <a:cubicBezTo>
                    <a:pt x="1737314" y="1115117"/>
                    <a:pt x="1760819" y="999664"/>
                    <a:pt x="1760819" y="881446"/>
                  </a:cubicBezTo>
                  <a:cubicBezTo>
                    <a:pt x="1760819" y="761155"/>
                    <a:pt x="1738005" y="646394"/>
                    <a:pt x="1691686" y="537855"/>
                  </a:cubicBezTo>
                  <a:close/>
                  <a:moveTo>
                    <a:pt x="1506410" y="1372983"/>
                  </a:moveTo>
                  <a:lnTo>
                    <a:pt x="1471843" y="1357773"/>
                  </a:lnTo>
                  <a:cubicBezTo>
                    <a:pt x="1471152" y="1357773"/>
                    <a:pt x="1471152" y="1357082"/>
                    <a:pt x="1470460" y="1357082"/>
                  </a:cubicBezTo>
                  <a:lnTo>
                    <a:pt x="1406167" y="1331503"/>
                  </a:lnTo>
                  <a:cubicBezTo>
                    <a:pt x="1405475" y="1331503"/>
                    <a:pt x="1404784" y="1330811"/>
                    <a:pt x="1404093" y="1330811"/>
                  </a:cubicBezTo>
                  <a:lnTo>
                    <a:pt x="1337725" y="1308689"/>
                  </a:lnTo>
                  <a:cubicBezTo>
                    <a:pt x="1337034" y="1308689"/>
                    <a:pt x="1336342" y="1307998"/>
                    <a:pt x="1335651" y="1307998"/>
                  </a:cubicBezTo>
                  <a:lnTo>
                    <a:pt x="1294171" y="1296245"/>
                  </a:lnTo>
                  <a:cubicBezTo>
                    <a:pt x="1325972" y="1174571"/>
                    <a:pt x="1344638" y="1048749"/>
                    <a:pt x="1348095" y="922235"/>
                  </a:cubicBezTo>
                  <a:lnTo>
                    <a:pt x="1676477" y="922235"/>
                  </a:lnTo>
                  <a:cubicBezTo>
                    <a:pt x="1667490" y="1091611"/>
                    <a:pt x="1605270" y="1247852"/>
                    <a:pt x="1506410" y="1372983"/>
                  </a:cubicBezTo>
                  <a:close/>
                  <a:moveTo>
                    <a:pt x="922235" y="1675786"/>
                  </a:moveTo>
                  <a:lnTo>
                    <a:pt x="922235" y="1323207"/>
                  </a:lnTo>
                  <a:lnTo>
                    <a:pt x="981690" y="1325281"/>
                  </a:lnTo>
                  <a:lnTo>
                    <a:pt x="1048749" y="1331503"/>
                  </a:lnTo>
                  <a:lnTo>
                    <a:pt x="1115808" y="1341181"/>
                  </a:lnTo>
                  <a:lnTo>
                    <a:pt x="1181484" y="1352934"/>
                  </a:lnTo>
                  <a:lnTo>
                    <a:pt x="1189089" y="1355008"/>
                  </a:lnTo>
                  <a:cubicBezTo>
                    <a:pt x="1155905" y="1458708"/>
                    <a:pt x="1110968" y="1560333"/>
                    <a:pt x="1055662" y="1657119"/>
                  </a:cubicBezTo>
                  <a:cubicBezTo>
                    <a:pt x="1012800" y="1666798"/>
                    <a:pt x="967863" y="1673020"/>
                    <a:pt x="922235" y="1675786"/>
                  </a:cubicBezTo>
                  <a:close/>
                  <a:moveTo>
                    <a:pt x="708614" y="1657811"/>
                  </a:moveTo>
                  <a:cubicBezTo>
                    <a:pt x="652616" y="1561025"/>
                    <a:pt x="607680" y="1460090"/>
                    <a:pt x="573805" y="1355699"/>
                  </a:cubicBezTo>
                  <a:lnTo>
                    <a:pt x="580718" y="1354317"/>
                  </a:lnTo>
                  <a:lnTo>
                    <a:pt x="646394" y="1342564"/>
                  </a:lnTo>
                  <a:lnTo>
                    <a:pt x="713453" y="1332886"/>
                  </a:lnTo>
                  <a:lnTo>
                    <a:pt x="781204" y="1326664"/>
                  </a:lnTo>
                  <a:lnTo>
                    <a:pt x="839967" y="1323898"/>
                  </a:lnTo>
                  <a:lnTo>
                    <a:pt x="839967" y="1675786"/>
                  </a:lnTo>
                  <a:cubicBezTo>
                    <a:pt x="794339" y="1673020"/>
                    <a:pt x="750785" y="1666798"/>
                    <a:pt x="708614" y="1657811"/>
                  </a:cubicBezTo>
                  <a:close/>
                  <a:moveTo>
                    <a:pt x="290359" y="1359156"/>
                  </a:moveTo>
                  <a:lnTo>
                    <a:pt x="257175" y="1374366"/>
                  </a:lnTo>
                  <a:cubicBezTo>
                    <a:pt x="157623" y="1248543"/>
                    <a:pt x="95404" y="1092302"/>
                    <a:pt x="86416" y="922235"/>
                  </a:cubicBezTo>
                  <a:lnTo>
                    <a:pt x="414799" y="922235"/>
                  </a:lnTo>
                  <a:cubicBezTo>
                    <a:pt x="418946" y="1048749"/>
                    <a:pt x="436921" y="1174571"/>
                    <a:pt x="469414" y="1296245"/>
                  </a:cubicBezTo>
                  <a:lnTo>
                    <a:pt x="425860" y="1308689"/>
                  </a:lnTo>
                  <a:cubicBezTo>
                    <a:pt x="425168" y="1308689"/>
                    <a:pt x="424477" y="1309380"/>
                    <a:pt x="423786" y="1309380"/>
                  </a:cubicBezTo>
                  <a:lnTo>
                    <a:pt x="358801" y="1331503"/>
                  </a:lnTo>
                  <a:cubicBezTo>
                    <a:pt x="358109" y="1331503"/>
                    <a:pt x="357418" y="1332194"/>
                    <a:pt x="356727" y="1332194"/>
                  </a:cubicBezTo>
                  <a:lnTo>
                    <a:pt x="292433" y="1357773"/>
                  </a:lnTo>
                  <a:cubicBezTo>
                    <a:pt x="291050" y="1358465"/>
                    <a:pt x="290359" y="1358465"/>
                    <a:pt x="290359" y="1359156"/>
                  </a:cubicBezTo>
                  <a:close/>
                  <a:moveTo>
                    <a:pt x="256484" y="386454"/>
                  </a:moveTo>
                  <a:lnTo>
                    <a:pt x="290359" y="401663"/>
                  </a:lnTo>
                  <a:cubicBezTo>
                    <a:pt x="291050" y="401663"/>
                    <a:pt x="291050" y="402354"/>
                    <a:pt x="291742" y="402354"/>
                  </a:cubicBezTo>
                  <a:lnTo>
                    <a:pt x="356035" y="427934"/>
                  </a:lnTo>
                  <a:cubicBezTo>
                    <a:pt x="356727" y="427934"/>
                    <a:pt x="357418" y="428625"/>
                    <a:pt x="358109" y="428625"/>
                  </a:cubicBezTo>
                  <a:lnTo>
                    <a:pt x="423094" y="450747"/>
                  </a:lnTo>
                  <a:cubicBezTo>
                    <a:pt x="423786" y="450747"/>
                    <a:pt x="424477" y="451439"/>
                    <a:pt x="424477" y="451439"/>
                  </a:cubicBezTo>
                  <a:lnTo>
                    <a:pt x="464574" y="463192"/>
                  </a:lnTo>
                  <a:cubicBezTo>
                    <a:pt x="433464" y="585557"/>
                    <a:pt x="415490" y="712070"/>
                    <a:pt x="413416" y="838584"/>
                  </a:cubicBezTo>
                  <a:lnTo>
                    <a:pt x="85034" y="838584"/>
                  </a:lnTo>
                  <a:cubicBezTo>
                    <a:pt x="94712" y="668517"/>
                    <a:pt x="156932" y="512276"/>
                    <a:pt x="256484" y="386454"/>
                  </a:cubicBezTo>
                  <a:close/>
                  <a:moveTo>
                    <a:pt x="839275" y="84342"/>
                  </a:moveTo>
                  <a:lnTo>
                    <a:pt x="839275" y="437612"/>
                  </a:lnTo>
                  <a:lnTo>
                    <a:pt x="780512" y="434847"/>
                  </a:lnTo>
                  <a:lnTo>
                    <a:pt x="712762" y="428625"/>
                  </a:lnTo>
                  <a:lnTo>
                    <a:pt x="646394" y="418946"/>
                  </a:lnTo>
                  <a:lnTo>
                    <a:pt x="580027" y="405811"/>
                  </a:lnTo>
                  <a:lnTo>
                    <a:pt x="568965" y="403046"/>
                  </a:lnTo>
                  <a:cubicBezTo>
                    <a:pt x="601458" y="300037"/>
                    <a:pt x="644320" y="199795"/>
                    <a:pt x="698244" y="104391"/>
                  </a:cubicBezTo>
                  <a:cubicBezTo>
                    <a:pt x="743872" y="94021"/>
                    <a:pt x="790882" y="87108"/>
                    <a:pt x="839275" y="84342"/>
                  </a:cubicBezTo>
                  <a:close/>
                  <a:moveTo>
                    <a:pt x="1061193" y="104391"/>
                  </a:moveTo>
                  <a:cubicBezTo>
                    <a:pt x="1115808" y="200486"/>
                    <a:pt x="1159362" y="301420"/>
                    <a:pt x="1191854" y="404428"/>
                  </a:cubicBezTo>
                  <a:lnTo>
                    <a:pt x="1181484" y="406502"/>
                  </a:lnTo>
                  <a:lnTo>
                    <a:pt x="1115808" y="419638"/>
                  </a:lnTo>
                  <a:lnTo>
                    <a:pt x="1049440" y="428625"/>
                  </a:lnTo>
                  <a:lnTo>
                    <a:pt x="981690" y="434847"/>
                  </a:lnTo>
                  <a:lnTo>
                    <a:pt x="922235" y="437612"/>
                  </a:lnTo>
                  <a:lnTo>
                    <a:pt x="922235" y="84342"/>
                  </a:lnTo>
                  <a:cubicBezTo>
                    <a:pt x="969937" y="87108"/>
                    <a:pt x="1016256" y="94021"/>
                    <a:pt x="1061193" y="104391"/>
                  </a:cubicBezTo>
                  <a:close/>
                  <a:moveTo>
                    <a:pt x="1213285" y="1275505"/>
                  </a:moveTo>
                  <a:lnTo>
                    <a:pt x="1200841" y="1272740"/>
                  </a:lnTo>
                  <a:cubicBezTo>
                    <a:pt x="1200150" y="1272740"/>
                    <a:pt x="1199459" y="1272048"/>
                    <a:pt x="1198767" y="1272048"/>
                  </a:cubicBezTo>
                  <a:lnTo>
                    <a:pt x="1131017" y="1259604"/>
                  </a:lnTo>
                  <a:cubicBezTo>
                    <a:pt x="1130326" y="1259604"/>
                    <a:pt x="1130326" y="1259604"/>
                    <a:pt x="1129634" y="1259604"/>
                  </a:cubicBezTo>
                  <a:lnTo>
                    <a:pt x="1061193" y="1249926"/>
                  </a:lnTo>
                  <a:cubicBezTo>
                    <a:pt x="1060501" y="1249926"/>
                    <a:pt x="1059810" y="1249926"/>
                    <a:pt x="1059119" y="1249926"/>
                  </a:cubicBezTo>
                  <a:lnTo>
                    <a:pt x="989985" y="1243013"/>
                  </a:lnTo>
                  <a:cubicBezTo>
                    <a:pt x="989294" y="1243013"/>
                    <a:pt x="988603" y="1243013"/>
                    <a:pt x="987220" y="1243013"/>
                  </a:cubicBezTo>
                  <a:lnTo>
                    <a:pt x="923618" y="1240938"/>
                  </a:lnTo>
                  <a:lnTo>
                    <a:pt x="923618" y="922235"/>
                  </a:lnTo>
                  <a:lnTo>
                    <a:pt x="1265135" y="922235"/>
                  </a:lnTo>
                  <a:cubicBezTo>
                    <a:pt x="1260987" y="1041144"/>
                    <a:pt x="1243704" y="1159361"/>
                    <a:pt x="1213285" y="1275505"/>
                  </a:cubicBezTo>
                  <a:close/>
                  <a:moveTo>
                    <a:pt x="562052" y="1272740"/>
                  </a:moveTo>
                  <a:lnTo>
                    <a:pt x="550299" y="1275505"/>
                  </a:lnTo>
                  <a:cubicBezTo>
                    <a:pt x="519189" y="1159361"/>
                    <a:pt x="501906" y="1041144"/>
                    <a:pt x="498449" y="922235"/>
                  </a:cubicBezTo>
                  <a:lnTo>
                    <a:pt x="839275" y="922235"/>
                  </a:lnTo>
                  <a:lnTo>
                    <a:pt x="839275" y="1239556"/>
                  </a:lnTo>
                  <a:lnTo>
                    <a:pt x="775673" y="1242321"/>
                  </a:lnTo>
                  <a:cubicBezTo>
                    <a:pt x="774982" y="1242321"/>
                    <a:pt x="774290" y="1242321"/>
                    <a:pt x="773599" y="1242321"/>
                  </a:cubicBezTo>
                  <a:lnTo>
                    <a:pt x="704466" y="1249234"/>
                  </a:lnTo>
                  <a:cubicBezTo>
                    <a:pt x="703775" y="1249234"/>
                    <a:pt x="703083" y="1249234"/>
                    <a:pt x="702392" y="1249234"/>
                  </a:cubicBezTo>
                  <a:lnTo>
                    <a:pt x="633950" y="1258913"/>
                  </a:lnTo>
                  <a:cubicBezTo>
                    <a:pt x="633259" y="1258913"/>
                    <a:pt x="633259" y="1258913"/>
                    <a:pt x="632568" y="1258913"/>
                  </a:cubicBezTo>
                  <a:lnTo>
                    <a:pt x="564817" y="1271357"/>
                  </a:lnTo>
                  <a:cubicBezTo>
                    <a:pt x="563435" y="1272740"/>
                    <a:pt x="562743" y="1272740"/>
                    <a:pt x="562052" y="1272740"/>
                  </a:cubicBezTo>
                  <a:close/>
                  <a:moveTo>
                    <a:pt x="546151" y="483931"/>
                  </a:moveTo>
                  <a:lnTo>
                    <a:pt x="562052" y="487388"/>
                  </a:lnTo>
                  <a:cubicBezTo>
                    <a:pt x="562743" y="487388"/>
                    <a:pt x="562743" y="487388"/>
                    <a:pt x="563435" y="487388"/>
                  </a:cubicBezTo>
                  <a:lnTo>
                    <a:pt x="631185" y="500523"/>
                  </a:lnTo>
                  <a:cubicBezTo>
                    <a:pt x="631876" y="500523"/>
                    <a:pt x="632568" y="500523"/>
                    <a:pt x="633259" y="500523"/>
                  </a:cubicBezTo>
                  <a:lnTo>
                    <a:pt x="701701" y="510202"/>
                  </a:lnTo>
                  <a:cubicBezTo>
                    <a:pt x="702392" y="510202"/>
                    <a:pt x="703083" y="510202"/>
                    <a:pt x="703775" y="510202"/>
                  </a:cubicBezTo>
                  <a:lnTo>
                    <a:pt x="772908" y="517115"/>
                  </a:lnTo>
                  <a:cubicBezTo>
                    <a:pt x="773599" y="517115"/>
                    <a:pt x="774290" y="517115"/>
                    <a:pt x="774982" y="517115"/>
                  </a:cubicBezTo>
                  <a:lnTo>
                    <a:pt x="838584" y="519881"/>
                  </a:lnTo>
                  <a:lnTo>
                    <a:pt x="838584" y="837201"/>
                  </a:lnTo>
                  <a:lnTo>
                    <a:pt x="497758" y="837201"/>
                  </a:lnTo>
                  <a:cubicBezTo>
                    <a:pt x="500523" y="719675"/>
                    <a:pt x="516424" y="600075"/>
                    <a:pt x="546151" y="483931"/>
                  </a:cubicBezTo>
                  <a:close/>
                  <a:moveTo>
                    <a:pt x="922235" y="838584"/>
                  </a:moveTo>
                  <a:lnTo>
                    <a:pt x="922235" y="521263"/>
                  </a:lnTo>
                  <a:lnTo>
                    <a:pt x="986529" y="518498"/>
                  </a:lnTo>
                  <a:cubicBezTo>
                    <a:pt x="987220" y="518498"/>
                    <a:pt x="987912" y="518498"/>
                    <a:pt x="988603" y="518498"/>
                  </a:cubicBezTo>
                  <a:lnTo>
                    <a:pt x="1057736" y="511584"/>
                  </a:lnTo>
                  <a:cubicBezTo>
                    <a:pt x="1058427" y="511584"/>
                    <a:pt x="1058427" y="511584"/>
                    <a:pt x="1059119" y="511584"/>
                  </a:cubicBezTo>
                  <a:lnTo>
                    <a:pt x="1127560" y="502597"/>
                  </a:lnTo>
                  <a:cubicBezTo>
                    <a:pt x="1128252" y="502597"/>
                    <a:pt x="1128943" y="502597"/>
                    <a:pt x="1130326" y="501906"/>
                  </a:cubicBezTo>
                  <a:lnTo>
                    <a:pt x="1198076" y="488771"/>
                  </a:lnTo>
                  <a:cubicBezTo>
                    <a:pt x="1198767" y="488771"/>
                    <a:pt x="1198767" y="488771"/>
                    <a:pt x="1199459" y="488771"/>
                  </a:cubicBezTo>
                  <a:lnTo>
                    <a:pt x="1214668" y="485314"/>
                  </a:lnTo>
                  <a:cubicBezTo>
                    <a:pt x="1244395" y="601457"/>
                    <a:pt x="1260987" y="720366"/>
                    <a:pt x="1263753" y="839275"/>
                  </a:cubicBezTo>
                  <a:lnTo>
                    <a:pt x="922235" y="839275"/>
                  </a:lnTo>
                  <a:close/>
                  <a:moveTo>
                    <a:pt x="1348095" y="838584"/>
                  </a:moveTo>
                  <a:cubicBezTo>
                    <a:pt x="1345329" y="712070"/>
                    <a:pt x="1327355" y="586249"/>
                    <a:pt x="1296245" y="463883"/>
                  </a:cubicBezTo>
                  <a:lnTo>
                    <a:pt x="1336342" y="452130"/>
                  </a:lnTo>
                  <a:cubicBezTo>
                    <a:pt x="1337034" y="452130"/>
                    <a:pt x="1337034" y="452130"/>
                    <a:pt x="1337725" y="451439"/>
                  </a:cubicBezTo>
                  <a:lnTo>
                    <a:pt x="1404093" y="429316"/>
                  </a:lnTo>
                  <a:cubicBezTo>
                    <a:pt x="1404784" y="429316"/>
                    <a:pt x="1405475" y="428625"/>
                    <a:pt x="1405475" y="428625"/>
                  </a:cubicBezTo>
                  <a:lnTo>
                    <a:pt x="1469769" y="403737"/>
                  </a:lnTo>
                  <a:cubicBezTo>
                    <a:pt x="1470460" y="403737"/>
                    <a:pt x="1471152" y="403046"/>
                    <a:pt x="1471843" y="403046"/>
                  </a:cubicBezTo>
                  <a:lnTo>
                    <a:pt x="1506410" y="387145"/>
                  </a:lnTo>
                  <a:cubicBezTo>
                    <a:pt x="1605270" y="512967"/>
                    <a:pt x="1667490" y="668517"/>
                    <a:pt x="1676477" y="838584"/>
                  </a:cubicBezTo>
                  <a:lnTo>
                    <a:pt x="1348095" y="838584"/>
                  </a:lnTo>
                  <a:close/>
                  <a:moveTo>
                    <a:pt x="1449029" y="322160"/>
                  </a:moveTo>
                  <a:lnTo>
                    <a:pt x="1439350" y="326999"/>
                  </a:lnTo>
                  <a:lnTo>
                    <a:pt x="1377131" y="351196"/>
                  </a:lnTo>
                  <a:lnTo>
                    <a:pt x="1312837" y="373319"/>
                  </a:lnTo>
                  <a:lnTo>
                    <a:pt x="1274122" y="385071"/>
                  </a:lnTo>
                  <a:cubicBezTo>
                    <a:pt x="1247852" y="301420"/>
                    <a:pt x="1215359" y="219843"/>
                    <a:pt x="1175953" y="141031"/>
                  </a:cubicBezTo>
                  <a:cubicBezTo>
                    <a:pt x="1278962" y="181129"/>
                    <a:pt x="1371600" y="243348"/>
                    <a:pt x="1449029" y="322160"/>
                  </a:cubicBezTo>
                  <a:close/>
                  <a:moveTo>
                    <a:pt x="584866" y="140340"/>
                  </a:moveTo>
                  <a:cubicBezTo>
                    <a:pt x="546151" y="218461"/>
                    <a:pt x="513659" y="299346"/>
                    <a:pt x="488079" y="382306"/>
                  </a:cubicBezTo>
                  <a:lnTo>
                    <a:pt x="449365" y="371244"/>
                  </a:lnTo>
                  <a:lnTo>
                    <a:pt x="385763" y="349813"/>
                  </a:lnTo>
                  <a:lnTo>
                    <a:pt x="322851" y="324925"/>
                  </a:lnTo>
                  <a:lnTo>
                    <a:pt x="313864" y="320777"/>
                  </a:lnTo>
                  <a:cubicBezTo>
                    <a:pt x="390602" y="243348"/>
                    <a:pt x="482549" y="181820"/>
                    <a:pt x="584866" y="140340"/>
                  </a:cubicBezTo>
                  <a:close/>
                  <a:moveTo>
                    <a:pt x="314556" y="1439350"/>
                  </a:moveTo>
                  <a:lnTo>
                    <a:pt x="323543" y="1435203"/>
                  </a:lnTo>
                  <a:lnTo>
                    <a:pt x="385763" y="1410314"/>
                  </a:lnTo>
                  <a:lnTo>
                    <a:pt x="449365" y="1388883"/>
                  </a:lnTo>
                  <a:lnTo>
                    <a:pt x="492227" y="1376439"/>
                  </a:lnTo>
                  <a:cubicBezTo>
                    <a:pt x="519189" y="1460782"/>
                    <a:pt x="553756" y="1543742"/>
                    <a:pt x="594544" y="1623245"/>
                  </a:cubicBezTo>
                  <a:cubicBezTo>
                    <a:pt x="488771" y="1582456"/>
                    <a:pt x="393367" y="1518853"/>
                    <a:pt x="314556" y="1439350"/>
                  </a:cubicBezTo>
                  <a:close/>
                  <a:moveTo>
                    <a:pt x="1169731" y="1622553"/>
                  </a:moveTo>
                  <a:cubicBezTo>
                    <a:pt x="1209829" y="1543050"/>
                    <a:pt x="1243704" y="1460782"/>
                    <a:pt x="1270666" y="1376439"/>
                  </a:cubicBezTo>
                  <a:lnTo>
                    <a:pt x="1311454" y="1388192"/>
                  </a:lnTo>
                  <a:lnTo>
                    <a:pt x="1375748" y="1409623"/>
                  </a:lnTo>
                  <a:lnTo>
                    <a:pt x="1438659" y="1434511"/>
                  </a:lnTo>
                  <a:lnTo>
                    <a:pt x="1448338" y="1438659"/>
                  </a:lnTo>
                  <a:cubicBezTo>
                    <a:pt x="1370217" y="1518162"/>
                    <a:pt x="1275505" y="1581073"/>
                    <a:pt x="1169731" y="1622553"/>
                  </a:cubicBezTo>
                  <a:close/>
                </a:path>
              </a:pathLst>
            </a:custGeom>
            <a:solidFill>
              <a:srgbClr val="FFFFFF"/>
            </a:solidFill>
            <a:ln w="6913" cap="flat">
              <a:noFill/>
              <a:prstDash val="solid"/>
              <a:miter/>
            </a:ln>
          </p:spPr>
          <p:txBody>
            <a:bodyPr rtlCol="0" anchor="ctr"/>
            <a:lstStyle/>
            <a:p>
              <a:pPr defTabSz="457189"/>
              <a:endParaRPr lang="fr-FR" sz="1350">
                <a:solidFill>
                  <a:prstClr val="black"/>
                </a:solidFill>
                <a:latin typeface="Arial"/>
              </a:endParaRPr>
            </a:p>
          </p:txBody>
        </p:sp>
      </p:grpSp>
      <p:grpSp>
        <p:nvGrpSpPr>
          <p:cNvPr id="84" name="Groupe 83">
            <a:extLst>
              <a:ext uri="{FF2B5EF4-FFF2-40B4-BE49-F238E27FC236}">
                <a16:creationId xmlns:a16="http://schemas.microsoft.com/office/drawing/2014/main" id="{EFFF3235-01E9-14D7-A979-B659C7D9AE5A}"/>
              </a:ext>
            </a:extLst>
          </p:cNvPr>
          <p:cNvGrpSpPr/>
          <p:nvPr/>
        </p:nvGrpSpPr>
        <p:grpSpPr>
          <a:xfrm>
            <a:off x="3171520" y="4328529"/>
            <a:ext cx="2523521" cy="660734"/>
            <a:chOff x="650320" y="4752766"/>
            <a:chExt cx="5153647" cy="1059707"/>
          </a:xfrm>
        </p:grpSpPr>
        <p:sp>
          <p:nvSpPr>
            <p:cNvPr id="85" name="Signalisation droite 80">
              <a:extLst>
                <a:ext uri="{FF2B5EF4-FFF2-40B4-BE49-F238E27FC236}">
                  <a16:creationId xmlns:a16="http://schemas.microsoft.com/office/drawing/2014/main" id="{ADCC135F-26FF-C750-DEAA-65BAC6C1D789}"/>
                </a:ext>
              </a:extLst>
            </p:cNvPr>
            <p:cNvSpPr/>
            <p:nvPr/>
          </p:nvSpPr>
          <p:spPr>
            <a:xfrm>
              <a:off x="1177165" y="4752766"/>
              <a:ext cx="4626802" cy="1059707"/>
            </a:xfrm>
            <a:prstGeom prst="homePlate">
              <a:avLst>
                <a:gd name="adj" fmla="val 0"/>
              </a:avLst>
            </a:prstGeom>
            <a:solidFill>
              <a:srgbClr val="002060"/>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86" name="Ellipse 85">
              <a:extLst>
                <a:ext uri="{FF2B5EF4-FFF2-40B4-BE49-F238E27FC236}">
                  <a16:creationId xmlns:a16="http://schemas.microsoft.com/office/drawing/2014/main" id="{3D66E8D3-10C9-DF92-9983-FD7C4C72CFCA}"/>
                </a:ext>
              </a:extLst>
            </p:cNvPr>
            <p:cNvSpPr/>
            <p:nvPr/>
          </p:nvSpPr>
          <p:spPr>
            <a:xfrm>
              <a:off x="650320" y="4752767"/>
              <a:ext cx="1074981" cy="1059706"/>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pSp>
        <p:nvGrpSpPr>
          <p:cNvPr id="87" name="Groupe 86">
            <a:extLst>
              <a:ext uri="{FF2B5EF4-FFF2-40B4-BE49-F238E27FC236}">
                <a16:creationId xmlns:a16="http://schemas.microsoft.com/office/drawing/2014/main" id="{7B20488B-78C5-655A-7FA9-648FB87FE11F}"/>
              </a:ext>
            </a:extLst>
          </p:cNvPr>
          <p:cNvGrpSpPr/>
          <p:nvPr/>
        </p:nvGrpSpPr>
        <p:grpSpPr>
          <a:xfrm>
            <a:off x="5793673" y="4326670"/>
            <a:ext cx="3055823" cy="660734"/>
            <a:chOff x="650320" y="4752766"/>
            <a:chExt cx="4901025" cy="1059707"/>
          </a:xfrm>
        </p:grpSpPr>
        <p:sp>
          <p:nvSpPr>
            <p:cNvPr id="109" name="Signalisation droite 29">
              <a:extLst>
                <a:ext uri="{FF2B5EF4-FFF2-40B4-BE49-F238E27FC236}">
                  <a16:creationId xmlns:a16="http://schemas.microsoft.com/office/drawing/2014/main" id="{BE0E63FD-88F5-F2C0-F098-2025A4274FCE}"/>
                </a:ext>
              </a:extLst>
            </p:cNvPr>
            <p:cNvSpPr/>
            <p:nvPr/>
          </p:nvSpPr>
          <p:spPr>
            <a:xfrm>
              <a:off x="3800239" y="4752766"/>
              <a:ext cx="1751106" cy="1059707"/>
            </a:xfrm>
            <a:prstGeom prst="homePlate">
              <a:avLst>
                <a:gd name="adj" fmla="val 0"/>
              </a:avLst>
            </a:prstGeom>
            <a:solidFill>
              <a:srgbClr val="0070C0"/>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10" name="Signalisation droite 18">
              <a:extLst>
                <a:ext uri="{FF2B5EF4-FFF2-40B4-BE49-F238E27FC236}">
                  <a16:creationId xmlns:a16="http://schemas.microsoft.com/office/drawing/2014/main" id="{BAC43D74-690C-B2E0-BED2-38038DC0D369}"/>
                </a:ext>
              </a:extLst>
            </p:cNvPr>
            <p:cNvSpPr/>
            <p:nvPr/>
          </p:nvSpPr>
          <p:spPr>
            <a:xfrm>
              <a:off x="1177167" y="4752766"/>
              <a:ext cx="3163857" cy="1059707"/>
            </a:xfrm>
            <a:prstGeom prst="homePlate">
              <a:avLst/>
            </a:prstGeom>
            <a:solidFill>
              <a:srgbClr val="002060"/>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12" name="Ellipse 111">
              <a:extLst>
                <a:ext uri="{FF2B5EF4-FFF2-40B4-BE49-F238E27FC236}">
                  <a16:creationId xmlns:a16="http://schemas.microsoft.com/office/drawing/2014/main" id="{C1A2E427-BB5F-DE79-F56F-55234A8B8526}"/>
                </a:ext>
              </a:extLst>
            </p:cNvPr>
            <p:cNvSpPr/>
            <p:nvPr/>
          </p:nvSpPr>
          <p:spPr>
            <a:xfrm>
              <a:off x="650320" y="4752767"/>
              <a:ext cx="1074981" cy="1059706"/>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sp>
        <p:nvSpPr>
          <p:cNvPr id="113" name="TextBox 98">
            <a:extLst>
              <a:ext uri="{FF2B5EF4-FFF2-40B4-BE49-F238E27FC236}">
                <a16:creationId xmlns:a16="http://schemas.microsoft.com/office/drawing/2014/main" id="{60DBC208-738C-B4FD-1594-3B56457C8C43}"/>
              </a:ext>
            </a:extLst>
          </p:cNvPr>
          <p:cNvSpPr txBox="1"/>
          <p:nvPr/>
        </p:nvSpPr>
        <p:spPr>
          <a:xfrm>
            <a:off x="6008928" y="4366048"/>
            <a:ext cx="724723" cy="51937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457189">
              <a:defRPr/>
            </a:pPr>
            <a:r>
              <a:rPr lang="fr-FR" sz="1500" b="1" kern="0" dirty="0">
                <a:solidFill>
                  <a:prstClr val="white"/>
                </a:solidFill>
                <a:latin typeface="Arial"/>
              </a:rPr>
              <a:t>Direct </a:t>
            </a:r>
            <a:r>
              <a:rPr lang="fr-FR" sz="825" b="1" kern="0" dirty="0">
                <a:solidFill>
                  <a:prstClr val="white"/>
                </a:solidFill>
                <a:latin typeface="Arial"/>
              </a:rPr>
              <a:t>Carbon Footprint</a:t>
            </a:r>
            <a:r>
              <a:rPr lang="fr-FR" sz="1050" b="1" kern="0" dirty="0">
                <a:solidFill>
                  <a:prstClr val="white"/>
                </a:solidFill>
                <a:latin typeface="Arial"/>
              </a:rPr>
              <a:t> </a:t>
            </a:r>
          </a:p>
        </p:txBody>
      </p:sp>
      <p:cxnSp>
        <p:nvCxnSpPr>
          <p:cNvPr id="114" name="Connecteur droit 113">
            <a:extLst>
              <a:ext uri="{FF2B5EF4-FFF2-40B4-BE49-F238E27FC236}">
                <a16:creationId xmlns:a16="http://schemas.microsoft.com/office/drawing/2014/main" id="{15426D18-2CA8-01DC-2E20-0D02F098EE4B}"/>
              </a:ext>
            </a:extLst>
          </p:cNvPr>
          <p:cNvCxnSpPr>
            <a:cxnSpLocks/>
          </p:cNvCxnSpPr>
          <p:nvPr/>
        </p:nvCxnSpPr>
        <p:spPr>
          <a:xfrm>
            <a:off x="6676887" y="4412797"/>
            <a:ext cx="0" cy="503840"/>
          </a:xfrm>
          <a:prstGeom prst="line">
            <a:avLst/>
          </a:prstGeom>
          <a:ln w="222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116" name="ZoneTexte 115">
            <a:extLst>
              <a:ext uri="{FF2B5EF4-FFF2-40B4-BE49-F238E27FC236}">
                <a16:creationId xmlns:a16="http://schemas.microsoft.com/office/drawing/2014/main" id="{10AFCF3C-88BC-59A2-F123-8D86237DA101}"/>
              </a:ext>
            </a:extLst>
          </p:cNvPr>
          <p:cNvSpPr txBox="1"/>
          <p:nvPr/>
        </p:nvSpPr>
        <p:spPr>
          <a:xfrm>
            <a:off x="7180925" y="4279847"/>
            <a:ext cx="779635" cy="7543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r>
              <a:rPr lang="fr-FR" sz="2100" b="1" dirty="0">
                <a:solidFill>
                  <a:prstClr val="white"/>
                </a:solidFill>
                <a:latin typeface="Arial"/>
                <a:cs typeface="Arial"/>
              </a:rPr>
              <a:t>-25% </a:t>
            </a:r>
            <a:r>
              <a:rPr lang="fr-FR" sz="900" b="1" dirty="0">
                <a:solidFill>
                  <a:prstClr val="white"/>
                </a:solidFill>
                <a:latin typeface="Arial"/>
                <a:cs typeface="Arial"/>
              </a:rPr>
              <a:t>in 2025</a:t>
            </a:r>
          </a:p>
        </p:txBody>
      </p:sp>
      <p:sp>
        <p:nvSpPr>
          <p:cNvPr id="121" name="ZoneTexte 120">
            <a:extLst>
              <a:ext uri="{FF2B5EF4-FFF2-40B4-BE49-F238E27FC236}">
                <a16:creationId xmlns:a16="http://schemas.microsoft.com/office/drawing/2014/main" id="{48A24F67-63E4-F72C-4B67-34BF4F5E702F}"/>
              </a:ext>
            </a:extLst>
          </p:cNvPr>
          <p:cNvSpPr txBox="1"/>
          <p:nvPr/>
        </p:nvSpPr>
        <p:spPr>
          <a:xfrm>
            <a:off x="8061568" y="4279847"/>
            <a:ext cx="803965" cy="7543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r>
              <a:rPr lang="fr-FR" sz="2100" b="1" dirty="0">
                <a:solidFill>
                  <a:prstClr val="white"/>
                </a:solidFill>
                <a:latin typeface="Arial"/>
                <a:cs typeface="Arial"/>
              </a:rPr>
              <a:t>-50% </a:t>
            </a:r>
            <a:r>
              <a:rPr lang="fr-FR" sz="900" b="1" dirty="0">
                <a:solidFill>
                  <a:prstClr val="white"/>
                </a:solidFill>
                <a:latin typeface="Arial"/>
                <a:cs typeface="Arial"/>
              </a:rPr>
              <a:t>in 2030</a:t>
            </a:r>
          </a:p>
        </p:txBody>
      </p:sp>
      <p:grpSp>
        <p:nvGrpSpPr>
          <p:cNvPr id="124" name="Graphique 37">
            <a:extLst>
              <a:ext uri="{FF2B5EF4-FFF2-40B4-BE49-F238E27FC236}">
                <a16:creationId xmlns:a16="http://schemas.microsoft.com/office/drawing/2014/main" id="{CADDCA2B-FCAF-A4B7-88D5-C71FA9971E23}"/>
              </a:ext>
            </a:extLst>
          </p:cNvPr>
          <p:cNvGrpSpPr/>
          <p:nvPr/>
        </p:nvGrpSpPr>
        <p:grpSpPr>
          <a:xfrm>
            <a:off x="6775058" y="4471075"/>
            <a:ext cx="449362" cy="377186"/>
            <a:chOff x="3596575" y="4270176"/>
            <a:chExt cx="1278736" cy="1073348"/>
          </a:xfrm>
          <a:solidFill>
            <a:schemeClr val="bg1"/>
          </a:solidFill>
        </p:grpSpPr>
        <p:sp>
          <p:nvSpPr>
            <p:cNvPr id="125" name="Forme libre 124">
              <a:extLst>
                <a:ext uri="{FF2B5EF4-FFF2-40B4-BE49-F238E27FC236}">
                  <a16:creationId xmlns:a16="http://schemas.microsoft.com/office/drawing/2014/main" id="{AE7D12C9-FB32-CB82-A167-9B16CF6B324F}"/>
                </a:ext>
              </a:extLst>
            </p:cNvPr>
            <p:cNvSpPr/>
            <p:nvPr/>
          </p:nvSpPr>
          <p:spPr>
            <a:xfrm>
              <a:off x="3596575" y="4270176"/>
              <a:ext cx="1278736" cy="993874"/>
            </a:xfrm>
            <a:custGeom>
              <a:avLst/>
              <a:gdLst>
                <a:gd name="connsiteX0" fmla="*/ 257180 w 1278736"/>
                <a:gd name="connsiteY0" fmla="*/ 778669 h 993874"/>
                <a:gd name="connsiteX1" fmla="*/ 267003 w 1278736"/>
                <a:gd name="connsiteY1" fmla="*/ 777776 h 993874"/>
                <a:gd name="connsiteX2" fmla="*/ 493817 w 1278736"/>
                <a:gd name="connsiteY2" fmla="*/ 777776 h 993874"/>
                <a:gd name="connsiteX3" fmla="*/ 493817 w 1278736"/>
                <a:gd name="connsiteY3" fmla="*/ 934938 h 993874"/>
                <a:gd name="connsiteX4" fmla="*/ 451847 w 1278736"/>
                <a:gd name="connsiteY4" fmla="*/ 892969 h 993874"/>
                <a:gd name="connsiteX5" fmla="*/ 427737 w 1278736"/>
                <a:gd name="connsiteY5" fmla="*/ 892969 h 993874"/>
                <a:gd name="connsiteX6" fmla="*/ 427737 w 1278736"/>
                <a:gd name="connsiteY6" fmla="*/ 917079 h 993874"/>
                <a:gd name="connsiteX7" fmla="*/ 499175 w 1278736"/>
                <a:gd name="connsiteY7" fmla="*/ 988517 h 993874"/>
                <a:gd name="connsiteX8" fmla="*/ 500068 w 1278736"/>
                <a:gd name="connsiteY8" fmla="*/ 989409 h 993874"/>
                <a:gd name="connsiteX9" fmla="*/ 501853 w 1278736"/>
                <a:gd name="connsiteY9" fmla="*/ 991195 h 993874"/>
                <a:gd name="connsiteX10" fmla="*/ 503639 w 1278736"/>
                <a:gd name="connsiteY10" fmla="*/ 992981 h 993874"/>
                <a:gd name="connsiteX11" fmla="*/ 504532 w 1278736"/>
                <a:gd name="connsiteY11" fmla="*/ 992981 h 993874"/>
                <a:gd name="connsiteX12" fmla="*/ 506318 w 1278736"/>
                <a:gd name="connsiteY12" fmla="*/ 992981 h 993874"/>
                <a:gd name="connsiteX13" fmla="*/ 508997 w 1278736"/>
                <a:gd name="connsiteY13" fmla="*/ 993874 h 993874"/>
                <a:gd name="connsiteX14" fmla="*/ 511676 w 1278736"/>
                <a:gd name="connsiteY14" fmla="*/ 993874 h 993874"/>
                <a:gd name="connsiteX15" fmla="*/ 514355 w 1278736"/>
                <a:gd name="connsiteY15" fmla="*/ 993874 h 993874"/>
                <a:gd name="connsiteX16" fmla="*/ 517034 w 1278736"/>
                <a:gd name="connsiteY16" fmla="*/ 992981 h 993874"/>
                <a:gd name="connsiteX17" fmla="*/ 518820 w 1278736"/>
                <a:gd name="connsiteY17" fmla="*/ 992981 h 993874"/>
                <a:gd name="connsiteX18" fmla="*/ 519713 w 1278736"/>
                <a:gd name="connsiteY18" fmla="*/ 992981 h 993874"/>
                <a:gd name="connsiteX19" fmla="*/ 522392 w 1278736"/>
                <a:gd name="connsiteY19" fmla="*/ 991195 h 993874"/>
                <a:gd name="connsiteX20" fmla="*/ 524178 w 1278736"/>
                <a:gd name="connsiteY20" fmla="*/ 989409 h 993874"/>
                <a:gd name="connsiteX21" fmla="*/ 525071 w 1278736"/>
                <a:gd name="connsiteY21" fmla="*/ 988517 h 993874"/>
                <a:gd name="connsiteX22" fmla="*/ 526857 w 1278736"/>
                <a:gd name="connsiteY22" fmla="*/ 986731 h 993874"/>
                <a:gd name="connsiteX23" fmla="*/ 595615 w 1278736"/>
                <a:gd name="connsiteY23" fmla="*/ 917972 h 993874"/>
                <a:gd name="connsiteX24" fmla="*/ 597401 w 1278736"/>
                <a:gd name="connsiteY24" fmla="*/ 895648 h 993874"/>
                <a:gd name="connsiteX25" fmla="*/ 595615 w 1278736"/>
                <a:gd name="connsiteY25" fmla="*/ 893862 h 993874"/>
                <a:gd name="connsiteX26" fmla="*/ 571505 w 1278736"/>
                <a:gd name="connsiteY26" fmla="*/ 893862 h 993874"/>
                <a:gd name="connsiteX27" fmla="*/ 557218 w 1278736"/>
                <a:gd name="connsiteY27" fmla="*/ 908149 h 993874"/>
                <a:gd name="connsiteX28" fmla="*/ 529536 w 1278736"/>
                <a:gd name="connsiteY28" fmla="*/ 935831 h 993874"/>
                <a:gd name="connsiteX29" fmla="*/ 529536 w 1278736"/>
                <a:gd name="connsiteY29" fmla="*/ 662583 h 993874"/>
                <a:gd name="connsiteX30" fmla="*/ 525964 w 1278736"/>
                <a:gd name="connsiteY30" fmla="*/ 652760 h 993874"/>
                <a:gd name="connsiteX31" fmla="*/ 511676 w 1278736"/>
                <a:gd name="connsiteY31" fmla="*/ 645616 h 993874"/>
                <a:gd name="connsiteX32" fmla="*/ 494710 w 1278736"/>
                <a:gd name="connsiteY32" fmla="*/ 662583 h 993874"/>
                <a:gd name="connsiteX33" fmla="*/ 494710 w 1278736"/>
                <a:gd name="connsiteY33" fmla="*/ 743843 h 993874"/>
                <a:gd name="connsiteX34" fmla="*/ 267003 w 1278736"/>
                <a:gd name="connsiteY34" fmla="*/ 743843 h 993874"/>
                <a:gd name="connsiteX35" fmla="*/ 266110 w 1278736"/>
                <a:gd name="connsiteY35" fmla="*/ 743843 h 993874"/>
                <a:gd name="connsiteX36" fmla="*/ 257180 w 1278736"/>
                <a:gd name="connsiteY36" fmla="*/ 744736 h 993874"/>
                <a:gd name="connsiteX37" fmla="*/ 99125 w 1278736"/>
                <a:gd name="connsiteY37" fmla="*/ 679549 h 993874"/>
                <a:gd name="connsiteX38" fmla="*/ 33938 w 1278736"/>
                <a:gd name="connsiteY38" fmla="*/ 521493 h 993874"/>
                <a:gd name="connsiteX39" fmla="*/ 216103 w 1278736"/>
                <a:gd name="connsiteY39" fmla="*/ 301823 h 993874"/>
                <a:gd name="connsiteX40" fmla="*/ 230391 w 1278736"/>
                <a:gd name="connsiteY40" fmla="*/ 283071 h 993874"/>
                <a:gd name="connsiteX41" fmla="*/ 228605 w 1278736"/>
                <a:gd name="connsiteY41" fmla="*/ 257175 h 993874"/>
                <a:gd name="connsiteX42" fmla="*/ 293792 w 1278736"/>
                <a:gd name="connsiteY42" fmla="*/ 99119 h 993874"/>
                <a:gd name="connsiteX43" fmla="*/ 451847 w 1278736"/>
                <a:gd name="connsiteY43" fmla="*/ 33933 h 993874"/>
                <a:gd name="connsiteX44" fmla="*/ 653658 w 1278736"/>
                <a:gd name="connsiteY44" fmla="*/ 160734 h 993874"/>
                <a:gd name="connsiteX45" fmla="*/ 666160 w 1278736"/>
                <a:gd name="connsiteY45" fmla="*/ 170557 h 993874"/>
                <a:gd name="connsiteX46" fmla="*/ 681340 w 1278736"/>
                <a:gd name="connsiteY46" fmla="*/ 166092 h 993874"/>
                <a:gd name="connsiteX47" fmla="*/ 830466 w 1278736"/>
                <a:gd name="connsiteY47" fmla="*/ 108942 h 993874"/>
                <a:gd name="connsiteX48" fmla="*/ 1049243 w 1278736"/>
                <a:gd name="connsiteY48" fmla="*/ 288429 h 993874"/>
                <a:gd name="connsiteX49" fmla="*/ 1062638 w 1278736"/>
                <a:gd name="connsiteY49" fmla="*/ 301823 h 993874"/>
                <a:gd name="connsiteX50" fmla="*/ 1244804 w 1278736"/>
                <a:gd name="connsiteY50" fmla="*/ 521493 h 993874"/>
                <a:gd name="connsiteX51" fmla="*/ 1034956 w 1278736"/>
                <a:gd name="connsiteY51" fmla="*/ 744736 h 993874"/>
                <a:gd name="connsiteX52" fmla="*/ 1034063 w 1278736"/>
                <a:gd name="connsiteY52" fmla="*/ 744736 h 993874"/>
                <a:gd name="connsiteX53" fmla="*/ 1031384 w 1278736"/>
                <a:gd name="connsiteY53" fmla="*/ 744736 h 993874"/>
                <a:gd name="connsiteX54" fmla="*/ 1030491 w 1278736"/>
                <a:gd name="connsiteY54" fmla="*/ 744736 h 993874"/>
                <a:gd name="connsiteX55" fmla="*/ 1021561 w 1278736"/>
                <a:gd name="connsiteY55" fmla="*/ 745629 h 993874"/>
                <a:gd name="connsiteX56" fmla="*/ 1012632 w 1278736"/>
                <a:gd name="connsiteY56" fmla="*/ 744736 h 993874"/>
                <a:gd name="connsiteX57" fmla="*/ 1011739 w 1278736"/>
                <a:gd name="connsiteY57" fmla="*/ 744736 h 993874"/>
                <a:gd name="connsiteX58" fmla="*/ 784925 w 1278736"/>
                <a:gd name="connsiteY58" fmla="*/ 744736 h 993874"/>
                <a:gd name="connsiteX59" fmla="*/ 784925 w 1278736"/>
                <a:gd name="connsiteY59" fmla="*/ 779562 h 993874"/>
                <a:gd name="connsiteX60" fmla="*/ 1011739 w 1278736"/>
                <a:gd name="connsiteY60" fmla="*/ 779562 h 993874"/>
                <a:gd name="connsiteX61" fmla="*/ 1021561 w 1278736"/>
                <a:gd name="connsiteY61" fmla="*/ 780454 h 993874"/>
                <a:gd name="connsiteX62" fmla="*/ 1031384 w 1278736"/>
                <a:gd name="connsiteY62" fmla="*/ 779562 h 993874"/>
                <a:gd name="connsiteX63" fmla="*/ 1035849 w 1278736"/>
                <a:gd name="connsiteY63" fmla="*/ 779562 h 993874"/>
                <a:gd name="connsiteX64" fmla="*/ 1037635 w 1278736"/>
                <a:gd name="connsiteY64" fmla="*/ 779562 h 993874"/>
                <a:gd name="connsiteX65" fmla="*/ 1278736 w 1278736"/>
                <a:gd name="connsiteY65" fmla="*/ 522387 h 993874"/>
                <a:gd name="connsiteX66" fmla="*/ 1079604 w 1278736"/>
                <a:gd name="connsiteY66" fmla="*/ 271462 h 993874"/>
                <a:gd name="connsiteX67" fmla="*/ 829573 w 1278736"/>
                <a:gd name="connsiteY67" fmla="*/ 75902 h 993874"/>
                <a:gd name="connsiteX68" fmla="*/ 674197 w 1278736"/>
                <a:gd name="connsiteY68" fmla="*/ 127694 h 993874"/>
                <a:gd name="connsiteX69" fmla="*/ 451847 w 1278736"/>
                <a:gd name="connsiteY69" fmla="*/ 0 h 993874"/>
                <a:gd name="connsiteX70" fmla="*/ 193779 w 1278736"/>
                <a:gd name="connsiteY70" fmla="*/ 258068 h 993874"/>
                <a:gd name="connsiteX71" fmla="*/ 194672 w 1278736"/>
                <a:gd name="connsiteY71" fmla="*/ 272355 h 993874"/>
                <a:gd name="connsiteX72" fmla="*/ 5 w 1278736"/>
                <a:gd name="connsiteY72" fmla="*/ 522387 h 993874"/>
                <a:gd name="connsiteX73" fmla="*/ 257180 w 1278736"/>
                <a:gd name="connsiteY73" fmla="*/ 778669 h 99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78736" h="993874">
                  <a:moveTo>
                    <a:pt x="257180" y="778669"/>
                  </a:moveTo>
                  <a:cubicBezTo>
                    <a:pt x="261645" y="778669"/>
                    <a:pt x="265217" y="778669"/>
                    <a:pt x="267003" y="777776"/>
                  </a:cubicBezTo>
                  <a:lnTo>
                    <a:pt x="493817" y="777776"/>
                  </a:lnTo>
                  <a:lnTo>
                    <a:pt x="493817" y="934938"/>
                  </a:lnTo>
                  <a:lnTo>
                    <a:pt x="451847" y="892969"/>
                  </a:lnTo>
                  <a:cubicBezTo>
                    <a:pt x="444703" y="885825"/>
                    <a:pt x="433988" y="885825"/>
                    <a:pt x="427737" y="892969"/>
                  </a:cubicBezTo>
                  <a:cubicBezTo>
                    <a:pt x="420593" y="900112"/>
                    <a:pt x="420593" y="910828"/>
                    <a:pt x="427737" y="917079"/>
                  </a:cubicBezTo>
                  <a:lnTo>
                    <a:pt x="499175" y="988517"/>
                  </a:lnTo>
                  <a:cubicBezTo>
                    <a:pt x="499175" y="988517"/>
                    <a:pt x="500068" y="988517"/>
                    <a:pt x="500068" y="989409"/>
                  </a:cubicBezTo>
                  <a:cubicBezTo>
                    <a:pt x="500961" y="990302"/>
                    <a:pt x="500961" y="990302"/>
                    <a:pt x="501853" y="991195"/>
                  </a:cubicBezTo>
                  <a:cubicBezTo>
                    <a:pt x="502746" y="992088"/>
                    <a:pt x="503639" y="992088"/>
                    <a:pt x="503639" y="992981"/>
                  </a:cubicBezTo>
                  <a:cubicBezTo>
                    <a:pt x="503639" y="992981"/>
                    <a:pt x="503639" y="992981"/>
                    <a:pt x="504532" y="992981"/>
                  </a:cubicBezTo>
                  <a:cubicBezTo>
                    <a:pt x="505426" y="992981"/>
                    <a:pt x="505426" y="992981"/>
                    <a:pt x="506318" y="992981"/>
                  </a:cubicBezTo>
                  <a:cubicBezTo>
                    <a:pt x="507211" y="992981"/>
                    <a:pt x="508104" y="993874"/>
                    <a:pt x="508997" y="993874"/>
                  </a:cubicBezTo>
                  <a:cubicBezTo>
                    <a:pt x="509890" y="993874"/>
                    <a:pt x="510783" y="993874"/>
                    <a:pt x="511676" y="993874"/>
                  </a:cubicBezTo>
                  <a:cubicBezTo>
                    <a:pt x="512569" y="993874"/>
                    <a:pt x="513462" y="993874"/>
                    <a:pt x="514355" y="993874"/>
                  </a:cubicBezTo>
                  <a:cubicBezTo>
                    <a:pt x="515248" y="993874"/>
                    <a:pt x="516141" y="993874"/>
                    <a:pt x="517034" y="992981"/>
                  </a:cubicBezTo>
                  <a:cubicBezTo>
                    <a:pt x="517927" y="992981"/>
                    <a:pt x="517927" y="992981"/>
                    <a:pt x="518820" y="992981"/>
                  </a:cubicBezTo>
                  <a:cubicBezTo>
                    <a:pt x="518820" y="992981"/>
                    <a:pt x="518820" y="992981"/>
                    <a:pt x="519713" y="992981"/>
                  </a:cubicBezTo>
                  <a:cubicBezTo>
                    <a:pt x="520606" y="992981"/>
                    <a:pt x="521499" y="992088"/>
                    <a:pt x="522392" y="991195"/>
                  </a:cubicBezTo>
                  <a:cubicBezTo>
                    <a:pt x="523285" y="990302"/>
                    <a:pt x="524178" y="990302"/>
                    <a:pt x="524178" y="989409"/>
                  </a:cubicBezTo>
                  <a:cubicBezTo>
                    <a:pt x="524178" y="989409"/>
                    <a:pt x="525071" y="989409"/>
                    <a:pt x="525071" y="988517"/>
                  </a:cubicBezTo>
                  <a:lnTo>
                    <a:pt x="526857" y="986731"/>
                  </a:lnTo>
                  <a:lnTo>
                    <a:pt x="595615" y="917972"/>
                  </a:lnTo>
                  <a:cubicBezTo>
                    <a:pt x="601866" y="911721"/>
                    <a:pt x="601866" y="902791"/>
                    <a:pt x="597401" y="895648"/>
                  </a:cubicBezTo>
                  <a:cubicBezTo>
                    <a:pt x="596508" y="894755"/>
                    <a:pt x="596508" y="893862"/>
                    <a:pt x="595615" y="893862"/>
                  </a:cubicBezTo>
                  <a:cubicBezTo>
                    <a:pt x="588472" y="886718"/>
                    <a:pt x="577756" y="886718"/>
                    <a:pt x="571505" y="893862"/>
                  </a:cubicBezTo>
                  <a:lnTo>
                    <a:pt x="557218" y="908149"/>
                  </a:lnTo>
                  <a:lnTo>
                    <a:pt x="529536" y="935831"/>
                  </a:lnTo>
                  <a:lnTo>
                    <a:pt x="529536" y="662583"/>
                  </a:lnTo>
                  <a:cubicBezTo>
                    <a:pt x="529536" y="659011"/>
                    <a:pt x="527750" y="655439"/>
                    <a:pt x="525964" y="652760"/>
                  </a:cubicBezTo>
                  <a:cubicBezTo>
                    <a:pt x="523285" y="648295"/>
                    <a:pt x="517927" y="645616"/>
                    <a:pt x="511676" y="645616"/>
                  </a:cubicBezTo>
                  <a:cubicBezTo>
                    <a:pt x="501853" y="645616"/>
                    <a:pt x="494710" y="653653"/>
                    <a:pt x="494710" y="662583"/>
                  </a:cubicBezTo>
                  <a:lnTo>
                    <a:pt x="494710" y="743843"/>
                  </a:lnTo>
                  <a:lnTo>
                    <a:pt x="267003" y="743843"/>
                  </a:lnTo>
                  <a:lnTo>
                    <a:pt x="266110" y="743843"/>
                  </a:lnTo>
                  <a:cubicBezTo>
                    <a:pt x="261645" y="743843"/>
                    <a:pt x="258966" y="744736"/>
                    <a:pt x="257180" y="744736"/>
                  </a:cubicBezTo>
                  <a:cubicBezTo>
                    <a:pt x="195565" y="744736"/>
                    <a:pt x="139308" y="719733"/>
                    <a:pt x="99125" y="679549"/>
                  </a:cubicBezTo>
                  <a:cubicBezTo>
                    <a:pt x="58941" y="639365"/>
                    <a:pt x="33938" y="583109"/>
                    <a:pt x="33938" y="521493"/>
                  </a:cubicBezTo>
                  <a:cubicBezTo>
                    <a:pt x="33938" y="412552"/>
                    <a:pt x="112519" y="321469"/>
                    <a:pt x="216103" y="301823"/>
                  </a:cubicBezTo>
                  <a:cubicBezTo>
                    <a:pt x="225033" y="300037"/>
                    <a:pt x="231284" y="292001"/>
                    <a:pt x="230391" y="283071"/>
                  </a:cubicBezTo>
                  <a:cubicBezTo>
                    <a:pt x="229498" y="274141"/>
                    <a:pt x="228605" y="266105"/>
                    <a:pt x="228605" y="257175"/>
                  </a:cubicBezTo>
                  <a:cubicBezTo>
                    <a:pt x="228605" y="195560"/>
                    <a:pt x="253608" y="139303"/>
                    <a:pt x="293792" y="99119"/>
                  </a:cubicBezTo>
                  <a:cubicBezTo>
                    <a:pt x="333975" y="58936"/>
                    <a:pt x="390232" y="33933"/>
                    <a:pt x="451847" y="33933"/>
                  </a:cubicBezTo>
                  <a:cubicBezTo>
                    <a:pt x="541144" y="33933"/>
                    <a:pt x="617047" y="85725"/>
                    <a:pt x="653658" y="160734"/>
                  </a:cubicBezTo>
                  <a:cubicBezTo>
                    <a:pt x="656337" y="165199"/>
                    <a:pt x="660802" y="168771"/>
                    <a:pt x="666160" y="170557"/>
                  </a:cubicBezTo>
                  <a:cubicBezTo>
                    <a:pt x="671517" y="171450"/>
                    <a:pt x="676875" y="169664"/>
                    <a:pt x="681340" y="166092"/>
                  </a:cubicBezTo>
                  <a:cubicBezTo>
                    <a:pt x="720631" y="130373"/>
                    <a:pt x="773316" y="108942"/>
                    <a:pt x="830466" y="108942"/>
                  </a:cubicBezTo>
                  <a:cubicBezTo>
                    <a:pt x="938515" y="108942"/>
                    <a:pt x="1028705" y="185737"/>
                    <a:pt x="1049243" y="288429"/>
                  </a:cubicBezTo>
                  <a:cubicBezTo>
                    <a:pt x="1051029" y="295572"/>
                    <a:pt x="1056387" y="300930"/>
                    <a:pt x="1062638" y="301823"/>
                  </a:cubicBezTo>
                  <a:cubicBezTo>
                    <a:pt x="1166222" y="321469"/>
                    <a:pt x="1244804" y="412552"/>
                    <a:pt x="1244804" y="521493"/>
                  </a:cubicBezTo>
                  <a:cubicBezTo>
                    <a:pt x="1244804" y="640259"/>
                    <a:pt x="1151935" y="737592"/>
                    <a:pt x="1034956" y="744736"/>
                  </a:cubicBezTo>
                  <a:cubicBezTo>
                    <a:pt x="1034956" y="744736"/>
                    <a:pt x="1034063" y="744736"/>
                    <a:pt x="1034063" y="744736"/>
                  </a:cubicBezTo>
                  <a:lnTo>
                    <a:pt x="1031384" y="744736"/>
                  </a:lnTo>
                  <a:lnTo>
                    <a:pt x="1030491" y="744736"/>
                  </a:lnTo>
                  <a:cubicBezTo>
                    <a:pt x="1026026" y="744736"/>
                    <a:pt x="1023347" y="745629"/>
                    <a:pt x="1021561" y="745629"/>
                  </a:cubicBezTo>
                  <a:cubicBezTo>
                    <a:pt x="1019775" y="745629"/>
                    <a:pt x="1017097" y="745629"/>
                    <a:pt x="1012632" y="744736"/>
                  </a:cubicBezTo>
                  <a:lnTo>
                    <a:pt x="1011739" y="744736"/>
                  </a:lnTo>
                  <a:lnTo>
                    <a:pt x="784925" y="744736"/>
                  </a:lnTo>
                  <a:lnTo>
                    <a:pt x="784925" y="779562"/>
                  </a:lnTo>
                  <a:lnTo>
                    <a:pt x="1011739" y="779562"/>
                  </a:lnTo>
                  <a:cubicBezTo>
                    <a:pt x="1014418" y="779562"/>
                    <a:pt x="1017097" y="780454"/>
                    <a:pt x="1021561" y="780454"/>
                  </a:cubicBezTo>
                  <a:cubicBezTo>
                    <a:pt x="1026026" y="780454"/>
                    <a:pt x="1029598" y="780454"/>
                    <a:pt x="1031384" y="779562"/>
                  </a:cubicBezTo>
                  <a:lnTo>
                    <a:pt x="1035849" y="779562"/>
                  </a:lnTo>
                  <a:cubicBezTo>
                    <a:pt x="1036742" y="779562"/>
                    <a:pt x="1037635" y="779562"/>
                    <a:pt x="1037635" y="779562"/>
                  </a:cubicBezTo>
                  <a:cubicBezTo>
                    <a:pt x="1172473" y="770632"/>
                    <a:pt x="1278736" y="659011"/>
                    <a:pt x="1278736" y="522387"/>
                  </a:cubicBezTo>
                  <a:cubicBezTo>
                    <a:pt x="1278736" y="400050"/>
                    <a:pt x="1193904" y="298252"/>
                    <a:pt x="1079604" y="271462"/>
                  </a:cubicBezTo>
                  <a:cubicBezTo>
                    <a:pt x="1051922" y="158948"/>
                    <a:pt x="950124" y="75902"/>
                    <a:pt x="829573" y="75902"/>
                  </a:cubicBezTo>
                  <a:cubicBezTo>
                    <a:pt x="771530" y="75902"/>
                    <a:pt x="717952" y="95547"/>
                    <a:pt x="674197" y="127694"/>
                  </a:cubicBezTo>
                  <a:cubicBezTo>
                    <a:pt x="629548" y="51792"/>
                    <a:pt x="546502" y="0"/>
                    <a:pt x="451847" y="0"/>
                  </a:cubicBezTo>
                  <a:cubicBezTo>
                    <a:pt x="308972" y="0"/>
                    <a:pt x="193779" y="115193"/>
                    <a:pt x="193779" y="258068"/>
                  </a:cubicBezTo>
                  <a:cubicBezTo>
                    <a:pt x="193779" y="262533"/>
                    <a:pt x="193779" y="267891"/>
                    <a:pt x="194672" y="272355"/>
                  </a:cubicBezTo>
                  <a:cubicBezTo>
                    <a:pt x="83051" y="300930"/>
                    <a:pt x="5" y="401836"/>
                    <a:pt x="5" y="522387"/>
                  </a:cubicBezTo>
                  <a:cubicBezTo>
                    <a:pt x="-888" y="662583"/>
                    <a:pt x="115198" y="778669"/>
                    <a:pt x="257180" y="77866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132" name="Forme libre 131">
              <a:extLst>
                <a:ext uri="{FF2B5EF4-FFF2-40B4-BE49-F238E27FC236}">
                  <a16:creationId xmlns:a16="http://schemas.microsoft.com/office/drawing/2014/main" id="{5C7437E5-2DF2-3BA6-8F8A-7AB6B95403FC}"/>
                </a:ext>
              </a:extLst>
            </p:cNvPr>
            <p:cNvSpPr/>
            <p:nvPr/>
          </p:nvSpPr>
          <p:spPr>
            <a:xfrm>
              <a:off x="4449013" y="4755951"/>
              <a:ext cx="120009" cy="159841"/>
            </a:xfrm>
            <a:custGeom>
              <a:avLst/>
              <a:gdLst>
                <a:gd name="connsiteX0" fmla="*/ 11067 w 120009"/>
                <a:gd name="connsiteY0" fmla="*/ 58936 h 159841"/>
                <a:gd name="connsiteX1" fmla="*/ 32499 w 120009"/>
                <a:gd name="connsiteY1" fmla="*/ 48221 h 159841"/>
                <a:gd name="connsiteX2" fmla="*/ 53930 w 120009"/>
                <a:gd name="connsiteY2" fmla="*/ 33040 h 159841"/>
                <a:gd name="connsiteX3" fmla="*/ 53930 w 120009"/>
                <a:gd name="connsiteY3" fmla="*/ 33040 h 159841"/>
                <a:gd name="connsiteX4" fmla="*/ 76254 w 120009"/>
                <a:gd name="connsiteY4" fmla="*/ 41077 h 159841"/>
                <a:gd name="connsiteX5" fmla="*/ 81612 w 120009"/>
                <a:gd name="connsiteY5" fmla="*/ 53578 h 159841"/>
                <a:gd name="connsiteX6" fmla="*/ 81612 w 120009"/>
                <a:gd name="connsiteY6" fmla="*/ 54471 h 159841"/>
                <a:gd name="connsiteX7" fmla="*/ 78933 w 120009"/>
                <a:gd name="connsiteY7" fmla="*/ 65187 h 159841"/>
                <a:gd name="connsiteX8" fmla="*/ 64645 w 120009"/>
                <a:gd name="connsiteY8" fmla="*/ 78582 h 159841"/>
                <a:gd name="connsiteX9" fmla="*/ 43214 w 120009"/>
                <a:gd name="connsiteY9" fmla="*/ 89297 h 159841"/>
                <a:gd name="connsiteX10" fmla="*/ 11067 w 120009"/>
                <a:gd name="connsiteY10" fmla="*/ 118765 h 159841"/>
                <a:gd name="connsiteX11" fmla="*/ 2138 w 120009"/>
                <a:gd name="connsiteY11" fmla="*/ 137517 h 159841"/>
                <a:gd name="connsiteX12" fmla="*/ 4817 w 120009"/>
                <a:gd name="connsiteY12" fmla="*/ 152698 h 159841"/>
                <a:gd name="connsiteX13" fmla="*/ 19104 w 120009"/>
                <a:gd name="connsiteY13" fmla="*/ 159842 h 159841"/>
                <a:gd name="connsiteX14" fmla="*/ 103043 w 120009"/>
                <a:gd name="connsiteY14" fmla="*/ 159842 h 159841"/>
                <a:gd name="connsiteX15" fmla="*/ 120010 w 120009"/>
                <a:gd name="connsiteY15" fmla="*/ 142875 h 159841"/>
                <a:gd name="connsiteX16" fmla="*/ 103043 w 120009"/>
                <a:gd name="connsiteY16" fmla="*/ 125909 h 159841"/>
                <a:gd name="connsiteX17" fmla="*/ 50358 w 120009"/>
                <a:gd name="connsiteY17" fmla="*/ 125909 h 159841"/>
                <a:gd name="connsiteX18" fmla="*/ 57502 w 120009"/>
                <a:gd name="connsiteY18" fmla="*/ 121444 h 159841"/>
                <a:gd name="connsiteX19" fmla="*/ 93220 w 120009"/>
                <a:gd name="connsiteY19" fmla="*/ 102691 h 159841"/>
                <a:gd name="connsiteX20" fmla="*/ 110187 w 120009"/>
                <a:gd name="connsiteY20" fmla="*/ 83939 h 159841"/>
                <a:gd name="connsiteX21" fmla="*/ 118224 w 120009"/>
                <a:gd name="connsiteY21" fmla="*/ 56257 h 159841"/>
                <a:gd name="connsiteX22" fmla="*/ 118224 w 120009"/>
                <a:gd name="connsiteY22" fmla="*/ 56257 h 159841"/>
                <a:gd name="connsiteX23" fmla="*/ 118224 w 120009"/>
                <a:gd name="connsiteY23" fmla="*/ 55364 h 159841"/>
                <a:gd name="connsiteX24" fmla="*/ 103043 w 120009"/>
                <a:gd name="connsiteY24" fmla="*/ 18753 h 159841"/>
                <a:gd name="connsiteX25" fmla="*/ 55716 w 120009"/>
                <a:gd name="connsiteY25" fmla="*/ 0 h 159841"/>
                <a:gd name="connsiteX26" fmla="*/ 54823 w 120009"/>
                <a:gd name="connsiteY26" fmla="*/ 0 h 159841"/>
                <a:gd name="connsiteX27" fmla="*/ 54823 w 120009"/>
                <a:gd name="connsiteY27" fmla="*/ 0 h 159841"/>
                <a:gd name="connsiteX28" fmla="*/ 2138 w 120009"/>
                <a:gd name="connsiteY28" fmla="*/ 39291 h 159841"/>
                <a:gd name="connsiteX29" fmla="*/ 11067 w 120009"/>
                <a:gd name="connsiteY29" fmla="*/ 58936 h 1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009" h="159841">
                  <a:moveTo>
                    <a:pt x="11067" y="58936"/>
                  </a:moveTo>
                  <a:cubicBezTo>
                    <a:pt x="19997" y="61615"/>
                    <a:pt x="29820" y="57150"/>
                    <a:pt x="32499" y="48221"/>
                  </a:cubicBezTo>
                  <a:cubicBezTo>
                    <a:pt x="35178" y="39291"/>
                    <a:pt x="44107" y="33040"/>
                    <a:pt x="53930" y="33040"/>
                  </a:cubicBezTo>
                  <a:lnTo>
                    <a:pt x="53930" y="33040"/>
                  </a:lnTo>
                  <a:cubicBezTo>
                    <a:pt x="66431" y="33040"/>
                    <a:pt x="72682" y="36612"/>
                    <a:pt x="76254" y="41077"/>
                  </a:cubicBezTo>
                  <a:cubicBezTo>
                    <a:pt x="79826" y="44648"/>
                    <a:pt x="81612" y="50007"/>
                    <a:pt x="81612" y="53578"/>
                  </a:cubicBezTo>
                  <a:lnTo>
                    <a:pt x="81612" y="54471"/>
                  </a:lnTo>
                  <a:cubicBezTo>
                    <a:pt x="81612" y="58936"/>
                    <a:pt x="80719" y="62508"/>
                    <a:pt x="78933" y="65187"/>
                  </a:cubicBezTo>
                  <a:cubicBezTo>
                    <a:pt x="76254" y="69652"/>
                    <a:pt x="71789" y="74117"/>
                    <a:pt x="64645" y="78582"/>
                  </a:cubicBezTo>
                  <a:cubicBezTo>
                    <a:pt x="58395" y="82153"/>
                    <a:pt x="50358" y="85725"/>
                    <a:pt x="43214" y="89297"/>
                  </a:cubicBezTo>
                  <a:cubicBezTo>
                    <a:pt x="27141" y="96441"/>
                    <a:pt x="17318" y="108942"/>
                    <a:pt x="11067" y="118765"/>
                  </a:cubicBezTo>
                  <a:cubicBezTo>
                    <a:pt x="4817" y="128588"/>
                    <a:pt x="3031" y="136625"/>
                    <a:pt x="2138" y="137517"/>
                  </a:cubicBezTo>
                  <a:cubicBezTo>
                    <a:pt x="352" y="142875"/>
                    <a:pt x="1245" y="148233"/>
                    <a:pt x="4817" y="152698"/>
                  </a:cubicBezTo>
                  <a:cubicBezTo>
                    <a:pt x="8388" y="157163"/>
                    <a:pt x="12853" y="159842"/>
                    <a:pt x="19104" y="159842"/>
                  </a:cubicBezTo>
                  <a:lnTo>
                    <a:pt x="103043" y="159842"/>
                  </a:lnTo>
                  <a:cubicBezTo>
                    <a:pt x="112866" y="159842"/>
                    <a:pt x="120010" y="151805"/>
                    <a:pt x="120010" y="142875"/>
                  </a:cubicBezTo>
                  <a:cubicBezTo>
                    <a:pt x="120010" y="133053"/>
                    <a:pt x="111973" y="125909"/>
                    <a:pt x="103043" y="125909"/>
                  </a:cubicBezTo>
                  <a:lnTo>
                    <a:pt x="50358" y="125909"/>
                  </a:lnTo>
                  <a:cubicBezTo>
                    <a:pt x="52144" y="124123"/>
                    <a:pt x="54823" y="122337"/>
                    <a:pt x="57502" y="121444"/>
                  </a:cubicBezTo>
                  <a:cubicBezTo>
                    <a:pt x="67324" y="116979"/>
                    <a:pt x="80719" y="111621"/>
                    <a:pt x="93220" y="102691"/>
                  </a:cubicBezTo>
                  <a:cubicBezTo>
                    <a:pt x="99471" y="98227"/>
                    <a:pt x="105722" y="91976"/>
                    <a:pt x="110187" y="83939"/>
                  </a:cubicBezTo>
                  <a:cubicBezTo>
                    <a:pt x="114652" y="75902"/>
                    <a:pt x="117331" y="66973"/>
                    <a:pt x="118224" y="56257"/>
                  </a:cubicBezTo>
                  <a:lnTo>
                    <a:pt x="118224" y="56257"/>
                  </a:lnTo>
                  <a:lnTo>
                    <a:pt x="118224" y="55364"/>
                  </a:lnTo>
                  <a:cubicBezTo>
                    <a:pt x="118224" y="43756"/>
                    <a:pt x="113759" y="30361"/>
                    <a:pt x="103043" y="18753"/>
                  </a:cubicBezTo>
                  <a:cubicBezTo>
                    <a:pt x="92327" y="8037"/>
                    <a:pt x="76254" y="0"/>
                    <a:pt x="55716" y="0"/>
                  </a:cubicBezTo>
                  <a:lnTo>
                    <a:pt x="54823" y="0"/>
                  </a:lnTo>
                  <a:lnTo>
                    <a:pt x="54823" y="0"/>
                  </a:lnTo>
                  <a:cubicBezTo>
                    <a:pt x="29820" y="0"/>
                    <a:pt x="9281" y="16074"/>
                    <a:pt x="2138" y="39291"/>
                  </a:cubicBezTo>
                  <a:cubicBezTo>
                    <a:pt x="-3220" y="46434"/>
                    <a:pt x="2138" y="56257"/>
                    <a:pt x="11067" y="5893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133" name="Forme libre 132">
              <a:extLst>
                <a:ext uri="{FF2B5EF4-FFF2-40B4-BE49-F238E27FC236}">
                  <a16:creationId xmlns:a16="http://schemas.microsoft.com/office/drawing/2014/main" id="{4EB1535B-0F9F-B4C1-29EC-05D2C1521F16}"/>
                </a:ext>
              </a:extLst>
            </p:cNvPr>
            <p:cNvSpPr/>
            <p:nvPr/>
          </p:nvSpPr>
          <p:spPr>
            <a:xfrm>
              <a:off x="3902868" y="4573786"/>
              <a:ext cx="226057" cy="301823"/>
            </a:xfrm>
            <a:custGeom>
              <a:avLst/>
              <a:gdLst>
                <a:gd name="connsiteX0" fmla="*/ 224135 w 226057"/>
                <a:gd name="connsiteY0" fmla="*/ 263426 h 301823"/>
                <a:gd name="connsiteX1" fmla="*/ 200918 w 226057"/>
                <a:gd name="connsiteY1" fmla="*/ 255389 h 301823"/>
                <a:gd name="connsiteX2" fmla="*/ 150019 w 226057"/>
                <a:gd name="connsiteY2" fmla="*/ 266997 h 301823"/>
                <a:gd name="connsiteX3" fmla="*/ 67866 w 226057"/>
                <a:gd name="connsiteY3" fmla="*/ 233065 h 301823"/>
                <a:gd name="connsiteX4" fmla="*/ 33933 w 226057"/>
                <a:gd name="connsiteY4" fmla="*/ 150911 h 301823"/>
                <a:gd name="connsiteX5" fmla="*/ 67866 w 226057"/>
                <a:gd name="connsiteY5" fmla="*/ 68759 h 301823"/>
                <a:gd name="connsiteX6" fmla="*/ 150019 w 226057"/>
                <a:gd name="connsiteY6" fmla="*/ 34825 h 301823"/>
                <a:gd name="connsiteX7" fmla="*/ 200918 w 226057"/>
                <a:gd name="connsiteY7" fmla="*/ 46434 h 301823"/>
                <a:gd name="connsiteX8" fmla="*/ 224135 w 226057"/>
                <a:gd name="connsiteY8" fmla="*/ 38398 h 301823"/>
                <a:gd name="connsiteX9" fmla="*/ 216099 w 226057"/>
                <a:gd name="connsiteY9" fmla="*/ 15181 h 301823"/>
                <a:gd name="connsiteX10" fmla="*/ 150912 w 226057"/>
                <a:gd name="connsiteY10" fmla="*/ 0 h 301823"/>
                <a:gd name="connsiteX11" fmla="*/ 0 w 226057"/>
                <a:gd name="connsiteY11" fmla="*/ 150911 h 301823"/>
                <a:gd name="connsiteX12" fmla="*/ 150912 w 226057"/>
                <a:gd name="connsiteY12" fmla="*/ 301823 h 301823"/>
                <a:gd name="connsiteX13" fmla="*/ 216099 w 226057"/>
                <a:gd name="connsiteY13" fmla="*/ 286643 h 301823"/>
                <a:gd name="connsiteX14" fmla="*/ 224135 w 226057"/>
                <a:gd name="connsiteY14" fmla="*/ 263426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057" h="301823">
                  <a:moveTo>
                    <a:pt x="224135" y="263426"/>
                  </a:moveTo>
                  <a:cubicBezTo>
                    <a:pt x="219670" y="254496"/>
                    <a:pt x="209848" y="250924"/>
                    <a:pt x="200918" y="255389"/>
                  </a:cubicBezTo>
                  <a:cubicBezTo>
                    <a:pt x="185738" y="262533"/>
                    <a:pt x="168771" y="266997"/>
                    <a:pt x="150019" y="266997"/>
                  </a:cubicBezTo>
                  <a:cubicBezTo>
                    <a:pt x="117872" y="266997"/>
                    <a:pt x="88404" y="253603"/>
                    <a:pt x="67866" y="233065"/>
                  </a:cubicBezTo>
                  <a:cubicBezTo>
                    <a:pt x="46434" y="211634"/>
                    <a:pt x="33933" y="183059"/>
                    <a:pt x="33933" y="150911"/>
                  </a:cubicBezTo>
                  <a:cubicBezTo>
                    <a:pt x="33933" y="118765"/>
                    <a:pt x="47328" y="89297"/>
                    <a:pt x="67866" y="68759"/>
                  </a:cubicBezTo>
                  <a:cubicBezTo>
                    <a:pt x="89297" y="47327"/>
                    <a:pt x="117872" y="34825"/>
                    <a:pt x="150019" y="34825"/>
                  </a:cubicBezTo>
                  <a:cubicBezTo>
                    <a:pt x="167878" y="34825"/>
                    <a:pt x="184845" y="39290"/>
                    <a:pt x="200918" y="46434"/>
                  </a:cubicBezTo>
                  <a:cubicBezTo>
                    <a:pt x="209848" y="50899"/>
                    <a:pt x="219670" y="47327"/>
                    <a:pt x="224135" y="38398"/>
                  </a:cubicBezTo>
                  <a:cubicBezTo>
                    <a:pt x="228600" y="29468"/>
                    <a:pt x="225028" y="19645"/>
                    <a:pt x="216099" y="15181"/>
                  </a:cubicBezTo>
                  <a:cubicBezTo>
                    <a:pt x="196453" y="5358"/>
                    <a:pt x="174129" y="0"/>
                    <a:pt x="150912" y="0"/>
                  </a:cubicBezTo>
                  <a:cubicBezTo>
                    <a:pt x="67866" y="0"/>
                    <a:pt x="0" y="67865"/>
                    <a:pt x="0" y="150911"/>
                  </a:cubicBezTo>
                  <a:cubicBezTo>
                    <a:pt x="0" y="233958"/>
                    <a:pt x="67866" y="301823"/>
                    <a:pt x="150912" y="301823"/>
                  </a:cubicBezTo>
                  <a:cubicBezTo>
                    <a:pt x="174129" y="301823"/>
                    <a:pt x="196453" y="296466"/>
                    <a:pt x="216099" y="286643"/>
                  </a:cubicBezTo>
                  <a:cubicBezTo>
                    <a:pt x="224135" y="282178"/>
                    <a:pt x="227707" y="271462"/>
                    <a:pt x="224135" y="26342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134" name="Forme libre 133">
              <a:extLst>
                <a:ext uri="{FF2B5EF4-FFF2-40B4-BE49-F238E27FC236}">
                  <a16:creationId xmlns:a16="http://schemas.microsoft.com/office/drawing/2014/main" id="{982A45CA-2058-9EF0-A8CD-5BFD1F02B0CE}"/>
                </a:ext>
              </a:extLst>
            </p:cNvPr>
            <p:cNvSpPr/>
            <p:nvPr/>
          </p:nvSpPr>
          <p:spPr>
            <a:xfrm>
              <a:off x="4122539" y="4572892"/>
              <a:ext cx="301823" cy="301823"/>
            </a:xfrm>
            <a:custGeom>
              <a:avLst/>
              <a:gdLst>
                <a:gd name="connsiteX0" fmla="*/ 150912 w 301823"/>
                <a:gd name="connsiteY0" fmla="*/ 301824 h 301823"/>
                <a:gd name="connsiteX1" fmla="*/ 301823 w 301823"/>
                <a:gd name="connsiteY1" fmla="*/ 150912 h 301823"/>
                <a:gd name="connsiteX2" fmla="*/ 150912 w 301823"/>
                <a:gd name="connsiteY2" fmla="*/ 0 h 301823"/>
                <a:gd name="connsiteX3" fmla="*/ 0 w 301823"/>
                <a:gd name="connsiteY3" fmla="*/ 150912 h 301823"/>
                <a:gd name="connsiteX4" fmla="*/ 150912 w 301823"/>
                <a:gd name="connsiteY4" fmla="*/ 301824 h 301823"/>
                <a:gd name="connsiteX5" fmla="*/ 68759 w 301823"/>
                <a:gd name="connsiteY5" fmla="*/ 68759 h 301823"/>
                <a:gd name="connsiteX6" fmla="*/ 150912 w 301823"/>
                <a:gd name="connsiteY6" fmla="*/ 34826 h 301823"/>
                <a:gd name="connsiteX7" fmla="*/ 233065 w 301823"/>
                <a:gd name="connsiteY7" fmla="*/ 68759 h 301823"/>
                <a:gd name="connsiteX8" fmla="*/ 266998 w 301823"/>
                <a:gd name="connsiteY8" fmla="*/ 150912 h 301823"/>
                <a:gd name="connsiteX9" fmla="*/ 233065 w 301823"/>
                <a:gd name="connsiteY9" fmla="*/ 233065 h 301823"/>
                <a:gd name="connsiteX10" fmla="*/ 150912 w 301823"/>
                <a:gd name="connsiteY10" fmla="*/ 266998 h 301823"/>
                <a:gd name="connsiteX11" fmla="*/ 68759 w 301823"/>
                <a:gd name="connsiteY11" fmla="*/ 233065 h 301823"/>
                <a:gd name="connsiteX12" fmla="*/ 34826 w 301823"/>
                <a:gd name="connsiteY12" fmla="*/ 150912 h 301823"/>
                <a:gd name="connsiteX13" fmla="*/ 68759 w 301823"/>
                <a:gd name="connsiteY13" fmla="*/ 68759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823" h="301823">
                  <a:moveTo>
                    <a:pt x="150912" y="301824"/>
                  </a:moveTo>
                  <a:cubicBezTo>
                    <a:pt x="233958" y="301824"/>
                    <a:pt x="301823" y="233958"/>
                    <a:pt x="301823" y="150912"/>
                  </a:cubicBezTo>
                  <a:cubicBezTo>
                    <a:pt x="301823" y="67866"/>
                    <a:pt x="233958" y="0"/>
                    <a:pt x="150912" y="0"/>
                  </a:cubicBezTo>
                  <a:cubicBezTo>
                    <a:pt x="67866" y="0"/>
                    <a:pt x="0" y="67866"/>
                    <a:pt x="0" y="150912"/>
                  </a:cubicBezTo>
                  <a:cubicBezTo>
                    <a:pt x="0" y="234851"/>
                    <a:pt x="67866" y="301824"/>
                    <a:pt x="150912" y="301824"/>
                  </a:cubicBezTo>
                  <a:close/>
                  <a:moveTo>
                    <a:pt x="68759" y="68759"/>
                  </a:moveTo>
                  <a:cubicBezTo>
                    <a:pt x="90190" y="47328"/>
                    <a:pt x="118765" y="34826"/>
                    <a:pt x="150912" y="34826"/>
                  </a:cubicBezTo>
                  <a:cubicBezTo>
                    <a:pt x="183059" y="34826"/>
                    <a:pt x="212526" y="48221"/>
                    <a:pt x="233065" y="68759"/>
                  </a:cubicBezTo>
                  <a:cubicBezTo>
                    <a:pt x="254496" y="90190"/>
                    <a:pt x="266998" y="118765"/>
                    <a:pt x="266998" y="150912"/>
                  </a:cubicBezTo>
                  <a:cubicBezTo>
                    <a:pt x="266998" y="183059"/>
                    <a:pt x="253603" y="212527"/>
                    <a:pt x="233065" y="233065"/>
                  </a:cubicBezTo>
                  <a:cubicBezTo>
                    <a:pt x="211634" y="254496"/>
                    <a:pt x="183059" y="266998"/>
                    <a:pt x="150912" y="266998"/>
                  </a:cubicBezTo>
                  <a:cubicBezTo>
                    <a:pt x="118765" y="266998"/>
                    <a:pt x="89297" y="253603"/>
                    <a:pt x="68759" y="233065"/>
                  </a:cubicBezTo>
                  <a:cubicBezTo>
                    <a:pt x="47327" y="211634"/>
                    <a:pt x="34826" y="183059"/>
                    <a:pt x="34826" y="150912"/>
                  </a:cubicBezTo>
                  <a:cubicBezTo>
                    <a:pt x="34826" y="118765"/>
                    <a:pt x="47327" y="90190"/>
                    <a:pt x="68759" y="6875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135" name="Forme libre 134">
              <a:extLst>
                <a:ext uri="{FF2B5EF4-FFF2-40B4-BE49-F238E27FC236}">
                  <a16:creationId xmlns:a16="http://schemas.microsoft.com/office/drawing/2014/main" id="{82B81A5C-DB5E-0EFD-CEF6-7A9D37193B25}"/>
                </a:ext>
              </a:extLst>
            </p:cNvPr>
            <p:cNvSpPr/>
            <p:nvPr/>
          </p:nvSpPr>
          <p:spPr>
            <a:xfrm>
              <a:off x="4152006" y="4994374"/>
              <a:ext cx="270151" cy="349151"/>
            </a:xfrm>
            <a:custGeom>
              <a:avLst/>
              <a:gdLst>
                <a:gd name="connsiteX0" fmla="*/ 200918 w 270151"/>
                <a:gd name="connsiteY0" fmla="*/ 16967 h 349151"/>
                <a:gd name="connsiteX1" fmla="*/ 197346 w 270151"/>
                <a:gd name="connsiteY1" fmla="*/ 7144 h 349151"/>
                <a:gd name="connsiteX2" fmla="*/ 183059 w 270151"/>
                <a:gd name="connsiteY2" fmla="*/ 0 h 349151"/>
                <a:gd name="connsiteX3" fmla="*/ 166092 w 270151"/>
                <a:gd name="connsiteY3" fmla="*/ 16967 h 349151"/>
                <a:gd name="connsiteX4" fmla="*/ 166092 w 270151"/>
                <a:gd name="connsiteY4" fmla="*/ 19645 h 349151"/>
                <a:gd name="connsiteX5" fmla="*/ 97334 w 270151"/>
                <a:gd name="connsiteY5" fmla="*/ 19645 h 349151"/>
                <a:gd name="connsiteX6" fmla="*/ 96441 w 270151"/>
                <a:gd name="connsiteY6" fmla="*/ 19645 h 349151"/>
                <a:gd name="connsiteX7" fmla="*/ 87511 w 270151"/>
                <a:gd name="connsiteY7" fmla="*/ 20538 h 349151"/>
                <a:gd name="connsiteX8" fmla="*/ 78581 w 270151"/>
                <a:gd name="connsiteY8" fmla="*/ 19645 h 349151"/>
                <a:gd name="connsiteX9" fmla="*/ 77688 w 270151"/>
                <a:gd name="connsiteY9" fmla="*/ 19645 h 349151"/>
                <a:gd name="connsiteX10" fmla="*/ 0 w 270151"/>
                <a:gd name="connsiteY10" fmla="*/ 19645 h 349151"/>
                <a:gd name="connsiteX11" fmla="*/ 0 w 270151"/>
                <a:gd name="connsiteY11" fmla="*/ 54471 h 349151"/>
                <a:gd name="connsiteX12" fmla="*/ 76795 w 270151"/>
                <a:gd name="connsiteY12" fmla="*/ 54471 h 349151"/>
                <a:gd name="connsiteX13" fmla="*/ 86618 w 270151"/>
                <a:gd name="connsiteY13" fmla="*/ 55364 h 349151"/>
                <a:gd name="connsiteX14" fmla="*/ 96441 w 270151"/>
                <a:gd name="connsiteY14" fmla="*/ 54471 h 349151"/>
                <a:gd name="connsiteX15" fmla="*/ 164306 w 270151"/>
                <a:gd name="connsiteY15" fmla="*/ 54471 h 349151"/>
                <a:gd name="connsiteX16" fmla="*/ 164306 w 270151"/>
                <a:gd name="connsiteY16" fmla="*/ 291108 h 349151"/>
                <a:gd name="connsiteX17" fmla="*/ 122337 w 270151"/>
                <a:gd name="connsiteY17" fmla="*/ 249139 h 349151"/>
                <a:gd name="connsiteX18" fmla="*/ 98227 w 270151"/>
                <a:gd name="connsiteY18" fmla="*/ 249139 h 349151"/>
                <a:gd name="connsiteX19" fmla="*/ 98227 w 270151"/>
                <a:gd name="connsiteY19" fmla="*/ 273249 h 349151"/>
                <a:gd name="connsiteX20" fmla="*/ 169664 w 270151"/>
                <a:gd name="connsiteY20" fmla="*/ 344686 h 349151"/>
                <a:gd name="connsiteX21" fmla="*/ 170557 w 270151"/>
                <a:gd name="connsiteY21" fmla="*/ 345579 h 349151"/>
                <a:gd name="connsiteX22" fmla="*/ 172343 w 270151"/>
                <a:gd name="connsiteY22" fmla="*/ 347365 h 349151"/>
                <a:gd name="connsiteX23" fmla="*/ 174129 w 270151"/>
                <a:gd name="connsiteY23" fmla="*/ 348258 h 349151"/>
                <a:gd name="connsiteX24" fmla="*/ 175022 w 270151"/>
                <a:gd name="connsiteY24" fmla="*/ 348258 h 349151"/>
                <a:gd name="connsiteX25" fmla="*/ 176808 w 270151"/>
                <a:gd name="connsiteY25" fmla="*/ 348258 h 349151"/>
                <a:gd name="connsiteX26" fmla="*/ 179487 w 270151"/>
                <a:gd name="connsiteY26" fmla="*/ 349151 h 349151"/>
                <a:gd name="connsiteX27" fmla="*/ 182166 w 270151"/>
                <a:gd name="connsiteY27" fmla="*/ 349151 h 349151"/>
                <a:gd name="connsiteX28" fmla="*/ 184845 w 270151"/>
                <a:gd name="connsiteY28" fmla="*/ 349151 h 349151"/>
                <a:gd name="connsiteX29" fmla="*/ 187523 w 270151"/>
                <a:gd name="connsiteY29" fmla="*/ 348258 h 349151"/>
                <a:gd name="connsiteX30" fmla="*/ 189309 w 270151"/>
                <a:gd name="connsiteY30" fmla="*/ 348258 h 349151"/>
                <a:gd name="connsiteX31" fmla="*/ 190203 w 270151"/>
                <a:gd name="connsiteY31" fmla="*/ 348258 h 349151"/>
                <a:gd name="connsiteX32" fmla="*/ 191988 w 270151"/>
                <a:gd name="connsiteY32" fmla="*/ 347365 h 349151"/>
                <a:gd name="connsiteX33" fmla="*/ 193774 w 270151"/>
                <a:gd name="connsiteY33" fmla="*/ 345579 h 349151"/>
                <a:gd name="connsiteX34" fmla="*/ 194667 w 270151"/>
                <a:gd name="connsiteY34" fmla="*/ 344686 h 349151"/>
                <a:gd name="connsiteX35" fmla="*/ 196453 w 270151"/>
                <a:gd name="connsiteY35" fmla="*/ 342900 h 349151"/>
                <a:gd name="connsiteX36" fmla="*/ 265212 w 270151"/>
                <a:gd name="connsiteY36" fmla="*/ 274142 h 349151"/>
                <a:gd name="connsiteX37" fmla="*/ 266998 w 270151"/>
                <a:gd name="connsiteY37" fmla="*/ 251817 h 349151"/>
                <a:gd name="connsiteX38" fmla="*/ 265212 w 270151"/>
                <a:gd name="connsiteY38" fmla="*/ 250031 h 349151"/>
                <a:gd name="connsiteX39" fmla="*/ 241102 w 270151"/>
                <a:gd name="connsiteY39" fmla="*/ 250031 h 349151"/>
                <a:gd name="connsiteX40" fmla="*/ 226814 w 270151"/>
                <a:gd name="connsiteY40" fmla="*/ 264319 h 349151"/>
                <a:gd name="connsiteX41" fmla="*/ 199132 w 270151"/>
                <a:gd name="connsiteY41" fmla="*/ 292001 h 349151"/>
                <a:gd name="connsiteX42" fmla="*/ 199132 w 270151"/>
                <a:gd name="connsiteY42" fmla="*/ 16967 h 34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0151" h="349151">
                  <a:moveTo>
                    <a:pt x="200918" y="16967"/>
                  </a:moveTo>
                  <a:cubicBezTo>
                    <a:pt x="200918" y="13395"/>
                    <a:pt x="199132" y="9823"/>
                    <a:pt x="197346" y="7144"/>
                  </a:cubicBezTo>
                  <a:cubicBezTo>
                    <a:pt x="193774" y="2679"/>
                    <a:pt x="189309" y="0"/>
                    <a:pt x="183059" y="0"/>
                  </a:cubicBezTo>
                  <a:cubicBezTo>
                    <a:pt x="173236" y="0"/>
                    <a:pt x="166092" y="8037"/>
                    <a:pt x="166092" y="16967"/>
                  </a:cubicBezTo>
                  <a:lnTo>
                    <a:pt x="166092" y="19645"/>
                  </a:lnTo>
                  <a:lnTo>
                    <a:pt x="97334" y="19645"/>
                  </a:lnTo>
                  <a:lnTo>
                    <a:pt x="96441" y="19645"/>
                  </a:lnTo>
                  <a:cubicBezTo>
                    <a:pt x="91976" y="19645"/>
                    <a:pt x="89297" y="20538"/>
                    <a:pt x="87511" y="20538"/>
                  </a:cubicBezTo>
                  <a:cubicBezTo>
                    <a:pt x="85725" y="20538"/>
                    <a:pt x="83046" y="20538"/>
                    <a:pt x="78581" y="19645"/>
                  </a:cubicBezTo>
                  <a:lnTo>
                    <a:pt x="77688" y="19645"/>
                  </a:lnTo>
                  <a:lnTo>
                    <a:pt x="0" y="19645"/>
                  </a:lnTo>
                  <a:lnTo>
                    <a:pt x="0" y="54471"/>
                  </a:lnTo>
                  <a:lnTo>
                    <a:pt x="76795" y="54471"/>
                  </a:lnTo>
                  <a:cubicBezTo>
                    <a:pt x="79474" y="54471"/>
                    <a:pt x="82153" y="55364"/>
                    <a:pt x="86618" y="55364"/>
                  </a:cubicBezTo>
                  <a:cubicBezTo>
                    <a:pt x="91083" y="55364"/>
                    <a:pt x="94655" y="55364"/>
                    <a:pt x="96441" y="54471"/>
                  </a:cubicBezTo>
                  <a:lnTo>
                    <a:pt x="164306" y="54471"/>
                  </a:lnTo>
                  <a:lnTo>
                    <a:pt x="164306" y="291108"/>
                  </a:lnTo>
                  <a:lnTo>
                    <a:pt x="122337" y="249139"/>
                  </a:lnTo>
                  <a:cubicBezTo>
                    <a:pt x="115193" y="241995"/>
                    <a:pt x="104477" y="241995"/>
                    <a:pt x="98227" y="249139"/>
                  </a:cubicBezTo>
                  <a:cubicBezTo>
                    <a:pt x="91083" y="256282"/>
                    <a:pt x="91083" y="266998"/>
                    <a:pt x="98227" y="273249"/>
                  </a:cubicBezTo>
                  <a:lnTo>
                    <a:pt x="169664" y="344686"/>
                  </a:lnTo>
                  <a:cubicBezTo>
                    <a:pt x="169664" y="344686"/>
                    <a:pt x="169664" y="344686"/>
                    <a:pt x="170557" y="345579"/>
                  </a:cubicBezTo>
                  <a:cubicBezTo>
                    <a:pt x="171450" y="346472"/>
                    <a:pt x="172343" y="346472"/>
                    <a:pt x="172343" y="347365"/>
                  </a:cubicBezTo>
                  <a:cubicBezTo>
                    <a:pt x="173236" y="348258"/>
                    <a:pt x="174129" y="348258"/>
                    <a:pt x="174129" y="348258"/>
                  </a:cubicBezTo>
                  <a:cubicBezTo>
                    <a:pt x="174129" y="348258"/>
                    <a:pt x="174129" y="348258"/>
                    <a:pt x="175022" y="348258"/>
                  </a:cubicBezTo>
                  <a:cubicBezTo>
                    <a:pt x="175915" y="348258"/>
                    <a:pt x="175915" y="348258"/>
                    <a:pt x="176808" y="348258"/>
                  </a:cubicBezTo>
                  <a:cubicBezTo>
                    <a:pt x="177701" y="348258"/>
                    <a:pt x="178594" y="349151"/>
                    <a:pt x="179487" y="349151"/>
                  </a:cubicBezTo>
                  <a:cubicBezTo>
                    <a:pt x="180380" y="349151"/>
                    <a:pt x="181273" y="349151"/>
                    <a:pt x="182166" y="349151"/>
                  </a:cubicBezTo>
                  <a:cubicBezTo>
                    <a:pt x="183059" y="349151"/>
                    <a:pt x="183952" y="349151"/>
                    <a:pt x="184845" y="349151"/>
                  </a:cubicBezTo>
                  <a:cubicBezTo>
                    <a:pt x="185738" y="349151"/>
                    <a:pt x="186631" y="349151"/>
                    <a:pt x="187523" y="348258"/>
                  </a:cubicBezTo>
                  <a:cubicBezTo>
                    <a:pt x="188416" y="348258"/>
                    <a:pt x="188416" y="348258"/>
                    <a:pt x="189309" y="348258"/>
                  </a:cubicBezTo>
                  <a:cubicBezTo>
                    <a:pt x="189309" y="348258"/>
                    <a:pt x="189309" y="348258"/>
                    <a:pt x="190203" y="348258"/>
                  </a:cubicBezTo>
                  <a:cubicBezTo>
                    <a:pt x="191096" y="348258"/>
                    <a:pt x="191988" y="347365"/>
                    <a:pt x="191988" y="347365"/>
                  </a:cubicBezTo>
                  <a:cubicBezTo>
                    <a:pt x="192881" y="346472"/>
                    <a:pt x="193774" y="346472"/>
                    <a:pt x="193774" y="345579"/>
                  </a:cubicBezTo>
                  <a:cubicBezTo>
                    <a:pt x="193774" y="345579"/>
                    <a:pt x="193774" y="345579"/>
                    <a:pt x="194667" y="344686"/>
                  </a:cubicBezTo>
                  <a:lnTo>
                    <a:pt x="196453" y="342900"/>
                  </a:lnTo>
                  <a:lnTo>
                    <a:pt x="265212" y="274142"/>
                  </a:lnTo>
                  <a:cubicBezTo>
                    <a:pt x="271463" y="267891"/>
                    <a:pt x="271463" y="258961"/>
                    <a:pt x="266998" y="251817"/>
                  </a:cubicBezTo>
                  <a:cubicBezTo>
                    <a:pt x="266105" y="250925"/>
                    <a:pt x="266105" y="250031"/>
                    <a:pt x="265212" y="250031"/>
                  </a:cubicBezTo>
                  <a:cubicBezTo>
                    <a:pt x="258068" y="242888"/>
                    <a:pt x="247352" y="242888"/>
                    <a:pt x="241102" y="250031"/>
                  </a:cubicBezTo>
                  <a:lnTo>
                    <a:pt x="226814" y="264319"/>
                  </a:lnTo>
                  <a:lnTo>
                    <a:pt x="199132" y="292001"/>
                  </a:lnTo>
                  <a:lnTo>
                    <a:pt x="199132" y="16967"/>
                  </a:ln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grpSp>
      <p:cxnSp>
        <p:nvCxnSpPr>
          <p:cNvPr id="137" name="Connecteur droit 136">
            <a:extLst>
              <a:ext uri="{FF2B5EF4-FFF2-40B4-BE49-F238E27FC236}">
                <a16:creationId xmlns:a16="http://schemas.microsoft.com/office/drawing/2014/main" id="{06D0DFB2-267E-B24D-26E0-0BE894B227FA}"/>
              </a:ext>
            </a:extLst>
          </p:cNvPr>
          <p:cNvCxnSpPr>
            <a:cxnSpLocks/>
          </p:cNvCxnSpPr>
          <p:nvPr/>
        </p:nvCxnSpPr>
        <p:spPr>
          <a:xfrm>
            <a:off x="4112144" y="4414654"/>
            <a:ext cx="0" cy="503840"/>
          </a:xfrm>
          <a:prstGeom prst="line">
            <a:avLst/>
          </a:prstGeom>
          <a:ln w="222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nvGrpSpPr>
          <p:cNvPr id="138" name="Graphique 37">
            <a:extLst>
              <a:ext uri="{FF2B5EF4-FFF2-40B4-BE49-F238E27FC236}">
                <a16:creationId xmlns:a16="http://schemas.microsoft.com/office/drawing/2014/main" id="{CD69E1A7-19E5-F5AA-E56A-F11ACBFF7B1B}"/>
              </a:ext>
            </a:extLst>
          </p:cNvPr>
          <p:cNvGrpSpPr/>
          <p:nvPr/>
        </p:nvGrpSpPr>
        <p:grpSpPr>
          <a:xfrm>
            <a:off x="4210314" y="4472932"/>
            <a:ext cx="449362" cy="377186"/>
            <a:chOff x="3596575" y="4270176"/>
            <a:chExt cx="1278736" cy="1073348"/>
          </a:xfrm>
          <a:solidFill>
            <a:schemeClr val="bg1"/>
          </a:solidFill>
        </p:grpSpPr>
        <p:sp>
          <p:nvSpPr>
            <p:cNvPr id="139" name="Forme libre 138">
              <a:extLst>
                <a:ext uri="{FF2B5EF4-FFF2-40B4-BE49-F238E27FC236}">
                  <a16:creationId xmlns:a16="http://schemas.microsoft.com/office/drawing/2014/main" id="{760DB73A-AD91-6FF9-1666-FD19B9703A44}"/>
                </a:ext>
              </a:extLst>
            </p:cNvPr>
            <p:cNvSpPr/>
            <p:nvPr/>
          </p:nvSpPr>
          <p:spPr>
            <a:xfrm>
              <a:off x="3596575" y="4270176"/>
              <a:ext cx="1278736" cy="993874"/>
            </a:xfrm>
            <a:custGeom>
              <a:avLst/>
              <a:gdLst>
                <a:gd name="connsiteX0" fmla="*/ 257180 w 1278736"/>
                <a:gd name="connsiteY0" fmla="*/ 778669 h 993874"/>
                <a:gd name="connsiteX1" fmla="*/ 267003 w 1278736"/>
                <a:gd name="connsiteY1" fmla="*/ 777776 h 993874"/>
                <a:gd name="connsiteX2" fmla="*/ 493817 w 1278736"/>
                <a:gd name="connsiteY2" fmla="*/ 777776 h 993874"/>
                <a:gd name="connsiteX3" fmla="*/ 493817 w 1278736"/>
                <a:gd name="connsiteY3" fmla="*/ 934938 h 993874"/>
                <a:gd name="connsiteX4" fmla="*/ 451847 w 1278736"/>
                <a:gd name="connsiteY4" fmla="*/ 892969 h 993874"/>
                <a:gd name="connsiteX5" fmla="*/ 427737 w 1278736"/>
                <a:gd name="connsiteY5" fmla="*/ 892969 h 993874"/>
                <a:gd name="connsiteX6" fmla="*/ 427737 w 1278736"/>
                <a:gd name="connsiteY6" fmla="*/ 917079 h 993874"/>
                <a:gd name="connsiteX7" fmla="*/ 499175 w 1278736"/>
                <a:gd name="connsiteY7" fmla="*/ 988517 h 993874"/>
                <a:gd name="connsiteX8" fmla="*/ 500068 w 1278736"/>
                <a:gd name="connsiteY8" fmla="*/ 989409 h 993874"/>
                <a:gd name="connsiteX9" fmla="*/ 501853 w 1278736"/>
                <a:gd name="connsiteY9" fmla="*/ 991195 h 993874"/>
                <a:gd name="connsiteX10" fmla="*/ 503639 w 1278736"/>
                <a:gd name="connsiteY10" fmla="*/ 992981 h 993874"/>
                <a:gd name="connsiteX11" fmla="*/ 504532 w 1278736"/>
                <a:gd name="connsiteY11" fmla="*/ 992981 h 993874"/>
                <a:gd name="connsiteX12" fmla="*/ 506318 w 1278736"/>
                <a:gd name="connsiteY12" fmla="*/ 992981 h 993874"/>
                <a:gd name="connsiteX13" fmla="*/ 508997 w 1278736"/>
                <a:gd name="connsiteY13" fmla="*/ 993874 h 993874"/>
                <a:gd name="connsiteX14" fmla="*/ 511676 w 1278736"/>
                <a:gd name="connsiteY14" fmla="*/ 993874 h 993874"/>
                <a:gd name="connsiteX15" fmla="*/ 514355 w 1278736"/>
                <a:gd name="connsiteY15" fmla="*/ 993874 h 993874"/>
                <a:gd name="connsiteX16" fmla="*/ 517034 w 1278736"/>
                <a:gd name="connsiteY16" fmla="*/ 992981 h 993874"/>
                <a:gd name="connsiteX17" fmla="*/ 518820 w 1278736"/>
                <a:gd name="connsiteY17" fmla="*/ 992981 h 993874"/>
                <a:gd name="connsiteX18" fmla="*/ 519713 w 1278736"/>
                <a:gd name="connsiteY18" fmla="*/ 992981 h 993874"/>
                <a:gd name="connsiteX19" fmla="*/ 522392 w 1278736"/>
                <a:gd name="connsiteY19" fmla="*/ 991195 h 993874"/>
                <a:gd name="connsiteX20" fmla="*/ 524178 w 1278736"/>
                <a:gd name="connsiteY20" fmla="*/ 989409 h 993874"/>
                <a:gd name="connsiteX21" fmla="*/ 525071 w 1278736"/>
                <a:gd name="connsiteY21" fmla="*/ 988517 h 993874"/>
                <a:gd name="connsiteX22" fmla="*/ 526857 w 1278736"/>
                <a:gd name="connsiteY22" fmla="*/ 986731 h 993874"/>
                <a:gd name="connsiteX23" fmla="*/ 595615 w 1278736"/>
                <a:gd name="connsiteY23" fmla="*/ 917972 h 993874"/>
                <a:gd name="connsiteX24" fmla="*/ 597401 w 1278736"/>
                <a:gd name="connsiteY24" fmla="*/ 895648 h 993874"/>
                <a:gd name="connsiteX25" fmla="*/ 595615 w 1278736"/>
                <a:gd name="connsiteY25" fmla="*/ 893862 h 993874"/>
                <a:gd name="connsiteX26" fmla="*/ 571505 w 1278736"/>
                <a:gd name="connsiteY26" fmla="*/ 893862 h 993874"/>
                <a:gd name="connsiteX27" fmla="*/ 557218 w 1278736"/>
                <a:gd name="connsiteY27" fmla="*/ 908149 h 993874"/>
                <a:gd name="connsiteX28" fmla="*/ 529536 w 1278736"/>
                <a:gd name="connsiteY28" fmla="*/ 935831 h 993874"/>
                <a:gd name="connsiteX29" fmla="*/ 529536 w 1278736"/>
                <a:gd name="connsiteY29" fmla="*/ 662583 h 993874"/>
                <a:gd name="connsiteX30" fmla="*/ 525964 w 1278736"/>
                <a:gd name="connsiteY30" fmla="*/ 652760 h 993874"/>
                <a:gd name="connsiteX31" fmla="*/ 511676 w 1278736"/>
                <a:gd name="connsiteY31" fmla="*/ 645616 h 993874"/>
                <a:gd name="connsiteX32" fmla="*/ 494710 w 1278736"/>
                <a:gd name="connsiteY32" fmla="*/ 662583 h 993874"/>
                <a:gd name="connsiteX33" fmla="*/ 494710 w 1278736"/>
                <a:gd name="connsiteY33" fmla="*/ 743843 h 993874"/>
                <a:gd name="connsiteX34" fmla="*/ 267003 w 1278736"/>
                <a:gd name="connsiteY34" fmla="*/ 743843 h 993874"/>
                <a:gd name="connsiteX35" fmla="*/ 266110 w 1278736"/>
                <a:gd name="connsiteY35" fmla="*/ 743843 h 993874"/>
                <a:gd name="connsiteX36" fmla="*/ 257180 w 1278736"/>
                <a:gd name="connsiteY36" fmla="*/ 744736 h 993874"/>
                <a:gd name="connsiteX37" fmla="*/ 99125 w 1278736"/>
                <a:gd name="connsiteY37" fmla="*/ 679549 h 993874"/>
                <a:gd name="connsiteX38" fmla="*/ 33938 w 1278736"/>
                <a:gd name="connsiteY38" fmla="*/ 521493 h 993874"/>
                <a:gd name="connsiteX39" fmla="*/ 216103 w 1278736"/>
                <a:gd name="connsiteY39" fmla="*/ 301823 h 993874"/>
                <a:gd name="connsiteX40" fmla="*/ 230391 w 1278736"/>
                <a:gd name="connsiteY40" fmla="*/ 283071 h 993874"/>
                <a:gd name="connsiteX41" fmla="*/ 228605 w 1278736"/>
                <a:gd name="connsiteY41" fmla="*/ 257175 h 993874"/>
                <a:gd name="connsiteX42" fmla="*/ 293792 w 1278736"/>
                <a:gd name="connsiteY42" fmla="*/ 99119 h 993874"/>
                <a:gd name="connsiteX43" fmla="*/ 451847 w 1278736"/>
                <a:gd name="connsiteY43" fmla="*/ 33933 h 993874"/>
                <a:gd name="connsiteX44" fmla="*/ 653658 w 1278736"/>
                <a:gd name="connsiteY44" fmla="*/ 160734 h 993874"/>
                <a:gd name="connsiteX45" fmla="*/ 666160 w 1278736"/>
                <a:gd name="connsiteY45" fmla="*/ 170557 h 993874"/>
                <a:gd name="connsiteX46" fmla="*/ 681340 w 1278736"/>
                <a:gd name="connsiteY46" fmla="*/ 166092 h 993874"/>
                <a:gd name="connsiteX47" fmla="*/ 830466 w 1278736"/>
                <a:gd name="connsiteY47" fmla="*/ 108942 h 993874"/>
                <a:gd name="connsiteX48" fmla="*/ 1049243 w 1278736"/>
                <a:gd name="connsiteY48" fmla="*/ 288429 h 993874"/>
                <a:gd name="connsiteX49" fmla="*/ 1062638 w 1278736"/>
                <a:gd name="connsiteY49" fmla="*/ 301823 h 993874"/>
                <a:gd name="connsiteX50" fmla="*/ 1244804 w 1278736"/>
                <a:gd name="connsiteY50" fmla="*/ 521493 h 993874"/>
                <a:gd name="connsiteX51" fmla="*/ 1034956 w 1278736"/>
                <a:gd name="connsiteY51" fmla="*/ 744736 h 993874"/>
                <a:gd name="connsiteX52" fmla="*/ 1034063 w 1278736"/>
                <a:gd name="connsiteY52" fmla="*/ 744736 h 993874"/>
                <a:gd name="connsiteX53" fmla="*/ 1031384 w 1278736"/>
                <a:gd name="connsiteY53" fmla="*/ 744736 h 993874"/>
                <a:gd name="connsiteX54" fmla="*/ 1030491 w 1278736"/>
                <a:gd name="connsiteY54" fmla="*/ 744736 h 993874"/>
                <a:gd name="connsiteX55" fmla="*/ 1021561 w 1278736"/>
                <a:gd name="connsiteY55" fmla="*/ 745629 h 993874"/>
                <a:gd name="connsiteX56" fmla="*/ 1012632 w 1278736"/>
                <a:gd name="connsiteY56" fmla="*/ 744736 h 993874"/>
                <a:gd name="connsiteX57" fmla="*/ 1011739 w 1278736"/>
                <a:gd name="connsiteY57" fmla="*/ 744736 h 993874"/>
                <a:gd name="connsiteX58" fmla="*/ 784925 w 1278736"/>
                <a:gd name="connsiteY58" fmla="*/ 744736 h 993874"/>
                <a:gd name="connsiteX59" fmla="*/ 784925 w 1278736"/>
                <a:gd name="connsiteY59" fmla="*/ 779562 h 993874"/>
                <a:gd name="connsiteX60" fmla="*/ 1011739 w 1278736"/>
                <a:gd name="connsiteY60" fmla="*/ 779562 h 993874"/>
                <a:gd name="connsiteX61" fmla="*/ 1021561 w 1278736"/>
                <a:gd name="connsiteY61" fmla="*/ 780454 h 993874"/>
                <a:gd name="connsiteX62" fmla="*/ 1031384 w 1278736"/>
                <a:gd name="connsiteY62" fmla="*/ 779562 h 993874"/>
                <a:gd name="connsiteX63" fmla="*/ 1035849 w 1278736"/>
                <a:gd name="connsiteY63" fmla="*/ 779562 h 993874"/>
                <a:gd name="connsiteX64" fmla="*/ 1037635 w 1278736"/>
                <a:gd name="connsiteY64" fmla="*/ 779562 h 993874"/>
                <a:gd name="connsiteX65" fmla="*/ 1278736 w 1278736"/>
                <a:gd name="connsiteY65" fmla="*/ 522387 h 993874"/>
                <a:gd name="connsiteX66" fmla="*/ 1079604 w 1278736"/>
                <a:gd name="connsiteY66" fmla="*/ 271462 h 993874"/>
                <a:gd name="connsiteX67" fmla="*/ 829573 w 1278736"/>
                <a:gd name="connsiteY67" fmla="*/ 75902 h 993874"/>
                <a:gd name="connsiteX68" fmla="*/ 674197 w 1278736"/>
                <a:gd name="connsiteY68" fmla="*/ 127694 h 993874"/>
                <a:gd name="connsiteX69" fmla="*/ 451847 w 1278736"/>
                <a:gd name="connsiteY69" fmla="*/ 0 h 993874"/>
                <a:gd name="connsiteX70" fmla="*/ 193779 w 1278736"/>
                <a:gd name="connsiteY70" fmla="*/ 258068 h 993874"/>
                <a:gd name="connsiteX71" fmla="*/ 194672 w 1278736"/>
                <a:gd name="connsiteY71" fmla="*/ 272355 h 993874"/>
                <a:gd name="connsiteX72" fmla="*/ 5 w 1278736"/>
                <a:gd name="connsiteY72" fmla="*/ 522387 h 993874"/>
                <a:gd name="connsiteX73" fmla="*/ 257180 w 1278736"/>
                <a:gd name="connsiteY73" fmla="*/ 778669 h 99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78736" h="993874">
                  <a:moveTo>
                    <a:pt x="257180" y="778669"/>
                  </a:moveTo>
                  <a:cubicBezTo>
                    <a:pt x="261645" y="778669"/>
                    <a:pt x="265217" y="778669"/>
                    <a:pt x="267003" y="777776"/>
                  </a:cubicBezTo>
                  <a:lnTo>
                    <a:pt x="493817" y="777776"/>
                  </a:lnTo>
                  <a:lnTo>
                    <a:pt x="493817" y="934938"/>
                  </a:lnTo>
                  <a:lnTo>
                    <a:pt x="451847" y="892969"/>
                  </a:lnTo>
                  <a:cubicBezTo>
                    <a:pt x="444703" y="885825"/>
                    <a:pt x="433988" y="885825"/>
                    <a:pt x="427737" y="892969"/>
                  </a:cubicBezTo>
                  <a:cubicBezTo>
                    <a:pt x="420593" y="900112"/>
                    <a:pt x="420593" y="910828"/>
                    <a:pt x="427737" y="917079"/>
                  </a:cubicBezTo>
                  <a:lnTo>
                    <a:pt x="499175" y="988517"/>
                  </a:lnTo>
                  <a:cubicBezTo>
                    <a:pt x="499175" y="988517"/>
                    <a:pt x="500068" y="988517"/>
                    <a:pt x="500068" y="989409"/>
                  </a:cubicBezTo>
                  <a:cubicBezTo>
                    <a:pt x="500961" y="990302"/>
                    <a:pt x="500961" y="990302"/>
                    <a:pt x="501853" y="991195"/>
                  </a:cubicBezTo>
                  <a:cubicBezTo>
                    <a:pt x="502746" y="992088"/>
                    <a:pt x="503639" y="992088"/>
                    <a:pt x="503639" y="992981"/>
                  </a:cubicBezTo>
                  <a:cubicBezTo>
                    <a:pt x="503639" y="992981"/>
                    <a:pt x="503639" y="992981"/>
                    <a:pt x="504532" y="992981"/>
                  </a:cubicBezTo>
                  <a:cubicBezTo>
                    <a:pt x="505426" y="992981"/>
                    <a:pt x="505426" y="992981"/>
                    <a:pt x="506318" y="992981"/>
                  </a:cubicBezTo>
                  <a:cubicBezTo>
                    <a:pt x="507211" y="992981"/>
                    <a:pt x="508104" y="993874"/>
                    <a:pt x="508997" y="993874"/>
                  </a:cubicBezTo>
                  <a:cubicBezTo>
                    <a:pt x="509890" y="993874"/>
                    <a:pt x="510783" y="993874"/>
                    <a:pt x="511676" y="993874"/>
                  </a:cubicBezTo>
                  <a:cubicBezTo>
                    <a:pt x="512569" y="993874"/>
                    <a:pt x="513462" y="993874"/>
                    <a:pt x="514355" y="993874"/>
                  </a:cubicBezTo>
                  <a:cubicBezTo>
                    <a:pt x="515248" y="993874"/>
                    <a:pt x="516141" y="993874"/>
                    <a:pt x="517034" y="992981"/>
                  </a:cubicBezTo>
                  <a:cubicBezTo>
                    <a:pt x="517927" y="992981"/>
                    <a:pt x="517927" y="992981"/>
                    <a:pt x="518820" y="992981"/>
                  </a:cubicBezTo>
                  <a:cubicBezTo>
                    <a:pt x="518820" y="992981"/>
                    <a:pt x="518820" y="992981"/>
                    <a:pt x="519713" y="992981"/>
                  </a:cubicBezTo>
                  <a:cubicBezTo>
                    <a:pt x="520606" y="992981"/>
                    <a:pt x="521499" y="992088"/>
                    <a:pt x="522392" y="991195"/>
                  </a:cubicBezTo>
                  <a:cubicBezTo>
                    <a:pt x="523285" y="990302"/>
                    <a:pt x="524178" y="990302"/>
                    <a:pt x="524178" y="989409"/>
                  </a:cubicBezTo>
                  <a:cubicBezTo>
                    <a:pt x="524178" y="989409"/>
                    <a:pt x="525071" y="989409"/>
                    <a:pt x="525071" y="988517"/>
                  </a:cubicBezTo>
                  <a:lnTo>
                    <a:pt x="526857" y="986731"/>
                  </a:lnTo>
                  <a:lnTo>
                    <a:pt x="595615" y="917972"/>
                  </a:lnTo>
                  <a:cubicBezTo>
                    <a:pt x="601866" y="911721"/>
                    <a:pt x="601866" y="902791"/>
                    <a:pt x="597401" y="895648"/>
                  </a:cubicBezTo>
                  <a:cubicBezTo>
                    <a:pt x="596508" y="894755"/>
                    <a:pt x="596508" y="893862"/>
                    <a:pt x="595615" y="893862"/>
                  </a:cubicBezTo>
                  <a:cubicBezTo>
                    <a:pt x="588472" y="886718"/>
                    <a:pt x="577756" y="886718"/>
                    <a:pt x="571505" y="893862"/>
                  </a:cubicBezTo>
                  <a:lnTo>
                    <a:pt x="557218" y="908149"/>
                  </a:lnTo>
                  <a:lnTo>
                    <a:pt x="529536" y="935831"/>
                  </a:lnTo>
                  <a:lnTo>
                    <a:pt x="529536" y="662583"/>
                  </a:lnTo>
                  <a:cubicBezTo>
                    <a:pt x="529536" y="659011"/>
                    <a:pt x="527750" y="655439"/>
                    <a:pt x="525964" y="652760"/>
                  </a:cubicBezTo>
                  <a:cubicBezTo>
                    <a:pt x="523285" y="648295"/>
                    <a:pt x="517927" y="645616"/>
                    <a:pt x="511676" y="645616"/>
                  </a:cubicBezTo>
                  <a:cubicBezTo>
                    <a:pt x="501853" y="645616"/>
                    <a:pt x="494710" y="653653"/>
                    <a:pt x="494710" y="662583"/>
                  </a:cubicBezTo>
                  <a:lnTo>
                    <a:pt x="494710" y="743843"/>
                  </a:lnTo>
                  <a:lnTo>
                    <a:pt x="267003" y="743843"/>
                  </a:lnTo>
                  <a:lnTo>
                    <a:pt x="266110" y="743843"/>
                  </a:lnTo>
                  <a:cubicBezTo>
                    <a:pt x="261645" y="743843"/>
                    <a:pt x="258966" y="744736"/>
                    <a:pt x="257180" y="744736"/>
                  </a:cubicBezTo>
                  <a:cubicBezTo>
                    <a:pt x="195565" y="744736"/>
                    <a:pt x="139308" y="719733"/>
                    <a:pt x="99125" y="679549"/>
                  </a:cubicBezTo>
                  <a:cubicBezTo>
                    <a:pt x="58941" y="639365"/>
                    <a:pt x="33938" y="583109"/>
                    <a:pt x="33938" y="521493"/>
                  </a:cubicBezTo>
                  <a:cubicBezTo>
                    <a:pt x="33938" y="412552"/>
                    <a:pt x="112519" y="321469"/>
                    <a:pt x="216103" y="301823"/>
                  </a:cubicBezTo>
                  <a:cubicBezTo>
                    <a:pt x="225033" y="300037"/>
                    <a:pt x="231284" y="292001"/>
                    <a:pt x="230391" y="283071"/>
                  </a:cubicBezTo>
                  <a:cubicBezTo>
                    <a:pt x="229498" y="274141"/>
                    <a:pt x="228605" y="266105"/>
                    <a:pt x="228605" y="257175"/>
                  </a:cubicBezTo>
                  <a:cubicBezTo>
                    <a:pt x="228605" y="195560"/>
                    <a:pt x="253608" y="139303"/>
                    <a:pt x="293792" y="99119"/>
                  </a:cubicBezTo>
                  <a:cubicBezTo>
                    <a:pt x="333975" y="58936"/>
                    <a:pt x="390232" y="33933"/>
                    <a:pt x="451847" y="33933"/>
                  </a:cubicBezTo>
                  <a:cubicBezTo>
                    <a:pt x="541144" y="33933"/>
                    <a:pt x="617047" y="85725"/>
                    <a:pt x="653658" y="160734"/>
                  </a:cubicBezTo>
                  <a:cubicBezTo>
                    <a:pt x="656337" y="165199"/>
                    <a:pt x="660802" y="168771"/>
                    <a:pt x="666160" y="170557"/>
                  </a:cubicBezTo>
                  <a:cubicBezTo>
                    <a:pt x="671517" y="171450"/>
                    <a:pt x="676875" y="169664"/>
                    <a:pt x="681340" y="166092"/>
                  </a:cubicBezTo>
                  <a:cubicBezTo>
                    <a:pt x="720631" y="130373"/>
                    <a:pt x="773316" y="108942"/>
                    <a:pt x="830466" y="108942"/>
                  </a:cubicBezTo>
                  <a:cubicBezTo>
                    <a:pt x="938515" y="108942"/>
                    <a:pt x="1028705" y="185737"/>
                    <a:pt x="1049243" y="288429"/>
                  </a:cubicBezTo>
                  <a:cubicBezTo>
                    <a:pt x="1051029" y="295572"/>
                    <a:pt x="1056387" y="300930"/>
                    <a:pt x="1062638" y="301823"/>
                  </a:cubicBezTo>
                  <a:cubicBezTo>
                    <a:pt x="1166222" y="321469"/>
                    <a:pt x="1244804" y="412552"/>
                    <a:pt x="1244804" y="521493"/>
                  </a:cubicBezTo>
                  <a:cubicBezTo>
                    <a:pt x="1244804" y="640259"/>
                    <a:pt x="1151935" y="737592"/>
                    <a:pt x="1034956" y="744736"/>
                  </a:cubicBezTo>
                  <a:cubicBezTo>
                    <a:pt x="1034956" y="744736"/>
                    <a:pt x="1034063" y="744736"/>
                    <a:pt x="1034063" y="744736"/>
                  </a:cubicBezTo>
                  <a:lnTo>
                    <a:pt x="1031384" y="744736"/>
                  </a:lnTo>
                  <a:lnTo>
                    <a:pt x="1030491" y="744736"/>
                  </a:lnTo>
                  <a:cubicBezTo>
                    <a:pt x="1026026" y="744736"/>
                    <a:pt x="1023347" y="745629"/>
                    <a:pt x="1021561" y="745629"/>
                  </a:cubicBezTo>
                  <a:cubicBezTo>
                    <a:pt x="1019775" y="745629"/>
                    <a:pt x="1017097" y="745629"/>
                    <a:pt x="1012632" y="744736"/>
                  </a:cubicBezTo>
                  <a:lnTo>
                    <a:pt x="1011739" y="744736"/>
                  </a:lnTo>
                  <a:lnTo>
                    <a:pt x="784925" y="744736"/>
                  </a:lnTo>
                  <a:lnTo>
                    <a:pt x="784925" y="779562"/>
                  </a:lnTo>
                  <a:lnTo>
                    <a:pt x="1011739" y="779562"/>
                  </a:lnTo>
                  <a:cubicBezTo>
                    <a:pt x="1014418" y="779562"/>
                    <a:pt x="1017097" y="780454"/>
                    <a:pt x="1021561" y="780454"/>
                  </a:cubicBezTo>
                  <a:cubicBezTo>
                    <a:pt x="1026026" y="780454"/>
                    <a:pt x="1029598" y="780454"/>
                    <a:pt x="1031384" y="779562"/>
                  </a:cubicBezTo>
                  <a:lnTo>
                    <a:pt x="1035849" y="779562"/>
                  </a:lnTo>
                  <a:cubicBezTo>
                    <a:pt x="1036742" y="779562"/>
                    <a:pt x="1037635" y="779562"/>
                    <a:pt x="1037635" y="779562"/>
                  </a:cubicBezTo>
                  <a:cubicBezTo>
                    <a:pt x="1172473" y="770632"/>
                    <a:pt x="1278736" y="659011"/>
                    <a:pt x="1278736" y="522387"/>
                  </a:cubicBezTo>
                  <a:cubicBezTo>
                    <a:pt x="1278736" y="400050"/>
                    <a:pt x="1193904" y="298252"/>
                    <a:pt x="1079604" y="271462"/>
                  </a:cubicBezTo>
                  <a:cubicBezTo>
                    <a:pt x="1051922" y="158948"/>
                    <a:pt x="950124" y="75902"/>
                    <a:pt x="829573" y="75902"/>
                  </a:cubicBezTo>
                  <a:cubicBezTo>
                    <a:pt x="771530" y="75902"/>
                    <a:pt x="717952" y="95547"/>
                    <a:pt x="674197" y="127694"/>
                  </a:cubicBezTo>
                  <a:cubicBezTo>
                    <a:pt x="629548" y="51792"/>
                    <a:pt x="546502" y="0"/>
                    <a:pt x="451847" y="0"/>
                  </a:cubicBezTo>
                  <a:cubicBezTo>
                    <a:pt x="308972" y="0"/>
                    <a:pt x="193779" y="115193"/>
                    <a:pt x="193779" y="258068"/>
                  </a:cubicBezTo>
                  <a:cubicBezTo>
                    <a:pt x="193779" y="262533"/>
                    <a:pt x="193779" y="267891"/>
                    <a:pt x="194672" y="272355"/>
                  </a:cubicBezTo>
                  <a:cubicBezTo>
                    <a:pt x="83051" y="300930"/>
                    <a:pt x="5" y="401836"/>
                    <a:pt x="5" y="522387"/>
                  </a:cubicBezTo>
                  <a:cubicBezTo>
                    <a:pt x="-888" y="662583"/>
                    <a:pt x="115198" y="778669"/>
                    <a:pt x="257180" y="77866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140" name="Forme libre 139">
              <a:extLst>
                <a:ext uri="{FF2B5EF4-FFF2-40B4-BE49-F238E27FC236}">
                  <a16:creationId xmlns:a16="http://schemas.microsoft.com/office/drawing/2014/main" id="{94DA628E-B6EE-ABDD-0F1D-62BB672A3484}"/>
                </a:ext>
              </a:extLst>
            </p:cNvPr>
            <p:cNvSpPr/>
            <p:nvPr/>
          </p:nvSpPr>
          <p:spPr>
            <a:xfrm>
              <a:off x="4449013" y="4755951"/>
              <a:ext cx="120009" cy="159841"/>
            </a:xfrm>
            <a:custGeom>
              <a:avLst/>
              <a:gdLst>
                <a:gd name="connsiteX0" fmla="*/ 11067 w 120009"/>
                <a:gd name="connsiteY0" fmla="*/ 58936 h 159841"/>
                <a:gd name="connsiteX1" fmla="*/ 32499 w 120009"/>
                <a:gd name="connsiteY1" fmla="*/ 48221 h 159841"/>
                <a:gd name="connsiteX2" fmla="*/ 53930 w 120009"/>
                <a:gd name="connsiteY2" fmla="*/ 33040 h 159841"/>
                <a:gd name="connsiteX3" fmla="*/ 53930 w 120009"/>
                <a:gd name="connsiteY3" fmla="*/ 33040 h 159841"/>
                <a:gd name="connsiteX4" fmla="*/ 76254 w 120009"/>
                <a:gd name="connsiteY4" fmla="*/ 41077 h 159841"/>
                <a:gd name="connsiteX5" fmla="*/ 81612 w 120009"/>
                <a:gd name="connsiteY5" fmla="*/ 53578 h 159841"/>
                <a:gd name="connsiteX6" fmla="*/ 81612 w 120009"/>
                <a:gd name="connsiteY6" fmla="*/ 54471 h 159841"/>
                <a:gd name="connsiteX7" fmla="*/ 78933 w 120009"/>
                <a:gd name="connsiteY7" fmla="*/ 65187 h 159841"/>
                <a:gd name="connsiteX8" fmla="*/ 64645 w 120009"/>
                <a:gd name="connsiteY8" fmla="*/ 78582 h 159841"/>
                <a:gd name="connsiteX9" fmla="*/ 43214 w 120009"/>
                <a:gd name="connsiteY9" fmla="*/ 89297 h 159841"/>
                <a:gd name="connsiteX10" fmla="*/ 11067 w 120009"/>
                <a:gd name="connsiteY10" fmla="*/ 118765 h 159841"/>
                <a:gd name="connsiteX11" fmla="*/ 2138 w 120009"/>
                <a:gd name="connsiteY11" fmla="*/ 137517 h 159841"/>
                <a:gd name="connsiteX12" fmla="*/ 4817 w 120009"/>
                <a:gd name="connsiteY12" fmla="*/ 152698 h 159841"/>
                <a:gd name="connsiteX13" fmla="*/ 19104 w 120009"/>
                <a:gd name="connsiteY13" fmla="*/ 159842 h 159841"/>
                <a:gd name="connsiteX14" fmla="*/ 103043 w 120009"/>
                <a:gd name="connsiteY14" fmla="*/ 159842 h 159841"/>
                <a:gd name="connsiteX15" fmla="*/ 120010 w 120009"/>
                <a:gd name="connsiteY15" fmla="*/ 142875 h 159841"/>
                <a:gd name="connsiteX16" fmla="*/ 103043 w 120009"/>
                <a:gd name="connsiteY16" fmla="*/ 125909 h 159841"/>
                <a:gd name="connsiteX17" fmla="*/ 50358 w 120009"/>
                <a:gd name="connsiteY17" fmla="*/ 125909 h 159841"/>
                <a:gd name="connsiteX18" fmla="*/ 57502 w 120009"/>
                <a:gd name="connsiteY18" fmla="*/ 121444 h 159841"/>
                <a:gd name="connsiteX19" fmla="*/ 93220 w 120009"/>
                <a:gd name="connsiteY19" fmla="*/ 102691 h 159841"/>
                <a:gd name="connsiteX20" fmla="*/ 110187 w 120009"/>
                <a:gd name="connsiteY20" fmla="*/ 83939 h 159841"/>
                <a:gd name="connsiteX21" fmla="*/ 118224 w 120009"/>
                <a:gd name="connsiteY21" fmla="*/ 56257 h 159841"/>
                <a:gd name="connsiteX22" fmla="*/ 118224 w 120009"/>
                <a:gd name="connsiteY22" fmla="*/ 56257 h 159841"/>
                <a:gd name="connsiteX23" fmla="*/ 118224 w 120009"/>
                <a:gd name="connsiteY23" fmla="*/ 55364 h 159841"/>
                <a:gd name="connsiteX24" fmla="*/ 103043 w 120009"/>
                <a:gd name="connsiteY24" fmla="*/ 18753 h 159841"/>
                <a:gd name="connsiteX25" fmla="*/ 55716 w 120009"/>
                <a:gd name="connsiteY25" fmla="*/ 0 h 159841"/>
                <a:gd name="connsiteX26" fmla="*/ 54823 w 120009"/>
                <a:gd name="connsiteY26" fmla="*/ 0 h 159841"/>
                <a:gd name="connsiteX27" fmla="*/ 54823 w 120009"/>
                <a:gd name="connsiteY27" fmla="*/ 0 h 159841"/>
                <a:gd name="connsiteX28" fmla="*/ 2138 w 120009"/>
                <a:gd name="connsiteY28" fmla="*/ 39291 h 159841"/>
                <a:gd name="connsiteX29" fmla="*/ 11067 w 120009"/>
                <a:gd name="connsiteY29" fmla="*/ 58936 h 1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009" h="159841">
                  <a:moveTo>
                    <a:pt x="11067" y="58936"/>
                  </a:moveTo>
                  <a:cubicBezTo>
                    <a:pt x="19997" y="61615"/>
                    <a:pt x="29820" y="57150"/>
                    <a:pt x="32499" y="48221"/>
                  </a:cubicBezTo>
                  <a:cubicBezTo>
                    <a:pt x="35178" y="39291"/>
                    <a:pt x="44107" y="33040"/>
                    <a:pt x="53930" y="33040"/>
                  </a:cubicBezTo>
                  <a:lnTo>
                    <a:pt x="53930" y="33040"/>
                  </a:lnTo>
                  <a:cubicBezTo>
                    <a:pt x="66431" y="33040"/>
                    <a:pt x="72682" y="36612"/>
                    <a:pt x="76254" y="41077"/>
                  </a:cubicBezTo>
                  <a:cubicBezTo>
                    <a:pt x="79826" y="44648"/>
                    <a:pt x="81612" y="50007"/>
                    <a:pt x="81612" y="53578"/>
                  </a:cubicBezTo>
                  <a:lnTo>
                    <a:pt x="81612" y="54471"/>
                  </a:lnTo>
                  <a:cubicBezTo>
                    <a:pt x="81612" y="58936"/>
                    <a:pt x="80719" y="62508"/>
                    <a:pt x="78933" y="65187"/>
                  </a:cubicBezTo>
                  <a:cubicBezTo>
                    <a:pt x="76254" y="69652"/>
                    <a:pt x="71789" y="74117"/>
                    <a:pt x="64645" y="78582"/>
                  </a:cubicBezTo>
                  <a:cubicBezTo>
                    <a:pt x="58395" y="82153"/>
                    <a:pt x="50358" y="85725"/>
                    <a:pt x="43214" y="89297"/>
                  </a:cubicBezTo>
                  <a:cubicBezTo>
                    <a:pt x="27141" y="96441"/>
                    <a:pt x="17318" y="108942"/>
                    <a:pt x="11067" y="118765"/>
                  </a:cubicBezTo>
                  <a:cubicBezTo>
                    <a:pt x="4817" y="128588"/>
                    <a:pt x="3031" y="136625"/>
                    <a:pt x="2138" y="137517"/>
                  </a:cubicBezTo>
                  <a:cubicBezTo>
                    <a:pt x="352" y="142875"/>
                    <a:pt x="1245" y="148233"/>
                    <a:pt x="4817" y="152698"/>
                  </a:cubicBezTo>
                  <a:cubicBezTo>
                    <a:pt x="8388" y="157163"/>
                    <a:pt x="12853" y="159842"/>
                    <a:pt x="19104" y="159842"/>
                  </a:cubicBezTo>
                  <a:lnTo>
                    <a:pt x="103043" y="159842"/>
                  </a:lnTo>
                  <a:cubicBezTo>
                    <a:pt x="112866" y="159842"/>
                    <a:pt x="120010" y="151805"/>
                    <a:pt x="120010" y="142875"/>
                  </a:cubicBezTo>
                  <a:cubicBezTo>
                    <a:pt x="120010" y="133053"/>
                    <a:pt x="111973" y="125909"/>
                    <a:pt x="103043" y="125909"/>
                  </a:cubicBezTo>
                  <a:lnTo>
                    <a:pt x="50358" y="125909"/>
                  </a:lnTo>
                  <a:cubicBezTo>
                    <a:pt x="52144" y="124123"/>
                    <a:pt x="54823" y="122337"/>
                    <a:pt x="57502" y="121444"/>
                  </a:cubicBezTo>
                  <a:cubicBezTo>
                    <a:pt x="67324" y="116979"/>
                    <a:pt x="80719" y="111621"/>
                    <a:pt x="93220" y="102691"/>
                  </a:cubicBezTo>
                  <a:cubicBezTo>
                    <a:pt x="99471" y="98227"/>
                    <a:pt x="105722" y="91976"/>
                    <a:pt x="110187" y="83939"/>
                  </a:cubicBezTo>
                  <a:cubicBezTo>
                    <a:pt x="114652" y="75902"/>
                    <a:pt x="117331" y="66973"/>
                    <a:pt x="118224" y="56257"/>
                  </a:cubicBezTo>
                  <a:lnTo>
                    <a:pt x="118224" y="56257"/>
                  </a:lnTo>
                  <a:lnTo>
                    <a:pt x="118224" y="55364"/>
                  </a:lnTo>
                  <a:cubicBezTo>
                    <a:pt x="118224" y="43756"/>
                    <a:pt x="113759" y="30361"/>
                    <a:pt x="103043" y="18753"/>
                  </a:cubicBezTo>
                  <a:cubicBezTo>
                    <a:pt x="92327" y="8037"/>
                    <a:pt x="76254" y="0"/>
                    <a:pt x="55716" y="0"/>
                  </a:cubicBezTo>
                  <a:lnTo>
                    <a:pt x="54823" y="0"/>
                  </a:lnTo>
                  <a:lnTo>
                    <a:pt x="54823" y="0"/>
                  </a:lnTo>
                  <a:cubicBezTo>
                    <a:pt x="29820" y="0"/>
                    <a:pt x="9281" y="16074"/>
                    <a:pt x="2138" y="39291"/>
                  </a:cubicBezTo>
                  <a:cubicBezTo>
                    <a:pt x="-3220" y="46434"/>
                    <a:pt x="2138" y="56257"/>
                    <a:pt x="11067" y="5893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141" name="Forme libre 140">
              <a:extLst>
                <a:ext uri="{FF2B5EF4-FFF2-40B4-BE49-F238E27FC236}">
                  <a16:creationId xmlns:a16="http://schemas.microsoft.com/office/drawing/2014/main" id="{A2161112-0BF8-9B5A-CED4-D94D83A45DCB}"/>
                </a:ext>
              </a:extLst>
            </p:cNvPr>
            <p:cNvSpPr/>
            <p:nvPr/>
          </p:nvSpPr>
          <p:spPr>
            <a:xfrm>
              <a:off x="3902868" y="4573786"/>
              <a:ext cx="226057" cy="301823"/>
            </a:xfrm>
            <a:custGeom>
              <a:avLst/>
              <a:gdLst>
                <a:gd name="connsiteX0" fmla="*/ 224135 w 226057"/>
                <a:gd name="connsiteY0" fmla="*/ 263426 h 301823"/>
                <a:gd name="connsiteX1" fmla="*/ 200918 w 226057"/>
                <a:gd name="connsiteY1" fmla="*/ 255389 h 301823"/>
                <a:gd name="connsiteX2" fmla="*/ 150019 w 226057"/>
                <a:gd name="connsiteY2" fmla="*/ 266997 h 301823"/>
                <a:gd name="connsiteX3" fmla="*/ 67866 w 226057"/>
                <a:gd name="connsiteY3" fmla="*/ 233065 h 301823"/>
                <a:gd name="connsiteX4" fmla="*/ 33933 w 226057"/>
                <a:gd name="connsiteY4" fmla="*/ 150911 h 301823"/>
                <a:gd name="connsiteX5" fmla="*/ 67866 w 226057"/>
                <a:gd name="connsiteY5" fmla="*/ 68759 h 301823"/>
                <a:gd name="connsiteX6" fmla="*/ 150019 w 226057"/>
                <a:gd name="connsiteY6" fmla="*/ 34825 h 301823"/>
                <a:gd name="connsiteX7" fmla="*/ 200918 w 226057"/>
                <a:gd name="connsiteY7" fmla="*/ 46434 h 301823"/>
                <a:gd name="connsiteX8" fmla="*/ 224135 w 226057"/>
                <a:gd name="connsiteY8" fmla="*/ 38398 h 301823"/>
                <a:gd name="connsiteX9" fmla="*/ 216099 w 226057"/>
                <a:gd name="connsiteY9" fmla="*/ 15181 h 301823"/>
                <a:gd name="connsiteX10" fmla="*/ 150912 w 226057"/>
                <a:gd name="connsiteY10" fmla="*/ 0 h 301823"/>
                <a:gd name="connsiteX11" fmla="*/ 0 w 226057"/>
                <a:gd name="connsiteY11" fmla="*/ 150911 h 301823"/>
                <a:gd name="connsiteX12" fmla="*/ 150912 w 226057"/>
                <a:gd name="connsiteY12" fmla="*/ 301823 h 301823"/>
                <a:gd name="connsiteX13" fmla="*/ 216099 w 226057"/>
                <a:gd name="connsiteY13" fmla="*/ 286643 h 301823"/>
                <a:gd name="connsiteX14" fmla="*/ 224135 w 226057"/>
                <a:gd name="connsiteY14" fmla="*/ 263426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057" h="301823">
                  <a:moveTo>
                    <a:pt x="224135" y="263426"/>
                  </a:moveTo>
                  <a:cubicBezTo>
                    <a:pt x="219670" y="254496"/>
                    <a:pt x="209848" y="250924"/>
                    <a:pt x="200918" y="255389"/>
                  </a:cubicBezTo>
                  <a:cubicBezTo>
                    <a:pt x="185738" y="262533"/>
                    <a:pt x="168771" y="266997"/>
                    <a:pt x="150019" y="266997"/>
                  </a:cubicBezTo>
                  <a:cubicBezTo>
                    <a:pt x="117872" y="266997"/>
                    <a:pt x="88404" y="253603"/>
                    <a:pt x="67866" y="233065"/>
                  </a:cubicBezTo>
                  <a:cubicBezTo>
                    <a:pt x="46434" y="211634"/>
                    <a:pt x="33933" y="183059"/>
                    <a:pt x="33933" y="150911"/>
                  </a:cubicBezTo>
                  <a:cubicBezTo>
                    <a:pt x="33933" y="118765"/>
                    <a:pt x="47328" y="89297"/>
                    <a:pt x="67866" y="68759"/>
                  </a:cubicBezTo>
                  <a:cubicBezTo>
                    <a:pt x="89297" y="47327"/>
                    <a:pt x="117872" y="34825"/>
                    <a:pt x="150019" y="34825"/>
                  </a:cubicBezTo>
                  <a:cubicBezTo>
                    <a:pt x="167878" y="34825"/>
                    <a:pt x="184845" y="39290"/>
                    <a:pt x="200918" y="46434"/>
                  </a:cubicBezTo>
                  <a:cubicBezTo>
                    <a:pt x="209848" y="50899"/>
                    <a:pt x="219670" y="47327"/>
                    <a:pt x="224135" y="38398"/>
                  </a:cubicBezTo>
                  <a:cubicBezTo>
                    <a:pt x="228600" y="29468"/>
                    <a:pt x="225028" y="19645"/>
                    <a:pt x="216099" y="15181"/>
                  </a:cubicBezTo>
                  <a:cubicBezTo>
                    <a:pt x="196453" y="5358"/>
                    <a:pt x="174129" y="0"/>
                    <a:pt x="150912" y="0"/>
                  </a:cubicBezTo>
                  <a:cubicBezTo>
                    <a:pt x="67866" y="0"/>
                    <a:pt x="0" y="67865"/>
                    <a:pt x="0" y="150911"/>
                  </a:cubicBezTo>
                  <a:cubicBezTo>
                    <a:pt x="0" y="233958"/>
                    <a:pt x="67866" y="301823"/>
                    <a:pt x="150912" y="301823"/>
                  </a:cubicBezTo>
                  <a:cubicBezTo>
                    <a:pt x="174129" y="301823"/>
                    <a:pt x="196453" y="296466"/>
                    <a:pt x="216099" y="286643"/>
                  </a:cubicBezTo>
                  <a:cubicBezTo>
                    <a:pt x="224135" y="282178"/>
                    <a:pt x="227707" y="271462"/>
                    <a:pt x="224135" y="26342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142" name="Forme libre 141">
              <a:extLst>
                <a:ext uri="{FF2B5EF4-FFF2-40B4-BE49-F238E27FC236}">
                  <a16:creationId xmlns:a16="http://schemas.microsoft.com/office/drawing/2014/main" id="{0BFF3ECD-65D7-B430-3A7E-49744BD2ECFA}"/>
                </a:ext>
              </a:extLst>
            </p:cNvPr>
            <p:cNvSpPr/>
            <p:nvPr/>
          </p:nvSpPr>
          <p:spPr>
            <a:xfrm>
              <a:off x="4122539" y="4572892"/>
              <a:ext cx="301823" cy="301823"/>
            </a:xfrm>
            <a:custGeom>
              <a:avLst/>
              <a:gdLst>
                <a:gd name="connsiteX0" fmla="*/ 150912 w 301823"/>
                <a:gd name="connsiteY0" fmla="*/ 301824 h 301823"/>
                <a:gd name="connsiteX1" fmla="*/ 301823 w 301823"/>
                <a:gd name="connsiteY1" fmla="*/ 150912 h 301823"/>
                <a:gd name="connsiteX2" fmla="*/ 150912 w 301823"/>
                <a:gd name="connsiteY2" fmla="*/ 0 h 301823"/>
                <a:gd name="connsiteX3" fmla="*/ 0 w 301823"/>
                <a:gd name="connsiteY3" fmla="*/ 150912 h 301823"/>
                <a:gd name="connsiteX4" fmla="*/ 150912 w 301823"/>
                <a:gd name="connsiteY4" fmla="*/ 301824 h 301823"/>
                <a:gd name="connsiteX5" fmla="*/ 68759 w 301823"/>
                <a:gd name="connsiteY5" fmla="*/ 68759 h 301823"/>
                <a:gd name="connsiteX6" fmla="*/ 150912 w 301823"/>
                <a:gd name="connsiteY6" fmla="*/ 34826 h 301823"/>
                <a:gd name="connsiteX7" fmla="*/ 233065 w 301823"/>
                <a:gd name="connsiteY7" fmla="*/ 68759 h 301823"/>
                <a:gd name="connsiteX8" fmla="*/ 266998 w 301823"/>
                <a:gd name="connsiteY8" fmla="*/ 150912 h 301823"/>
                <a:gd name="connsiteX9" fmla="*/ 233065 w 301823"/>
                <a:gd name="connsiteY9" fmla="*/ 233065 h 301823"/>
                <a:gd name="connsiteX10" fmla="*/ 150912 w 301823"/>
                <a:gd name="connsiteY10" fmla="*/ 266998 h 301823"/>
                <a:gd name="connsiteX11" fmla="*/ 68759 w 301823"/>
                <a:gd name="connsiteY11" fmla="*/ 233065 h 301823"/>
                <a:gd name="connsiteX12" fmla="*/ 34826 w 301823"/>
                <a:gd name="connsiteY12" fmla="*/ 150912 h 301823"/>
                <a:gd name="connsiteX13" fmla="*/ 68759 w 301823"/>
                <a:gd name="connsiteY13" fmla="*/ 68759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823" h="301823">
                  <a:moveTo>
                    <a:pt x="150912" y="301824"/>
                  </a:moveTo>
                  <a:cubicBezTo>
                    <a:pt x="233958" y="301824"/>
                    <a:pt x="301823" y="233958"/>
                    <a:pt x="301823" y="150912"/>
                  </a:cubicBezTo>
                  <a:cubicBezTo>
                    <a:pt x="301823" y="67866"/>
                    <a:pt x="233958" y="0"/>
                    <a:pt x="150912" y="0"/>
                  </a:cubicBezTo>
                  <a:cubicBezTo>
                    <a:pt x="67866" y="0"/>
                    <a:pt x="0" y="67866"/>
                    <a:pt x="0" y="150912"/>
                  </a:cubicBezTo>
                  <a:cubicBezTo>
                    <a:pt x="0" y="234851"/>
                    <a:pt x="67866" y="301824"/>
                    <a:pt x="150912" y="301824"/>
                  </a:cubicBezTo>
                  <a:close/>
                  <a:moveTo>
                    <a:pt x="68759" y="68759"/>
                  </a:moveTo>
                  <a:cubicBezTo>
                    <a:pt x="90190" y="47328"/>
                    <a:pt x="118765" y="34826"/>
                    <a:pt x="150912" y="34826"/>
                  </a:cubicBezTo>
                  <a:cubicBezTo>
                    <a:pt x="183059" y="34826"/>
                    <a:pt x="212526" y="48221"/>
                    <a:pt x="233065" y="68759"/>
                  </a:cubicBezTo>
                  <a:cubicBezTo>
                    <a:pt x="254496" y="90190"/>
                    <a:pt x="266998" y="118765"/>
                    <a:pt x="266998" y="150912"/>
                  </a:cubicBezTo>
                  <a:cubicBezTo>
                    <a:pt x="266998" y="183059"/>
                    <a:pt x="253603" y="212527"/>
                    <a:pt x="233065" y="233065"/>
                  </a:cubicBezTo>
                  <a:cubicBezTo>
                    <a:pt x="211634" y="254496"/>
                    <a:pt x="183059" y="266998"/>
                    <a:pt x="150912" y="266998"/>
                  </a:cubicBezTo>
                  <a:cubicBezTo>
                    <a:pt x="118765" y="266998"/>
                    <a:pt x="89297" y="253603"/>
                    <a:pt x="68759" y="233065"/>
                  </a:cubicBezTo>
                  <a:cubicBezTo>
                    <a:pt x="47327" y="211634"/>
                    <a:pt x="34826" y="183059"/>
                    <a:pt x="34826" y="150912"/>
                  </a:cubicBezTo>
                  <a:cubicBezTo>
                    <a:pt x="34826" y="118765"/>
                    <a:pt x="47327" y="90190"/>
                    <a:pt x="68759" y="6875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143" name="Forme libre 142">
              <a:extLst>
                <a:ext uri="{FF2B5EF4-FFF2-40B4-BE49-F238E27FC236}">
                  <a16:creationId xmlns:a16="http://schemas.microsoft.com/office/drawing/2014/main" id="{B315BD4F-E94A-9D1D-1CE4-51EE4B5A2245}"/>
                </a:ext>
              </a:extLst>
            </p:cNvPr>
            <p:cNvSpPr/>
            <p:nvPr/>
          </p:nvSpPr>
          <p:spPr>
            <a:xfrm>
              <a:off x="4152006" y="4994374"/>
              <a:ext cx="270151" cy="349151"/>
            </a:xfrm>
            <a:custGeom>
              <a:avLst/>
              <a:gdLst>
                <a:gd name="connsiteX0" fmla="*/ 200918 w 270151"/>
                <a:gd name="connsiteY0" fmla="*/ 16967 h 349151"/>
                <a:gd name="connsiteX1" fmla="*/ 197346 w 270151"/>
                <a:gd name="connsiteY1" fmla="*/ 7144 h 349151"/>
                <a:gd name="connsiteX2" fmla="*/ 183059 w 270151"/>
                <a:gd name="connsiteY2" fmla="*/ 0 h 349151"/>
                <a:gd name="connsiteX3" fmla="*/ 166092 w 270151"/>
                <a:gd name="connsiteY3" fmla="*/ 16967 h 349151"/>
                <a:gd name="connsiteX4" fmla="*/ 166092 w 270151"/>
                <a:gd name="connsiteY4" fmla="*/ 19645 h 349151"/>
                <a:gd name="connsiteX5" fmla="*/ 97334 w 270151"/>
                <a:gd name="connsiteY5" fmla="*/ 19645 h 349151"/>
                <a:gd name="connsiteX6" fmla="*/ 96441 w 270151"/>
                <a:gd name="connsiteY6" fmla="*/ 19645 h 349151"/>
                <a:gd name="connsiteX7" fmla="*/ 87511 w 270151"/>
                <a:gd name="connsiteY7" fmla="*/ 20538 h 349151"/>
                <a:gd name="connsiteX8" fmla="*/ 78581 w 270151"/>
                <a:gd name="connsiteY8" fmla="*/ 19645 h 349151"/>
                <a:gd name="connsiteX9" fmla="*/ 77688 w 270151"/>
                <a:gd name="connsiteY9" fmla="*/ 19645 h 349151"/>
                <a:gd name="connsiteX10" fmla="*/ 0 w 270151"/>
                <a:gd name="connsiteY10" fmla="*/ 19645 h 349151"/>
                <a:gd name="connsiteX11" fmla="*/ 0 w 270151"/>
                <a:gd name="connsiteY11" fmla="*/ 54471 h 349151"/>
                <a:gd name="connsiteX12" fmla="*/ 76795 w 270151"/>
                <a:gd name="connsiteY12" fmla="*/ 54471 h 349151"/>
                <a:gd name="connsiteX13" fmla="*/ 86618 w 270151"/>
                <a:gd name="connsiteY13" fmla="*/ 55364 h 349151"/>
                <a:gd name="connsiteX14" fmla="*/ 96441 w 270151"/>
                <a:gd name="connsiteY14" fmla="*/ 54471 h 349151"/>
                <a:gd name="connsiteX15" fmla="*/ 164306 w 270151"/>
                <a:gd name="connsiteY15" fmla="*/ 54471 h 349151"/>
                <a:gd name="connsiteX16" fmla="*/ 164306 w 270151"/>
                <a:gd name="connsiteY16" fmla="*/ 291108 h 349151"/>
                <a:gd name="connsiteX17" fmla="*/ 122337 w 270151"/>
                <a:gd name="connsiteY17" fmla="*/ 249139 h 349151"/>
                <a:gd name="connsiteX18" fmla="*/ 98227 w 270151"/>
                <a:gd name="connsiteY18" fmla="*/ 249139 h 349151"/>
                <a:gd name="connsiteX19" fmla="*/ 98227 w 270151"/>
                <a:gd name="connsiteY19" fmla="*/ 273249 h 349151"/>
                <a:gd name="connsiteX20" fmla="*/ 169664 w 270151"/>
                <a:gd name="connsiteY20" fmla="*/ 344686 h 349151"/>
                <a:gd name="connsiteX21" fmla="*/ 170557 w 270151"/>
                <a:gd name="connsiteY21" fmla="*/ 345579 h 349151"/>
                <a:gd name="connsiteX22" fmla="*/ 172343 w 270151"/>
                <a:gd name="connsiteY22" fmla="*/ 347365 h 349151"/>
                <a:gd name="connsiteX23" fmla="*/ 174129 w 270151"/>
                <a:gd name="connsiteY23" fmla="*/ 348258 h 349151"/>
                <a:gd name="connsiteX24" fmla="*/ 175022 w 270151"/>
                <a:gd name="connsiteY24" fmla="*/ 348258 h 349151"/>
                <a:gd name="connsiteX25" fmla="*/ 176808 w 270151"/>
                <a:gd name="connsiteY25" fmla="*/ 348258 h 349151"/>
                <a:gd name="connsiteX26" fmla="*/ 179487 w 270151"/>
                <a:gd name="connsiteY26" fmla="*/ 349151 h 349151"/>
                <a:gd name="connsiteX27" fmla="*/ 182166 w 270151"/>
                <a:gd name="connsiteY27" fmla="*/ 349151 h 349151"/>
                <a:gd name="connsiteX28" fmla="*/ 184845 w 270151"/>
                <a:gd name="connsiteY28" fmla="*/ 349151 h 349151"/>
                <a:gd name="connsiteX29" fmla="*/ 187523 w 270151"/>
                <a:gd name="connsiteY29" fmla="*/ 348258 h 349151"/>
                <a:gd name="connsiteX30" fmla="*/ 189309 w 270151"/>
                <a:gd name="connsiteY30" fmla="*/ 348258 h 349151"/>
                <a:gd name="connsiteX31" fmla="*/ 190203 w 270151"/>
                <a:gd name="connsiteY31" fmla="*/ 348258 h 349151"/>
                <a:gd name="connsiteX32" fmla="*/ 191988 w 270151"/>
                <a:gd name="connsiteY32" fmla="*/ 347365 h 349151"/>
                <a:gd name="connsiteX33" fmla="*/ 193774 w 270151"/>
                <a:gd name="connsiteY33" fmla="*/ 345579 h 349151"/>
                <a:gd name="connsiteX34" fmla="*/ 194667 w 270151"/>
                <a:gd name="connsiteY34" fmla="*/ 344686 h 349151"/>
                <a:gd name="connsiteX35" fmla="*/ 196453 w 270151"/>
                <a:gd name="connsiteY35" fmla="*/ 342900 h 349151"/>
                <a:gd name="connsiteX36" fmla="*/ 265212 w 270151"/>
                <a:gd name="connsiteY36" fmla="*/ 274142 h 349151"/>
                <a:gd name="connsiteX37" fmla="*/ 266998 w 270151"/>
                <a:gd name="connsiteY37" fmla="*/ 251817 h 349151"/>
                <a:gd name="connsiteX38" fmla="*/ 265212 w 270151"/>
                <a:gd name="connsiteY38" fmla="*/ 250031 h 349151"/>
                <a:gd name="connsiteX39" fmla="*/ 241102 w 270151"/>
                <a:gd name="connsiteY39" fmla="*/ 250031 h 349151"/>
                <a:gd name="connsiteX40" fmla="*/ 226814 w 270151"/>
                <a:gd name="connsiteY40" fmla="*/ 264319 h 349151"/>
                <a:gd name="connsiteX41" fmla="*/ 199132 w 270151"/>
                <a:gd name="connsiteY41" fmla="*/ 292001 h 349151"/>
                <a:gd name="connsiteX42" fmla="*/ 199132 w 270151"/>
                <a:gd name="connsiteY42" fmla="*/ 16967 h 34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0151" h="349151">
                  <a:moveTo>
                    <a:pt x="200918" y="16967"/>
                  </a:moveTo>
                  <a:cubicBezTo>
                    <a:pt x="200918" y="13395"/>
                    <a:pt x="199132" y="9823"/>
                    <a:pt x="197346" y="7144"/>
                  </a:cubicBezTo>
                  <a:cubicBezTo>
                    <a:pt x="193774" y="2679"/>
                    <a:pt x="189309" y="0"/>
                    <a:pt x="183059" y="0"/>
                  </a:cubicBezTo>
                  <a:cubicBezTo>
                    <a:pt x="173236" y="0"/>
                    <a:pt x="166092" y="8037"/>
                    <a:pt x="166092" y="16967"/>
                  </a:cubicBezTo>
                  <a:lnTo>
                    <a:pt x="166092" y="19645"/>
                  </a:lnTo>
                  <a:lnTo>
                    <a:pt x="97334" y="19645"/>
                  </a:lnTo>
                  <a:lnTo>
                    <a:pt x="96441" y="19645"/>
                  </a:lnTo>
                  <a:cubicBezTo>
                    <a:pt x="91976" y="19645"/>
                    <a:pt x="89297" y="20538"/>
                    <a:pt x="87511" y="20538"/>
                  </a:cubicBezTo>
                  <a:cubicBezTo>
                    <a:pt x="85725" y="20538"/>
                    <a:pt x="83046" y="20538"/>
                    <a:pt x="78581" y="19645"/>
                  </a:cubicBezTo>
                  <a:lnTo>
                    <a:pt x="77688" y="19645"/>
                  </a:lnTo>
                  <a:lnTo>
                    <a:pt x="0" y="19645"/>
                  </a:lnTo>
                  <a:lnTo>
                    <a:pt x="0" y="54471"/>
                  </a:lnTo>
                  <a:lnTo>
                    <a:pt x="76795" y="54471"/>
                  </a:lnTo>
                  <a:cubicBezTo>
                    <a:pt x="79474" y="54471"/>
                    <a:pt x="82153" y="55364"/>
                    <a:pt x="86618" y="55364"/>
                  </a:cubicBezTo>
                  <a:cubicBezTo>
                    <a:pt x="91083" y="55364"/>
                    <a:pt x="94655" y="55364"/>
                    <a:pt x="96441" y="54471"/>
                  </a:cubicBezTo>
                  <a:lnTo>
                    <a:pt x="164306" y="54471"/>
                  </a:lnTo>
                  <a:lnTo>
                    <a:pt x="164306" y="291108"/>
                  </a:lnTo>
                  <a:lnTo>
                    <a:pt x="122337" y="249139"/>
                  </a:lnTo>
                  <a:cubicBezTo>
                    <a:pt x="115193" y="241995"/>
                    <a:pt x="104477" y="241995"/>
                    <a:pt x="98227" y="249139"/>
                  </a:cubicBezTo>
                  <a:cubicBezTo>
                    <a:pt x="91083" y="256282"/>
                    <a:pt x="91083" y="266998"/>
                    <a:pt x="98227" y="273249"/>
                  </a:cubicBezTo>
                  <a:lnTo>
                    <a:pt x="169664" y="344686"/>
                  </a:lnTo>
                  <a:cubicBezTo>
                    <a:pt x="169664" y="344686"/>
                    <a:pt x="169664" y="344686"/>
                    <a:pt x="170557" y="345579"/>
                  </a:cubicBezTo>
                  <a:cubicBezTo>
                    <a:pt x="171450" y="346472"/>
                    <a:pt x="172343" y="346472"/>
                    <a:pt x="172343" y="347365"/>
                  </a:cubicBezTo>
                  <a:cubicBezTo>
                    <a:pt x="173236" y="348258"/>
                    <a:pt x="174129" y="348258"/>
                    <a:pt x="174129" y="348258"/>
                  </a:cubicBezTo>
                  <a:cubicBezTo>
                    <a:pt x="174129" y="348258"/>
                    <a:pt x="174129" y="348258"/>
                    <a:pt x="175022" y="348258"/>
                  </a:cubicBezTo>
                  <a:cubicBezTo>
                    <a:pt x="175915" y="348258"/>
                    <a:pt x="175915" y="348258"/>
                    <a:pt x="176808" y="348258"/>
                  </a:cubicBezTo>
                  <a:cubicBezTo>
                    <a:pt x="177701" y="348258"/>
                    <a:pt x="178594" y="349151"/>
                    <a:pt x="179487" y="349151"/>
                  </a:cubicBezTo>
                  <a:cubicBezTo>
                    <a:pt x="180380" y="349151"/>
                    <a:pt x="181273" y="349151"/>
                    <a:pt x="182166" y="349151"/>
                  </a:cubicBezTo>
                  <a:cubicBezTo>
                    <a:pt x="183059" y="349151"/>
                    <a:pt x="183952" y="349151"/>
                    <a:pt x="184845" y="349151"/>
                  </a:cubicBezTo>
                  <a:cubicBezTo>
                    <a:pt x="185738" y="349151"/>
                    <a:pt x="186631" y="349151"/>
                    <a:pt x="187523" y="348258"/>
                  </a:cubicBezTo>
                  <a:cubicBezTo>
                    <a:pt x="188416" y="348258"/>
                    <a:pt x="188416" y="348258"/>
                    <a:pt x="189309" y="348258"/>
                  </a:cubicBezTo>
                  <a:cubicBezTo>
                    <a:pt x="189309" y="348258"/>
                    <a:pt x="189309" y="348258"/>
                    <a:pt x="190203" y="348258"/>
                  </a:cubicBezTo>
                  <a:cubicBezTo>
                    <a:pt x="191096" y="348258"/>
                    <a:pt x="191988" y="347365"/>
                    <a:pt x="191988" y="347365"/>
                  </a:cubicBezTo>
                  <a:cubicBezTo>
                    <a:pt x="192881" y="346472"/>
                    <a:pt x="193774" y="346472"/>
                    <a:pt x="193774" y="345579"/>
                  </a:cubicBezTo>
                  <a:cubicBezTo>
                    <a:pt x="193774" y="345579"/>
                    <a:pt x="193774" y="345579"/>
                    <a:pt x="194667" y="344686"/>
                  </a:cubicBezTo>
                  <a:lnTo>
                    <a:pt x="196453" y="342900"/>
                  </a:lnTo>
                  <a:lnTo>
                    <a:pt x="265212" y="274142"/>
                  </a:lnTo>
                  <a:cubicBezTo>
                    <a:pt x="271463" y="267891"/>
                    <a:pt x="271463" y="258961"/>
                    <a:pt x="266998" y="251817"/>
                  </a:cubicBezTo>
                  <a:cubicBezTo>
                    <a:pt x="266105" y="250925"/>
                    <a:pt x="266105" y="250031"/>
                    <a:pt x="265212" y="250031"/>
                  </a:cubicBezTo>
                  <a:cubicBezTo>
                    <a:pt x="258068" y="242888"/>
                    <a:pt x="247352" y="242888"/>
                    <a:pt x="241102" y="250031"/>
                  </a:cubicBezTo>
                  <a:lnTo>
                    <a:pt x="226814" y="264319"/>
                  </a:lnTo>
                  <a:lnTo>
                    <a:pt x="199132" y="292001"/>
                  </a:lnTo>
                  <a:lnTo>
                    <a:pt x="199132" y="16967"/>
                  </a:ln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grpSp>
      <p:sp>
        <p:nvSpPr>
          <p:cNvPr id="144" name="ZoneTexte 143">
            <a:extLst>
              <a:ext uri="{FF2B5EF4-FFF2-40B4-BE49-F238E27FC236}">
                <a16:creationId xmlns:a16="http://schemas.microsoft.com/office/drawing/2014/main" id="{3998EC65-532A-42E9-D97D-2DE3D3E04050}"/>
              </a:ext>
            </a:extLst>
          </p:cNvPr>
          <p:cNvSpPr txBox="1"/>
          <p:nvPr/>
        </p:nvSpPr>
        <p:spPr>
          <a:xfrm>
            <a:off x="4716404" y="4281704"/>
            <a:ext cx="987299" cy="7543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457189"/>
            <a:r>
              <a:rPr lang="fr-FR" sz="2100" b="1" dirty="0">
                <a:solidFill>
                  <a:prstClr val="white"/>
                </a:solidFill>
                <a:latin typeface="Arial"/>
                <a:cs typeface="Arial"/>
              </a:rPr>
              <a:t>-50% </a:t>
            </a:r>
            <a:r>
              <a:rPr lang="fr-FR" sz="900" b="1" dirty="0">
                <a:solidFill>
                  <a:prstClr val="white"/>
                </a:solidFill>
                <a:latin typeface="Arial"/>
                <a:cs typeface="Arial"/>
              </a:rPr>
              <a:t>of car emissions in 2030</a:t>
            </a:r>
          </a:p>
          <a:p>
            <a:pPr defTabSz="457189"/>
            <a:endParaRPr lang="fr-FR" sz="900" b="1" dirty="0">
              <a:solidFill>
                <a:prstClr val="white"/>
              </a:solidFill>
              <a:latin typeface="Arial"/>
              <a:cs typeface="Arial"/>
            </a:endParaRPr>
          </a:p>
        </p:txBody>
      </p:sp>
      <p:sp>
        <p:nvSpPr>
          <p:cNvPr id="145" name="TextBox 98">
            <a:extLst>
              <a:ext uri="{FF2B5EF4-FFF2-40B4-BE49-F238E27FC236}">
                <a16:creationId xmlns:a16="http://schemas.microsoft.com/office/drawing/2014/main" id="{60DBC208-738C-B4FD-1594-3B56457C8C43}"/>
              </a:ext>
            </a:extLst>
          </p:cNvPr>
          <p:cNvSpPr txBox="1"/>
          <p:nvPr/>
        </p:nvSpPr>
        <p:spPr>
          <a:xfrm>
            <a:off x="3283168" y="4447432"/>
            <a:ext cx="861104" cy="39241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457189">
              <a:defRPr/>
            </a:pPr>
            <a:r>
              <a:rPr lang="fr-FR" sz="1500" b="1" kern="0" dirty="0">
                <a:solidFill>
                  <a:prstClr val="white"/>
                </a:solidFill>
                <a:latin typeface="Arial"/>
              </a:rPr>
              <a:t>Indirect </a:t>
            </a:r>
            <a:r>
              <a:rPr lang="fr-FR" sz="825" b="1" kern="0" dirty="0">
                <a:solidFill>
                  <a:prstClr val="white"/>
                </a:solidFill>
                <a:latin typeface="Arial"/>
              </a:rPr>
              <a:t>Carbon Footprint</a:t>
            </a:r>
            <a:r>
              <a:rPr lang="fr-FR" sz="1050" b="1" kern="0" dirty="0">
                <a:solidFill>
                  <a:prstClr val="white"/>
                </a:solidFill>
                <a:latin typeface="Arial"/>
              </a:rPr>
              <a:t> </a:t>
            </a:r>
          </a:p>
        </p:txBody>
      </p:sp>
      <p:grpSp>
        <p:nvGrpSpPr>
          <p:cNvPr id="158" name="Groupe 157">
            <a:extLst>
              <a:ext uri="{FF2B5EF4-FFF2-40B4-BE49-F238E27FC236}">
                <a16:creationId xmlns:a16="http://schemas.microsoft.com/office/drawing/2014/main" id="{EFFF3235-01E9-14D7-A979-B659C7D9AE5A}"/>
              </a:ext>
            </a:extLst>
          </p:cNvPr>
          <p:cNvGrpSpPr/>
          <p:nvPr/>
        </p:nvGrpSpPr>
        <p:grpSpPr>
          <a:xfrm>
            <a:off x="255121" y="4334548"/>
            <a:ext cx="2780609" cy="660734"/>
            <a:chOff x="650320" y="4752766"/>
            <a:chExt cx="5153647" cy="1059707"/>
          </a:xfrm>
          <a:solidFill>
            <a:schemeClr val="accent2"/>
          </a:solidFill>
        </p:grpSpPr>
        <p:sp>
          <p:nvSpPr>
            <p:cNvPr id="159" name="Signalisation droite 80">
              <a:extLst>
                <a:ext uri="{FF2B5EF4-FFF2-40B4-BE49-F238E27FC236}">
                  <a16:creationId xmlns:a16="http://schemas.microsoft.com/office/drawing/2014/main" id="{ADCC135F-26FF-C750-DEAA-65BAC6C1D789}"/>
                </a:ext>
              </a:extLst>
            </p:cNvPr>
            <p:cNvSpPr/>
            <p:nvPr/>
          </p:nvSpPr>
          <p:spPr>
            <a:xfrm>
              <a:off x="1177165" y="4752766"/>
              <a:ext cx="4626802" cy="1059707"/>
            </a:xfrm>
            <a:prstGeom prst="homePlate">
              <a:avLst>
                <a:gd name="adj" fmla="val 0"/>
              </a:avLst>
            </a:prstGeom>
            <a:grp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60" name="Ellipse 159">
              <a:extLst>
                <a:ext uri="{FF2B5EF4-FFF2-40B4-BE49-F238E27FC236}">
                  <a16:creationId xmlns:a16="http://schemas.microsoft.com/office/drawing/2014/main" id="{3D66E8D3-10C9-DF92-9983-FD7C4C72CFCA}"/>
                </a:ext>
              </a:extLst>
            </p:cNvPr>
            <p:cNvSpPr/>
            <p:nvPr/>
          </p:nvSpPr>
          <p:spPr>
            <a:xfrm>
              <a:off x="650320" y="4752767"/>
              <a:ext cx="1074981" cy="1059706"/>
            </a:xfrm>
            <a:prstGeom prst="ellipse">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cxnSp>
        <p:nvCxnSpPr>
          <p:cNvPr id="161" name="Connecteur droit 160">
            <a:extLst>
              <a:ext uri="{FF2B5EF4-FFF2-40B4-BE49-F238E27FC236}">
                <a16:creationId xmlns:a16="http://schemas.microsoft.com/office/drawing/2014/main" id="{06D0DFB2-267E-B24D-26E0-0BE894B227FA}"/>
              </a:ext>
            </a:extLst>
          </p:cNvPr>
          <p:cNvCxnSpPr>
            <a:cxnSpLocks/>
          </p:cNvCxnSpPr>
          <p:nvPr/>
        </p:nvCxnSpPr>
        <p:spPr>
          <a:xfrm>
            <a:off x="950303" y="4420674"/>
            <a:ext cx="0" cy="503840"/>
          </a:xfrm>
          <a:prstGeom prst="line">
            <a:avLst/>
          </a:prstGeom>
          <a:ln w="222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169" name="TextBox 98">
            <a:extLst>
              <a:ext uri="{FF2B5EF4-FFF2-40B4-BE49-F238E27FC236}">
                <a16:creationId xmlns:a16="http://schemas.microsoft.com/office/drawing/2014/main" id="{60DBC208-738C-B4FD-1594-3B56457C8C43}"/>
              </a:ext>
            </a:extLst>
          </p:cNvPr>
          <p:cNvSpPr txBox="1"/>
          <p:nvPr/>
        </p:nvSpPr>
        <p:spPr>
          <a:xfrm>
            <a:off x="366770" y="4475309"/>
            <a:ext cx="573744" cy="39241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457189">
              <a:defRPr/>
            </a:pPr>
            <a:r>
              <a:rPr lang="fr-FR" sz="1050" b="1" kern="0" dirty="0">
                <a:solidFill>
                  <a:prstClr val="white"/>
                </a:solidFill>
                <a:latin typeface="Arial"/>
              </a:rPr>
              <a:t>Mobility </a:t>
            </a:r>
          </a:p>
          <a:p>
            <a:pPr defTabSz="457189">
              <a:defRPr/>
            </a:pPr>
            <a:r>
              <a:rPr lang="fr-FR" sz="1500" b="1" kern="0" dirty="0">
                <a:solidFill>
                  <a:prstClr val="white"/>
                </a:solidFill>
                <a:latin typeface="Arial"/>
              </a:rPr>
              <a:t>green </a:t>
            </a:r>
            <a:endParaRPr lang="fr-FR" sz="2100" b="1" kern="0" dirty="0">
              <a:solidFill>
                <a:prstClr val="white"/>
              </a:solidFill>
              <a:latin typeface="Arial"/>
            </a:endParaRPr>
          </a:p>
        </p:txBody>
      </p:sp>
      <p:grpSp>
        <p:nvGrpSpPr>
          <p:cNvPr id="172" name="Groupe 171">
            <a:extLst>
              <a:ext uri="{FF2B5EF4-FFF2-40B4-BE49-F238E27FC236}">
                <a16:creationId xmlns:a16="http://schemas.microsoft.com/office/drawing/2014/main" id="{D916181F-A6CA-39FB-B2D5-033715439272}"/>
              </a:ext>
            </a:extLst>
          </p:cNvPr>
          <p:cNvGrpSpPr/>
          <p:nvPr/>
        </p:nvGrpSpPr>
        <p:grpSpPr>
          <a:xfrm>
            <a:off x="1079751" y="4527686"/>
            <a:ext cx="368900" cy="228191"/>
            <a:chOff x="7008183" y="1043880"/>
            <a:chExt cx="1175577" cy="825996"/>
          </a:xfrm>
          <a:noFill/>
        </p:grpSpPr>
        <p:sp>
          <p:nvSpPr>
            <p:cNvPr id="173" name="Forme libre 172">
              <a:extLst>
                <a:ext uri="{FF2B5EF4-FFF2-40B4-BE49-F238E27FC236}">
                  <a16:creationId xmlns:a16="http://schemas.microsoft.com/office/drawing/2014/main" id="{9B179DD1-CE40-68A0-9D9F-4604174E3E85}"/>
                </a:ext>
              </a:extLst>
            </p:cNvPr>
            <p:cNvSpPr/>
            <p:nvPr/>
          </p:nvSpPr>
          <p:spPr>
            <a:xfrm>
              <a:off x="8057852" y="1293911"/>
              <a:ext cx="125908" cy="50006"/>
            </a:xfrm>
            <a:custGeom>
              <a:avLst/>
              <a:gdLst>
                <a:gd name="connsiteX0" fmla="*/ 0 w 125908"/>
                <a:gd name="connsiteY0" fmla="*/ 50006 h 50006"/>
                <a:gd name="connsiteX1" fmla="*/ 11608 w 125908"/>
                <a:gd name="connsiteY1" fmla="*/ 27682 h 50006"/>
                <a:gd name="connsiteX2" fmla="*/ 56257 w 125908"/>
                <a:gd name="connsiteY2" fmla="*/ 0 h 50006"/>
                <a:gd name="connsiteX3" fmla="*/ 125908 w 125908"/>
                <a:gd name="connsiteY3" fmla="*/ 0 h 50006"/>
              </a:gdLst>
              <a:ahLst/>
              <a:cxnLst>
                <a:cxn ang="0">
                  <a:pos x="connsiteX0" y="connsiteY0"/>
                </a:cxn>
                <a:cxn ang="0">
                  <a:pos x="connsiteX1" y="connsiteY1"/>
                </a:cxn>
                <a:cxn ang="0">
                  <a:pos x="connsiteX2" y="connsiteY2"/>
                </a:cxn>
                <a:cxn ang="0">
                  <a:pos x="connsiteX3" y="connsiteY3"/>
                </a:cxn>
              </a:cxnLst>
              <a:rect l="l" t="t" r="r" b="b"/>
              <a:pathLst>
                <a:path w="125908" h="50006">
                  <a:moveTo>
                    <a:pt x="0" y="50006"/>
                  </a:moveTo>
                  <a:lnTo>
                    <a:pt x="11608" y="27682"/>
                  </a:lnTo>
                  <a:cubicBezTo>
                    <a:pt x="20538" y="10716"/>
                    <a:pt x="37505" y="0"/>
                    <a:pt x="56257" y="0"/>
                  </a:cubicBezTo>
                  <a:lnTo>
                    <a:pt x="125908"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74" name="Forme libre 173">
              <a:extLst>
                <a:ext uri="{FF2B5EF4-FFF2-40B4-BE49-F238E27FC236}">
                  <a16:creationId xmlns:a16="http://schemas.microsoft.com/office/drawing/2014/main" id="{C492F608-4907-4155-BE73-D4E5D2B58953}"/>
                </a:ext>
              </a:extLst>
            </p:cNvPr>
            <p:cNvSpPr/>
            <p:nvPr/>
          </p:nvSpPr>
          <p:spPr>
            <a:xfrm>
              <a:off x="7478315" y="1343917"/>
              <a:ext cx="679549" cy="375939"/>
            </a:xfrm>
            <a:custGeom>
              <a:avLst/>
              <a:gdLst>
                <a:gd name="connsiteX0" fmla="*/ 75010 w 679549"/>
                <a:gd name="connsiteY0" fmla="*/ 0 h 375939"/>
                <a:gd name="connsiteX1" fmla="*/ 529530 w 679549"/>
                <a:gd name="connsiteY1" fmla="*/ 0 h 375939"/>
                <a:gd name="connsiteX2" fmla="*/ 679550 w 679549"/>
                <a:gd name="connsiteY2" fmla="*/ 150019 h 375939"/>
                <a:gd name="connsiteX3" fmla="*/ 679550 w 679549"/>
                <a:gd name="connsiteY3" fmla="*/ 325934 h 375939"/>
                <a:gd name="connsiteX4" fmla="*/ 629543 w 679549"/>
                <a:gd name="connsiteY4" fmla="*/ 375940 h 375939"/>
                <a:gd name="connsiteX5" fmla="*/ 0 w 679549"/>
                <a:gd name="connsiteY5" fmla="*/ 375940 h 37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549" h="375939">
                  <a:moveTo>
                    <a:pt x="75010" y="0"/>
                  </a:moveTo>
                  <a:lnTo>
                    <a:pt x="529530" y="0"/>
                  </a:lnTo>
                  <a:cubicBezTo>
                    <a:pt x="612577" y="0"/>
                    <a:pt x="679550" y="66973"/>
                    <a:pt x="679550" y="150019"/>
                  </a:cubicBezTo>
                  <a:lnTo>
                    <a:pt x="679550" y="325934"/>
                  </a:lnTo>
                  <a:cubicBezTo>
                    <a:pt x="679550" y="353616"/>
                    <a:pt x="657225" y="375940"/>
                    <a:pt x="629543" y="375940"/>
                  </a:cubicBezTo>
                  <a:lnTo>
                    <a:pt x="0" y="375940"/>
                  </a:lnTo>
                </a:path>
              </a:pathLst>
            </a:custGeom>
            <a:grpFill/>
            <a:ln w="25400" cap="flat">
              <a:solidFill>
                <a:schemeClr val="bg1"/>
              </a:solidFill>
              <a:prstDash val="solid"/>
              <a:miter/>
            </a:ln>
          </p:spPr>
          <p:txBody>
            <a:bodyPr rtlCol="0" anchor="ctr"/>
            <a:lstStyle/>
            <a:p>
              <a:pPr defTabSz="457189"/>
              <a:endParaRPr lang="fr-FR" sz="1350" dirty="0">
                <a:solidFill>
                  <a:srgbClr val="008B92"/>
                </a:solidFill>
                <a:latin typeface="Arial"/>
              </a:endParaRPr>
            </a:p>
          </p:txBody>
        </p:sp>
        <p:sp>
          <p:nvSpPr>
            <p:cNvPr id="175" name="Forme libre 174">
              <a:extLst>
                <a:ext uri="{FF2B5EF4-FFF2-40B4-BE49-F238E27FC236}">
                  <a16:creationId xmlns:a16="http://schemas.microsoft.com/office/drawing/2014/main" id="{D323313F-073F-D943-0249-0C54DD0691B4}"/>
                </a:ext>
              </a:extLst>
            </p:cNvPr>
            <p:cNvSpPr/>
            <p:nvPr/>
          </p:nvSpPr>
          <p:spPr>
            <a:xfrm>
              <a:off x="7932836" y="1794867"/>
              <a:ext cx="175021" cy="75009"/>
            </a:xfrm>
            <a:custGeom>
              <a:avLst/>
              <a:gdLst>
                <a:gd name="connsiteX0" fmla="*/ 175022 w 175021"/>
                <a:gd name="connsiteY0" fmla="*/ 0 h 75009"/>
                <a:gd name="connsiteX1" fmla="*/ 175022 w 175021"/>
                <a:gd name="connsiteY1" fmla="*/ 25003 h 75009"/>
                <a:gd name="connsiteX2" fmla="*/ 125016 w 175021"/>
                <a:gd name="connsiteY2" fmla="*/ 75009 h 75009"/>
                <a:gd name="connsiteX3" fmla="*/ 50006 w 175021"/>
                <a:gd name="connsiteY3" fmla="*/ 75009 h 75009"/>
                <a:gd name="connsiteX4" fmla="*/ 0 w 175021"/>
                <a:gd name="connsiteY4" fmla="*/ 25003 h 75009"/>
                <a:gd name="connsiteX5" fmla="*/ 0 w 175021"/>
                <a:gd name="connsiteY5" fmla="*/ 0 h 7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21" h="75009">
                  <a:moveTo>
                    <a:pt x="175022" y="0"/>
                  </a:moveTo>
                  <a:lnTo>
                    <a:pt x="175022" y="25003"/>
                  </a:lnTo>
                  <a:cubicBezTo>
                    <a:pt x="175022" y="52685"/>
                    <a:pt x="152697" y="75009"/>
                    <a:pt x="125016" y="75009"/>
                  </a:cubicBezTo>
                  <a:lnTo>
                    <a:pt x="50006" y="75009"/>
                  </a:lnTo>
                  <a:cubicBezTo>
                    <a:pt x="22324" y="75009"/>
                    <a:pt x="0" y="52685"/>
                    <a:pt x="0" y="25003"/>
                  </a:cubicBezTo>
                  <a:lnTo>
                    <a:pt x="0"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76" name="Forme libre 175">
              <a:extLst>
                <a:ext uri="{FF2B5EF4-FFF2-40B4-BE49-F238E27FC236}">
                  <a16:creationId xmlns:a16="http://schemas.microsoft.com/office/drawing/2014/main" id="{EC50050D-6F83-E2FC-29F5-03E01A59A5AD}"/>
                </a:ext>
              </a:extLst>
            </p:cNvPr>
            <p:cNvSpPr/>
            <p:nvPr/>
          </p:nvSpPr>
          <p:spPr>
            <a:xfrm>
              <a:off x="7457777" y="1168896"/>
              <a:ext cx="550068" cy="175914"/>
            </a:xfrm>
            <a:custGeom>
              <a:avLst/>
              <a:gdLst>
                <a:gd name="connsiteX0" fmla="*/ 0 w 550068"/>
                <a:gd name="connsiteY0" fmla="*/ 45541 h 175914"/>
                <a:gd name="connsiteX1" fmla="*/ 96441 w 550068"/>
                <a:gd name="connsiteY1" fmla="*/ 0 h 175914"/>
                <a:gd name="connsiteX2" fmla="*/ 376833 w 550068"/>
                <a:gd name="connsiteY2" fmla="*/ 0 h 175914"/>
                <a:gd name="connsiteX3" fmla="*/ 485775 w 550068"/>
                <a:gd name="connsiteY3" fmla="*/ 63401 h 175914"/>
                <a:gd name="connsiteX4" fmla="*/ 550069 w 550068"/>
                <a:gd name="connsiteY4" fmla="*/ 175915 h 175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068" h="175914">
                  <a:moveTo>
                    <a:pt x="0" y="45541"/>
                  </a:moveTo>
                  <a:cubicBezTo>
                    <a:pt x="23217" y="16966"/>
                    <a:pt x="58936" y="0"/>
                    <a:pt x="96441" y="0"/>
                  </a:cubicBezTo>
                  <a:lnTo>
                    <a:pt x="376833" y="0"/>
                  </a:lnTo>
                  <a:cubicBezTo>
                    <a:pt x="421481" y="0"/>
                    <a:pt x="463451" y="24110"/>
                    <a:pt x="485775" y="63401"/>
                  </a:cubicBezTo>
                  <a:lnTo>
                    <a:pt x="550069" y="175915"/>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77" name="Forme libre 176">
              <a:extLst>
                <a:ext uri="{FF2B5EF4-FFF2-40B4-BE49-F238E27FC236}">
                  <a16:creationId xmlns:a16="http://schemas.microsoft.com/office/drawing/2014/main" id="{74A61F9C-AFC5-290F-904F-5BFD5EF251DB}"/>
                </a:ext>
              </a:extLst>
            </p:cNvPr>
            <p:cNvSpPr/>
            <p:nvPr/>
          </p:nvSpPr>
          <p:spPr>
            <a:xfrm>
              <a:off x="7550646" y="1519832"/>
              <a:ext cx="306288" cy="100012"/>
            </a:xfrm>
            <a:custGeom>
              <a:avLst/>
              <a:gdLst>
                <a:gd name="connsiteX0" fmla="*/ 31254 w 306288"/>
                <a:gd name="connsiteY0" fmla="*/ 0 h 100012"/>
                <a:gd name="connsiteX1" fmla="*/ 256282 w 306288"/>
                <a:gd name="connsiteY1" fmla="*/ 0 h 100012"/>
                <a:gd name="connsiteX2" fmla="*/ 306288 w 306288"/>
                <a:gd name="connsiteY2" fmla="*/ 50006 h 100012"/>
                <a:gd name="connsiteX3" fmla="*/ 256282 w 306288"/>
                <a:gd name="connsiteY3" fmla="*/ 100012 h 100012"/>
                <a:gd name="connsiteX4" fmla="*/ 31254 w 306288"/>
                <a:gd name="connsiteY4" fmla="*/ 100012 h 100012"/>
                <a:gd name="connsiteX5" fmla="*/ 0 w 306288"/>
                <a:gd name="connsiteY5" fmla="*/ 88404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288" h="100012">
                  <a:moveTo>
                    <a:pt x="31254" y="0"/>
                  </a:moveTo>
                  <a:lnTo>
                    <a:pt x="256282" y="0"/>
                  </a:lnTo>
                  <a:cubicBezTo>
                    <a:pt x="283964" y="0"/>
                    <a:pt x="306288" y="22324"/>
                    <a:pt x="306288" y="50006"/>
                  </a:cubicBezTo>
                  <a:cubicBezTo>
                    <a:pt x="306288" y="77688"/>
                    <a:pt x="283964" y="100012"/>
                    <a:pt x="256282" y="100012"/>
                  </a:cubicBezTo>
                  <a:lnTo>
                    <a:pt x="31254" y="100012"/>
                  </a:lnTo>
                  <a:cubicBezTo>
                    <a:pt x="19645" y="100012"/>
                    <a:pt x="8036" y="95548"/>
                    <a:pt x="0" y="88404"/>
                  </a:cubicBez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78" name="Forme libre 177">
              <a:extLst>
                <a:ext uri="{FF2B5EF4-FFF2-40B4-BE49-F238E27FC236}">
                  <a16:creationId xmlns:a16="http://schemas.microsoft.com/office/drawing/2014/main" id="{71014AAE-29A5-3FAC-EB35-4353A9CE2417}"/>
                </a:ext>
              </a:extLst>
            </p:cNvPr>
            <p:cNvSpPr/>
            <p:nvPr/>
          </p:nvSpPr>
          <p:spPr>
            <a:xfrm>
              <a:off x="7932836" y="1494829"/>
              <a:ext cx="150018" cy="8929"/>
            </a:xfrm>
            <a:custGeom>
              <a:avLst/>
              <a:gdLst>
                <a:gd name="connsiteX0" fmla="*/ 0 w 150018"/>
                <a:gd name="connsiteY0" fmla="*/ 0 h 8929"/>
                <a:gd name="connsiteX1" fmla="*/ 150019 w 150018"/>
                <a:gd name="connsiteY1" fmla="*/ 0 h 8929"/>
              </a:gdLst>
              <a:ahLst/>
              <a:cxnLst>
                <a:cxn ang="0">
                  <a:pos x="connsiteX0" y="connsiteY0"/>
                </a:cxn>
                <a:cxn ang="0">
                  <a:pos x="connsiteX1" y="connsiteY1"/>
                </a:cxn>
              </a:cxnLst>
              <a:rect l="l" t="t" r="r" b="b"/>
              <a:pathLst>
                <a:path w="150018" h="8929">
                  <a:moveTo>
                    <a:pt x="0" y="0"/>
                  </a:moveTo>
                  <a:lnTo>
                    <a:pt x="150019"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79" name="Forme libre 178">
              <a:extLst>
                <a:ext uri="{FF2B5EF4-FFF2-40B4-BE49-F238E27FC236}">
                  <a16:creationId xmlns:a16="http://schemas.microsoft.com/office/drawing/2014/main" id="{133BD302-5195-546A-4E0A-61352CE6E530}"/>
                </a:ext>
              </a:extLst>
            </p:cNvPr>
            <p:cNvSpPr/>
            <p:nvPr/>
          </p:nvSpPr>
          <p:spPr>
            <a:xfrm>
              <a:off x="8007846" y="1619845"/>
              <a:ext cx="75009" cy="8929"/>
            </a:xfrm>
            <a:custGeom>
              <a:avLst/>
              <a:gdLst>
                <a:gd name="connsiteX0" fmla="*/ 0 w 75009"/>
                <a:gd name="connsiteY0" fmla="*/ 0 h 8929"/>
                <a:gd name="connsiteX1" fmla="*/ 75009 w 75009"/>
                <a:gd name="connsiteY1" fmla="*/ 0 h 8929"/>
              </a:gdLst>
              <a:ahLst/>
              <a:cxnLst>
                <a:cxn ang="0">
                  <a:pos x="connsiteX0" y="connsiteY0"/>
                </a:cxn>
                <a:cxn ang="0">
                  <a:pos x="connsiteX1" y="connsiteY1"/>
                </a:cxn>
              </a:cxnLst>
              <a:rect l="l" t="t" r="r" b="b"/>
              <a:pathLst>
                <a:path w="75009" h="8929">
                  <a:moveTo>
                    <a:pt x="0" y="0"/>
                  </a:moveTo>
                  <a:lnTo>
                    <a:pt x="75009"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80" name="Forme libre 179">
              <a:extLst>
                <a:ext uri="{FF2B5EF4-FFF2-40B4-BE49-F238E27FC236}">
                  <a16:creationId xmlns:a16="http://schemas.microsoft.com/office/drawing/2014/main" id="{3CBEBBA8-6269-CDF2-6C97-6C874689DD7F}"/>
                </a:ext>
              </a:extLst>
            </p:cNvPr>
            <p:cNvSpPr/>
            <p:nvPr/>
          </p:nvSpPr>
          <p:spPr>
            <a:xfrm>
              <a:off x="7008183" y="1043880"/>
              <a:ext cx="500814" cy="676870"/>
            </a:xfrm>
            <a:custGeom>
              <a:avLst/>
              <a:gdLst>
                <a:gd name="connsiteX0" fmla="*/ 308505 w 500814"/>
                <a:gd name="connsiteY0" fmla="*/ 676870 h 676870"/>
                <a:gd name="connsiteX1" fmla="*/ 115623 w 500814"/>
                <a:gd name="connsiteY1" fmla="*/ 0 h 676870"/>
                <a:gd name="connsiteX2" fmla="*/ 373691 w 500814"/>
                <a:gd name="connsiteY2" fmla="*/ 675977 h 676870"/>
              </a:gdLst>
              <a:ahLst/>
              <a:cxnLst>
                <a:cxn ang="0">
                  <a:pos x="connsiteX0" y="connsiteY0"/>
                </a:cxn>
                <a:cxn ang="0">
                  <a:pos x="connsiteX1" y="connsiteY1"/>
                </a:cxn>
                <a:cxn ang="0">
                  <a:pos x="connsiteX2" y="connsiteY2"/>
                </a:cxn>
              </a:cxnLst>
              <a:rect l="l" t="t" r="r" b="b"/>
              <a:pathLst>
                <a:path w="500814" h="676870">
                  <a:moveTo>
                    <a:pt x="308505" y="676870"/>
                  </a:moveTo>
                  <a:cubicBezTo>
                    <a:pt x="-43325" y="659904"/>
                    <a:pt x="-74579" y="307181"/>
                    <a:pt x="115623" y="0"/>
                  </a:cubicBezTo>
                  <a:cubicBezTo>
                    <a:pt x="274572" y="150019"/>
                    <a:pt x="716591" y="325934"/>
                    <a:pt x="373691" y="675977"/>
                  </a:cubicBez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81" name="Forme libre 180">
              <a:extLst>
                <a:ext uri="{FF2B5EF4-FFF2-40B4-BE49-F238E27FC236}">
                  <a16:creationId xmlns:a16="http://schemas.microsoft.com/office/drawing/2014/main" id="{E36113D6-2D5F-B54A-02D3-6945BEDAC01A}"/>
                </a:ext>
              </a:extLst>
            </p:cNvPr>
            <p:cNvSpPr/>
            <p:nvPr/>
          </p:nvSpPr>
          <p:spPr>
            <a:xfrm>
              <a:off x="7183635" y="1260871"/>
              <a:ext cx="241101" cy="584001"/>
            </a:xfrm>
            <a:custGeom>
              <a:avLst/>
              <a:gdLst>
                <a:gd name="connsiteX0" fmla="*/ 241102 w 241101"/>
                <a:gd name="connsiteY0" fmla="*/ 584002 h 584001"/>
                <a:gd name="connsiteX1" fmla="*/ 0 w 241101"/>
                <a:gd name="connsiteY1" fmla="*/ 0 h 584001"/>
              </a:gdLst>
              <a:ahLst/>
              <a:cxnLst>
                <a:cxn ang="0">
                  <a:pos x="connsiteX0" y="connsiteY0"/>
                </a:cxn>
                <a:cxn ang="0">
                  <a:pos x="connsiteX1" y="connsiteY1"/>
                </a:cxn>
              </a:cxnLst>
              <a:rect l="l" t="t" r="r" b="b"/>
              <a:pathLst>
                <a:path w="241101" h="584001">
                  <a:moveTo>
                    <a:pt x="241102" y="584002"/>
                  </a:moveTo>
                  <a:cubicBezTo>
                    <a:pt x="198239" y="344686"/>
                    <a:pt x="67866" y="116086"/>
                    <a:pt x="0" y="0"/>
                  </a:cubicBez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82" name="Forme libre 181">
              <a:extLst>
                <a:ext uri="{FF2B5EF4-FFF2-40B4-BE49-F238E27FC236}">
                  <a16:creationId xmlns:a16="http://schemas.microsoft.com/office/drawing/2014/main" id="{452B9980-6603-1E15-531C-D9260888F4BC}"/>
                </a:ext>
              </a:extLst>
            </p:cNvPr>
            <p:cNvSpPr/>
            <p:nvPr/>
          </p:nvSpPr>
          <p:spPr>
            <a:xfrm>
              <a:off x="7155953" y="1494829"/>
              <a:ext cx="200917" cy="100012"/>
            </a:xfrm>
            <a:custGeom>
              <a:avLst/>
              <a:gdLst>
                <a:gd name="connsiteX0" fmla="*/ 0 w 200917"/>
                <a:gd name="connsiteY0" fmla="*/ 0 h 100012"/>
                <a:gd name="connsiteX1" fmla="*/ 200918 w 200917"/>
                <a:gd name="connsiteY1" fmla="*/ 100013 h 100012"/>
              </a:gdLst>
              <a:ahLst/>
              <a:cxnLst>
                <a:cxn ang="0">
                  <a:pos x="connsiteX0" y="connsiteY0"/>
                </a:cxn>
                <a:cxn ang="0">
                  <a:pos x="connsiteX1" y="connsiteY1"/>
                </a:cxn>
              </a:cxnLst>
              <a:rect l="l" t="t" r="r" b="b"/>
              <a:pathLst>
                <a:path w="200917" h="100012">
                  <a:moveTo>
                    <a:pt x="0" y="0"/>
                  </a:moveTo>
                  <a:lnTo>
                    <a:pt x="200918" y="100013"/>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sp>
          <p:nvSpPr>
            <p:cNvPr id="183" name="Forme libre 182">
              <a:extLst>
                <a:ext uri="{FF2B5EF4-FFF2-40B4-BE49-F238E27FC236}">
                  <a16:creationId xmlns:a16="http://schemas.microsoft.com/office/drawing/2014/main" id="{9566C962-1985-0354-315C-F31E7457786D}"/>
                </a:ext>
              </a:extLst>
            </p:cNvPr>
            <p:cNvSpPr/>
            <p:nvPr/>
          </p:nvSpPr>
          <p:spPr>
            <a:xfrm>
              <a:off x="7281862" y="1318914"/>
              <a:ext cx="25003" cy="125908"/>
            </a:xfrm>
            <a:custGeom>
              <a:avLst/>
              <a:gdLst>
                <a:gd name="connsiteX0" fmla="*/ 0 w 25003"/>
                <a:gd name="connsiteY0" fmla="*/ 125909 h 125908"/>
                <a:gd name="connsiteX1" fmla="*/ 25003 w 25003"/>
                <a:gd name="connsiteY1" fmla="*/ 0 h 125908"/>
              </a:gdLst>
              <a:ahLst/>
              <a:cxnLst>
                <a:cxn ang="0">
                  <a:pos x="connsiteX0" y="connsiteY0"/>
                </a:cxn>
                <a:cxn ang="0">
                  <a:pos x="connsiteX1" y="connsiteY1"/>
                </a:cxn>
              </a:cxnLst>
              <a:rect l="l" t="t" r="r" b="b"/>
              <a:pathLst>
                <a:path w="25003" h="125908">
                  <a:moveTo>
                    <a:pt x="0" y="125909"/>
                  </a:moveTo>
                  <a:lnTo>
                    <a:pt x="25003" y="0"/>
                  </a:lnTo>
                </a:path>
              </a:pathLst>
            </a:custGeom>
            <a:grpFill/>
            <a:ln w="25400" cap="flat">
              <a:solidFill>
                <a:schemeClr val="bg1"/>
              </a:solidFill>
              <a:prstDash val="solid"/>
              <a:miter/>
            </a:ln>
          </p:spPr>
          <p:txBody>
            <a:bodyPr rtlCol="0" anchor="ctr"/>
            <a:lstStyle/>
            <a:p>
              <a:pPr defTabSz="457189"/>
              <a:endParaRPr lang="fr-FR" sz="1350">
                <a:solidFill>
                  <a:srgbClr val="008B92"/>
                </a:solidFill>
                <a:latin typeface="Arial"/>
              </a:endParaRPr>
            </a:p>
          </p:txBody>
        </p:sp>
      </p:grpSp>
      <p:sp>
        <p:nvSpPr>
          <p:cNvPr id="184" name="TextBox 108">
            <a:extLst>
              <a:ext uri="{FF2B5EF4-FFF2-40B4-BE49-F238E27FC236}">
                <a16:creationId xmlns:a16="http://schemas.microsoft.com/office/drawing/2014/main" id="{FA72705F-6779-EE4F-D3FE-91F6A0DA1D37}"/>
              </a:ext>
            </a:extLst>
          </p:cNvPr>
          <p:cNvSpPr txBox="1"/>
          <p:nvPr/>
        </p:nvSpPr>
        <p:spPr>
          <a:xfrm>
            <a:off x="1542433" y="4351096"/>
            <a:ext cx="1518665" cy="62324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685783">
              <a:spcAft>
                <a:spcPts val="300"/>
              </a:spcAft>
              <a:defRPr/>
            </a:pPr>
            <a:r>
              <a:rPr lang="fr-FR" sz="1200" b="1" kern="0" dirty="0">
                <a:solidFill>
                  <a:srgbClr val="FFFFFF"/>
                </a:solidFill>
                <a:latin typeface="Arial"/>
              </a:rPr>
              <a:t>1 </a:t>
            </a:r>
            <a:r>
              <a:rPr lang="fr-FR" sz="1050" b="1" kern="0" dirty="0">
                <a:solidFill>
                  <a:srgbClr val="FFFFFF"/>
                </a:solidFill>
                <a:latin typeface="Arial"/>
              </a:rPr>
              <a:t>vehicle </a:t>
            </a:r>
            <a:br>
              <a:rPr lang="fr-FR" sz="1050" b="1" kern="0" dirty="0">
                <a:solidFill>
                  <a:srgbClr val="FFFFFF"/>
                </a:solidFill>
                <a:latin typeface="Arial"/>
              </a:rPr>
            </a:br>
            <a:r>
              <a:rPr lang="fr-FR" sz="1050" b="1" kern="0" dirty="0" err="1">
                <a:solidFill>
                  <a:srgbClr val="FFFFFF"/>
                </a:solidFill>
                <a:latin typeface="Arial"/>
              </a:rPr>
              <a:t>financed</a:t>
            </a:r>
            <a:r>
              <a:rPr lang="fr-FR" sz="1050" b="1" kern="0" dirty="0">
                <a:solidFill>
                  <a:srgbClr val="FFFFFF"/>
                </a:solidFill>
                <a:latin typeface="Arial"/>
              </a:rPr>
              <a:t> on 2 </a:t>
            </a:r>
            <a:r>
              <a:rPr lang="fr-FR" sz="900" kern="0" dirty="0" err="1">
                <a:solidFill>
                  <a:srgbClr val="FFFFFF"/>
                </a:solidFill>
                <a:latin typeface="Arial"/>
              </a:rPr>
              <a:t>electric</a:t>
            </a:r>
            <a:r>
              <a:rPr lang="fr-FR" sz="900" kern="0" dirty="0">
                <a:solidFill>
                  <a:srgbClr val="FFFFFF"/>
                </a:solidFill>
                <a:latin typeface="Arial"/>
              </a:rPr>
              <a:t> or </a:t>
            </a:r>
            <a:r>
              <a:rPr lang="fr-FR" sz="900" kern="0" dirty="0" err="1">
                <a:solidFill>
                  <a:srgbClr val="FFFFFF"/>
                </a:solidFill>
                <a:latin typeface="Arial"/>
              </a:rPr>
              <a:t>hybrid</a:t>
            </a:r>
            <a:r>
              <a:rPr lang="fr-FR" sz="900" kern="0" dirty="0">
                <a:solidFill>
                  <a:srgbClr val="FFFFFF"/>
                </a:solidFill>
                <a:latin typeface="Arial"/>
              </a:rPr>
              <a:t> and 1 </a:t>
            </a:r>
            <a:r>
              <a:rPr lang="fr-FR" sz="900" kern="0" dirty="0" err="1">
                <a:solidFill>
                  <a:srgbClr val="FFFFFF"/>
                </a:solidFill>
                <a:latin typeface="Arial"/>
              </a:rPr>
              <a:t>vehicle</a:t>
            </a:r>
            <a:r>
              <a:rPr lang="fr-FR" sz="900" kern="0" dirty="0">
                <a:solidFill>
                  <a:srgbClr val="FFFFFF"/>
                </a:solidFill>
                <a:latin typeface="Arial"/>
              </a:rPr>
              <a:t> </a:t>
            </a:r>
            <a:r>
              <a:rPr lang="fr-FR" sz="900" kern="0" dirty="0" err="1">
                <a:solidFill>
                  <a:srgbClr val="FFFFFF"/>
                </a:solidFill>
                <a:latin typeface="Arial"/>
              </a:rPr>
              <a:t>financed</a:t>
            </a:r>
            <a:r>
              <a:rPr lang="fr-FR" sz="900" kern="0" dirty="0">
                <a:solidFill>
                  <a:srgbClr val="FFFFFF"/>
                </a:solidFill>
                <a:latin typeface="Arial"/>
              </a:rPr>
              <a:t> on 3 </a:t>
            </a:r>
            <a:r>
              <a:rPr lang="fr-FR" sz="900" kern="0" dirty="0" err="1">
                <a:solidFill>
                  <a:srgbClr val="FFFFFF"/>
                </a:solidFill>
                <a:latin typeface="Arial"/>
              </a:rPr>
              <a:t>fully</a:t>
            </a:r>
            <a:r>
              <a:rPr lang="fr-FR" sz="900" kern="0" dirty="0">
                <a:solidFill>
                  <a:srgbClr val="FFFFFF"/>
                </a:solidFill>
                <a:latin typeface="Arial"/>
              </a:rPr>
              <a:t> </a:t>
            </a:r>
            <a:r>
              <a:rPr lang="fr-FR" sz="900" kern="0" dirty="0" err="1">
                <a:solidFill>
                  <a:srgbClr val="FFFFFF"/>
                </a:solidFill>
                <a:latin typeface="Arial"/>
              </a:rPr>
              <a:t>electric</a:t>
            </a:r>
            <a:r>
              <a:rPr lang="fr-FR" sz="900" kern="0" dirty="0">
                <a:solidFill>
                  <a:srgbClr val="FFFFFF"/>
                </a:solidFill>
                <a:latin typeface="Arial"/>
              </a:rPr>
              <a:t> in 2025 </a:t>
            </a:r>
            <a:r>
              <a:rPr lang="fr-FR" sz="900" kern="0" baseline="30000" dirty="0">
                <a:solidFill>
                  <a:srgbClr val="FFFFFF"/>
                </a:solidFill>
                <a:latin typeface="Arial"/>
              </a:rPr>
              <a:t> </a:t>
            </a:r>
            <a:r>
              <a:rPr lang="fr-FR" sz="900" kern="0" dirty="0">
                <a:solidFill>
                  <a:srgbClr val="FFFFFF"/>
                </a:solidFill>
                <a:latin typeface="Arial"/>
              </a:rPr>
              <a:t> </a:t>
            </a:r>
            <a:endParaRPr lang="fr-FR" sz="900" i="1" kern="0" dirty="0">
              <a:solidFill>
                <a:srgbClr val="FFFFFF"/>
              </a:solidFill>
              <a:latin typeface="Arial"/>
            </a:endParaRPr>
          </a:p>
        </p:txBody>
      </p:sp>
      <p:sp>
        <p:nvSpPr>
          <p:cNvPr id="10" name="Rectangle 9"/>
          <p:cNvSpPr/>
          <p:nvPr/>
        </p:nvSpPr>
        <p:spPr>
          <a:xfrm>
            <a:off x="8756120" y="4851008"/>
            <a:ext cx="312906" cy="230832"/>
          </a:xfrm>
          <a:prstGeom prst="rect">
            <a:avLst/>
          </a:prstGeom>
        </p:spPr>
        <p:txBody>
          <a:bodyPr wrap="none">
            <a:spAutoFit/>
          </a:bodyPr>
          <a:lstStyle/>
          <a:p>
            <a:pPr defTabSz="457189"/>
            <a:r>
              <a:rPr lang="fr-FR" sz="900" b="1" dirty="0">
                <a:solidFill>
                  <a:prstClr val="white"/>
                </a:solidFill>
                <a:latin typeface="Arial"/>
              </a:rPr>
              <a:t>60</a:t>
            </a:r>
            <a:endParaRPr lang="fr-FR" sz="900" dirty="0">
              <a:solidFill>
                <a:prstClr val="white"/>
              </a:solidFill>
              <a:latin typeface="Arial"/>
            </a:endParaRPr>
          </a:p>
        </p:txBody>
      </p:sp>
    </p:spTree>
    <p:extLst>
      <p:ext uri="{BB962C8B-B14F-4D97-AF65-F5344CB8AC3E}">
        <p14:creationId xmlns:p14="http://schemas.microsoft.com/office/powerpoint/2010/main" val="2938286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5337135" y="112118"/>
            <a:ext cx="1251802" cy="29504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prstClr val="white"/>
              </a:solidFill>
              <a:latin typeface="Arial"/>
            </a:endParaRPr>
          </a:p>
        </p:txBody>
      </p:sp>
      <p:sp>
        <p:nvSpPr>
          <p:cNvPr id="23" name="Title 2"/>
          <p:cNvSpPr>
            <a:spLocks noGrp="1"/>
          </p:cNvSpPr>
          <p:nvPr>
            <p:ph type="title"/>
          </p:nvPr>
        </p:nvSpPr>
        <p:spPr>
          <a:xfrm>
            <a:off x="517608" y="181509"/>
            <a:ext cx="7997742" cy="824594"/>
          </a:xfrm>
        </p:spPr>
        <p:txBody>
          <a:bodyPr/>
          <a:lstStyle/>
          <a:p>
            <a:r>
              <a:rPr lang="fr-FR" dirty="0">
                <a:solidFill>
                  <a:prstClr val="black"/>
                </a:solidFill>
              </a:rPr>
              <a:t>CACF Group</a:t>
            </a:r>
            <a:br>
              <a:rPr lang="fr-FR" dirty="0">
                <a:solidFill>
                  <a:prstClr val="black"/>
                </a:solidFill>
              </a:rPr>
            </a:br>
            <a:r>
              <a:rPr lang="fr-FR" sz="1400" dirty="0">
                <a:solidFill>
                  <a:prstClr val="white">
                    <a:lumMod val="50000"/>
                  </a:prstClr>
                </a:solidFill>
              </a:rPr>
              <a:t>International </a:t>
            </a:r>
            <a:r>
              <a:rPr lang="fr-FR" sz="1400" dirty="0" err="1">
                <a:solidFill>
                  <a:prstClr val="white">
                    <a:lumMod val="50000"/>
                  </a:prstClr>
                </a:solidFill>
              </a:rPr>
              <a:t>Presence</a:t>
            </a:r>
            <a:endParaRPr lang="en-US" sz="1400" dirty="0">
              <a:solidFill>
                <a:prstClr val="white">
                  <a:lumMod val="50000"/>
                </a:prstClr>
              </a:solidFill>
            </a:endParaRPr>
          </a:p>
        </p:txBody>
      </p:sp>
      <p:pic>
        <p:nvPicPr>
          <p:cNvPr id="44" name="Imag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4973" y="813811"/>
            <a:ext cx="1622376" cy="418806"/>
          </a:xfrm>
          <a:prstGeom prst="rect">
            <a:avLst/>
          </a:prstGeom>
        </p:spPr>
      </p:pic>
      <p:sp>
        <p:nvSpPr>
          <p:cNvPr id="45" name="Text Box 28"/>
          <p:cNvSpPr txBox="1">
            <a:spLocks noChangeArrowheads="1"/>
          </p:cNvSpPr>
          <p:nvPr/>
        </p:nvSpPr>
        <p:spPr bwMode="auto">
          <a:xfrm>
            <a:off x="461630" y="1935041"/>
            <a:ext cx="103746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tabLst>
                <a:tab pos="714375" algn="l"/>
              </a:tabLst>
              <a:defRPr>
                <a:solidFill>
                  <a:schemeClr val="tx1"/>
                </a:solidFill>
                <a:latin typeface="Calibri" pitchFamily="34" charset="0"/>
              </a:defRPr>
            </a:lvl1pPr>
            <a:lvl2pPr marL="742950" indent="-285750" eaLnBrk="0" hangingPunct="0">
              <a:tabLst>
                <a:tab pos="714375" algn="l"/>
              </a:tabLst>
              <a:defRPr>
                <a:solidFill>
                  <a:schemeClr val="tx1"/>
                </a:solidFill>
                <a:latin typeface="Calibri" pitchFamily="34" charset="0"/>
              </a:defRPr>
            </a:lvl2pPr>
            <a:lvl3pPr marL="1143000" indent="-228600" eaLnBrk="0" hangingPunct="0">
              <a:tabLst>
                <a:tab pos="714375" algn="l"/>
              </a:tabLst>
              <a:defRPr>
                <a:solidFill>
                  <a:schemeClr val="tx1"/>
                </a:solidFill>
                <a:latin typeface="Calibri" pitchFamily="34" charset="0"/>
              </a:defRPr>
            </a:lvl3pPr>
            <a:lvl4pPr marL="1600200" indent="-228600" eaLnBrk="0" hangingPunct="0">
              <a:tabLst>
                <a:tab pos="714375" algn="l"/>
              </a:tabLst>
              <a:defRPr>
                <a:solidFill>
                  <a:schemeClr val="tx1"/>
                </a:solidFill>
                <a:latin typeface="Calibri" pitchFamily="34" charset="0"/>
              </a:defRPr>
            </a:lvl4pPr>
            <a:lvl5pPr marL="2057400" indent="-228600" eaLnBrk="0" hangingPunct="0">
              <a:tabLst>
                <a:tab pos="714375" algn="l"/>
              </a:tabLst>
              <a:defRPr>
                <a:solidFill>
                  <a:schemeClr val="tx1"/>
                </a:solidFill>
                <a:latin typeface="Calibri" pitchFamily="34" charset="0"/>
              </a:defRPr>
            </a:lvl5pPr>
            <a:lvl6pPr marL="2514600" indent="-228600" eaLnBrk="0" fontAlgn="base" hangingPunct="0">
              <a:spcBef>
                <a:spcPct val="0"/>
              </a:spcBef>
              <a:spcAft>
                <a:spcPct val="0"/>
              </a:spcAft>
              <a:tabLst>
                <a:tab pos="714375" algn="l"/>
              </a:tabLst>
              <a:defRPr>
                <a:solidFill>
                  <a:schemeClr val="tx1"/>
                </a:solidFill>
                <a:latin typeface="Calibri" pitchFamily="34" charset="0"/>
              </a:defRPr>
            </a:lvl6pPr>
            <a:lvl7pPr marL="2971800" indent="-228600" eaLnBrk="0" fontAlgn="base" hangingPunct="0">
              <a:spcBef>
                <a:spcPct val="0"/>
              </a:spcBef>
              <a:spcAft>
                <a:spcPct val="0"/>
              </a:spcAft>
              <a:tabLst>
                <a:tab pos="714375" algn="l"/>
              </a:tabLst>
              <a:defRPr>
                <a:solidFill>
                  <a:schemeClr val="tx1"/>
                </a:solidFill>
                <a:latin typeface="Calibri" pitchFamily="34" charset="0"/>
              </a:defRPr>
            </a:lvl7pPr>
            <a:lvl8pPr marL="3429000" indent="-228600" eaLnBrk="0" fontAlgn="base" hangingPunct="0">
              <a:spcBef>
                <a:spcPct val="0"/>
              </a:spcBef>
              <a:spcAft>
                <a:spcPct val="0"/>
              </a:spcAft>
              <a:tabLst>
                <a:tab pos="714375" algn="l"/>
              </a:tabLst>
              <a:defRPr>
                <a:solidFill>
                  <a:schemeClr val="tx1"/>
                </a:solidFill>
                <a:latin typeface="Calibri" pitchFamily="34" charset="0"/>
              </a:defRPr>
            </a:lvl8pPr>
            <a:lvl9pPr marL="3886200" indent="-228600" eaLnBrk="0" fontAlgn="base" hangingPunct="0">
              <a:spcBef>
                <a:spcPct val="0"/>
              </a:spcBef>
              <a:spcAft>
                <a:spcPct val="0"/>
              </a:spcAft>
              <a:tabLst>
                <a:tab pos="714375" algn="l"/>
              </a:tabLst>
              <a:defRPr>
                <a:solidFill>
                  <a:schemeClr val="tx1"/>
                </a:solidFill>
                <a:latin typeface="Calibri" pitchFamily="34" charset="0"/>
              </a:defRPr>
            </a:lvl9pPr>
          </a:lstStyle>
          <a:p>
            <a:pPr algn="ctr" defTabSz="685783" eaLnBrk="1" hangingPunct="1">
              <a:tabLst>
                <a:tab pos="535768" algn="l"/>
              </a:tabLst>
              <a:defRPr/>
            </a:pPr>
            <a:r>
              <a:rPr lang="en-GB" altLang="fr-FR" sz="900" b="1" kern="0" dirty="0">
                <a:solidFill>
                  <a:srgbClr val="000000"/>
                </a:solidFill>
                <a:latin typeface="Avenir Next LT Pro"/>
                <a:ea typeface="ＭＳ Ｐゴシック" pitchFamily="34" charset="-128"/>
                <a:cs typeface="Arial" pitchFamily="34" charset="0"/>
              </a:rPr>
              <a:t>36.2€b</a:t>
            </a:r>
          </a:p>
        </p:txBody>
      </p:sp>
      <p:sp>
        <p:nvSpPr>
          <p:cNvPr id="46" name="Text Box 28"/>
          <p:cNvSpPr txBox="1">
            <a:spLocks noChangeArrowheads="1"/>
          </p:cNvSpPr>
          <p:nvPr/>
        </p:nvSpPr>
        <p:spPr bwMode="auto">
          <a:xfrm>
            <a:off x="3865895" y="3865799"/>
            <a:ext cx="103746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tabLst>
                <a:tab pos="714375" algn="l"/>
              </a:tabLst>
              <a:defRPr>
                <a:solidFill>
                  <a:schemeClr val="tx1"/>
                </a:solidFill>
                <a:latin typeface="Calibri" pitchFamily="34" charset="0"/>
              </a:defRPr>
            </a:lvl1pPr>
            <a:lvl2pPr marL="742950" indent="-285750" eaLnBrk="0" hangingPunct="0">
              <a:tabLst>
                <a:tab pos="714375" algn="l"/>
              </a:tabLst>
              <a:defRPr>
                <a:solidFill>
                  <a:schemeClr val="tx1"/>
                </a:solidFill>
                <a:latin typeface="Calibri" pitchFamily="34" charset="0"/>
              </a:defRPr>
            </a:lvl2pPr>
            <a:lvl3pPr marL="1143000" indent="-228600" eaLnBrk="0" hangingPunct="0">
              <a:tabLst>
                <a:tab pos="714375" algn="l"/>
              </a:tabLst>
              <a:defRPr>
                <a:solidFill>
                  <a:schemeClr val="tx1"/>
                </a:solidFill>
                <a:latin typeface="Calibri" pitchFamily="34" charset="0"/>
              </a:defRPr>
            </a:lvl3pPr>
            <a:lvl4pPr marL="1600200" indent="-228600" eaLnBrk="0" hangingPunct="0">
              <a:tabLst>
                <a:tab pos="714375" algn="l"/>
              </a:tabLst>
              <a:defRPr>
                <a:solidFill>
                  <a:schemeClr val="tx1"/>
                </a:solidFill>
                <a:latin typeface="Calibri" pitchFamily="34" charset="0"/>
              </a:defRPr>
            </a:lvl4pPr>
            <a:lvl5pPr marL="2057400" indent="-228600" eaLnBrk="0" hangingPunct="0">
              <a:tabLst>
                <a:tab pos="714375" algn="l"/>
              </a:tabLst>
              <a:defRPr>
                <a:solidFill>
                  <a:schemeClr val="tx1"/>
                </a:solidFill>
                <a:latin typeface="Calibri" pitchFamily="34" charset="0"/>
              </a:defRPr>
            </a:lvl5pPr>
            <a:lvl6pPr marL="2514600" indent="-228600" eaLnBrk="0" fontAlgn="base" hangingPunct="0">
              <a:spcBef>
                <a:spcPct val="0"/>
              </a:spcBef>
              <a:spcAft>
                <a:spcPct val="0"/>
              </a:spcAft>
              <a:tabLst>
                <a:tab pos="714375" algn="l"/>
              </a:tabLst>
              <a:defRPr>
                <a:solidFill>
                  <a:schemeClr val="tx1"/>
                </a:solidFill>
                <a:latin typeface="Calibri" pitchFamily="34" charset="0"/>
              </a:defRPr>
            </a:lvl6pPr>
            <a:lvl7pPr marL="2971800" indent="-228600" eaLnBrk="0" fontAlgn="base" hangingPunct="0">
              <a:spcBef>
                <a:spcPct val="0"/>
              </a:spcBef>
              <a:spcAft>
                <a:spcPct val="0"/>
              </a:spcAft>
              <a:tabLst>
                <a:tab pos="714375" algn="l"/>
              </a:tabLst>
              <a:defRPr>
                <a:solidFill>
                  <a:schemeClr val="tx1"/>
                </a:solidFill>
                <a:latin typeface="Calibri" pitchFamily="34" charset="0"/>
              </a:defRPr>
            </a:lvl7pPr>
            <a:lvl8pPr marL="3429000" indent="-228600" eaLnBrk="0" fontAlgn="base" hangingPunct="0">
              <a:spcBef>
                <a:spcPct val="0"/>
              </a:spcBef>
              <a:spcAft>
                <a:spcPct val="0"/>
              </a:spcAft>
              <a:tabLst>
                <a:tab pos="714375" algn="l"/>
              </a:tabLst>
              <a:defRPr>
                <a:solidFill>
                  <a:schemeClr val="tx1"/>
                </a:solidFill>
                <a:latin typeface="Calibri" pitchFamily="34" charset="0"/>
              </a:defRPr>
            </a:lvl8pPr>
            <a:lvl9pPr marL="3886200" indent="-228600" eaLnBrk="0" fontAlgn="base" hangingPunct="0">
              <a:spcBef>
                <a:spcPct val="0"/>
              </a:spcBef>
              <a:spcAft>
                <a:spcPct val="0"/>
              </a:spcAft>
              <a:tabLst>
                <a:tab pos="714375" algn="l"/>
              </a:tabLst>
              <a:defRPr>
                <a:solidFill>
                  <a:schemeClr val="tx1"/>
                </a:solidFill>
                <a:latin typeface="Calibri" pitchFamily="34" charset="0"/>
              </a:defRPr>
            </a:lvl9pPr>
          </a:lstStyle>
          <a:p>
            <a:pPr algn="ctr" defTabSz="685783" eaLnBrk="1" hangingPunct="1">
              <a:tabLst>
                <a:tab pos="535768" algn="l"/>
              </a:tabLst>
              <a:defRPr/>
            </a:pPr>
            <a:r>
              <a:rPr lang="fr-FR" altLang="fr-FR" sz="900" b="1" kern="0" dirty="0">
                <a:solidFill>
                  <a:srgbClr val="000000"/>
                </a:solidFill>
                <a:latin typeface="Avenir Next LT Pro"/>
                <a:ea typeface="ＭＳ Ｐゴシック" pitchFamily="34" charset="-128"/>
                <a:cs typeface="Arial" pitchFamily="34" charset="0"/>
              </a:rPr>
              <a:t>16.8€b</a:t>
            </a:r>
            <a:endParaRPr lang="en-GB" altLang="fr-FR" sz="900" b="1" kern="0" dirty="0">
              <a:solidFill>
                <a:srgbClr val="000000"/>
              </a:solidFill>
              <a:latin typeface="Avenir Next LT Pro"/>
              <a:ea typeface="ＭＳ Ｐゴシック" pitchFamily="34" charset="-128"/>
              <a:cs typeface="Arial" pitchFamily="34" charset="0"/>
            </a:endParaRPr>
          </a:p>
        </p:txBody>
      </p:sp>
      <p:sp>
        <p:nvSpPr>
          <p:cNvPr id="47" name="Text Box 28"/>
          <p:cNvSpPr txBox="1">
            <a:spLocks noChangeArrowheads="1"/>
          </p:cNvSpPr>
          <p:nvPr/>
        </p:nvSpPr>
        <p:spPr bwMode="auto">
          <a:xfrm>
            <a:off x="601312" y="1068287"/>
            <a:ext cx="127501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tabLst>
                <a:tab pos="714375" algn="l"/>
              </a:tabLst>
              <a:defRPr>
                <a:solidFill>
                  <a:schemeClr val="tx1"/>
                </a:solidFill>
                <a:latin typeface="Calibri" pitchFamily="34" charset="0"/>
              </a:defRPr>
            </a:lvl1pPr>
            <a:lvl2pPr marL="742950" indent="-285750" eaLnBrk="0" hangingPunct="0">
              <a:tabLst>
                <a:tab pos="714375" algn="l"/>
              </a:tabLst>
              <a:defRPr>
                <a:solidFill>
                  <a:schemeClr val="tx1"/>
                </a:solidFill>
                <a:latin typeface="Calibri" pitchFamily="34" charset="0"/>
              </a:defRPr>
            </a:lvl2pPr>
            <a:lvl3pPr marL="1143000" indent="-228600" eaLnBrk="0" hangingPunct="0">
              <a:tabLst>
                <a:tab pos="714375" algn="l"/>
              </a:tabLst>
              <a:defRPr>
                <a:solidFill>
                  <a:schemeClr val="tx1"/>
                </a:solidFill>
                <a:latin typeface="Calibri" pitchFamily="34" charset="0"/>
              </a:defRPr>
            </a:lvl3pPr>
            <a:lvl4pPr marL="1600200" indent="-228600" eaLnBrk="0" hangingPunct="0">
              <a:tabLst>
                <a:tab pos="714375" algn="l"/>
              </a:tabLst>
              <a:defRPr>
                <a:solidFill>
                  <a:schemeClr val="tx1"/>
                </a:solidFill>
                <a:latin typeface="Calibri" pitchFamily="34" charset="0"/>
              </a:defRPr>
            </a:lvl4pPr>
            <a:lvl5pPr marL="2057400" indent="-228600" eaLnBrk="0" hangingPunct="0">
              <a:tabLst>
                <a:tab pos="714375" algn="l"/>
              </a:tabLst>
              <a:defRPr>
                <a:solidFill>
                  <a:schemeClr val="tx1"/>
                </a:solidFill>
                <a:latin typeface="Calibri" pitchFamily="34" charset="0"/>
              </a:defRPr>
            </a:lvl5pPr>
            <a:lvl6pPr marL="2514600" indent="-228600" eaLnBrk="0" fontAlgn="base" hangingPunct="0">
              <a:spcBef>
                <a:spcPct val="0"/>
              </a:spcBef>
              <a:spcAft>
                <a:spcPct val="0"/>
              </a:spcAft>
              <a:tabLst>
                <a:tab pos="714375" algn="l"/>
              </a:tabLst>
              <a:defRPr>
                <a:solidFill>
                  <a:schemeClr val="tx1"/>
                </a:solidFill>
                <a:latin typeface="Calibri" pitchFamily="34" charset="0"/>
              </a:defRPr>
            </a:lvl6pPr>
            <a:lvl7pPr marL="2971800" indent="-228600" eaLnBrk="0" fontAlgn="base" hangingPunct="0">
              <a:spcBef>
                <a:spcPct val="0"/>
              </a:spcBef>
              <a:spcAft>
                <a:spcPct val="0"/>
              </a:spcAft>
              <a:tabLst>
                <a:tab pos="714375" algn="l"/>
              </a:tabLst>
              <a:defRPr>
                <a:solidFill>
                  <a:schemeClr val="tx1"/>
                </a:solidFill>
                <a:latin typeface="Calibri" pitchFamily="34" charset="0"/>
              </a:defRPr>
            </a:lvl7pPr>
            <a:lvl8pPr marL="3429000" indent="-228600" eaLnBrk="0" fontAlgn="base" hangingPunct="0">
              <a:spcBef>
                <a:spcPct val="0"/>
              </a:spcBef>
              <a:spcAft>
                <a:spcPct val="0"/>
              </a:spcAft>
              <a:tabLst>
                <a:tab pos="714375" algn="l"/>
              </a:tabLst>
              <a:defRPr>
                <a:solidFill>
                  <a:schemeClr val="tx1"/>
                </a:solidFill>
                <a:latin typeface="Calibri" pitchFamily="34" charset="0"/>
              </a:defRPr>
            </a:lvl8pPr>
            <a:lvl9pPr marL="3886200" indent="-228600" eaLnBrk="0" fontAlgn="base" hangingPunct="0">
              <a:spcBef>
                <a:spcPct val="0"/>
              </a:spcBef>
              <a:spcAft>
                <a:spcPct val="0"/>
              </a:spcAft>
              <a:tabLst>
                <a:tab pos="714375" algn="l"/>
              </a:tabLst>
              <a:defRPr>
                <a:solidFill>
                  <a:schemeClr val="tx1"/>
                </a:solidFill>
                <a:latin typeface="Calibri" pitchFamily="34" charset="0"/>
              </a:defRPr>
            </a:lvl9pPr>
          </a:lstStyle>
          <a:p>
            <a:pPr algn="ctr" defTabSz="685783" eaLnBrk="1" hangingPunct="1">
              <a:tabLst>
                <a:tab pos="535768" algn="l"/>
              </a:tabLst>
              <a:defRPr/>
            </a:pPr>
            <a:r>
              <a:rPr lang="fr-FR" altLang="fr-FR" sz="900" b="1" kern="0" dirty="0">
                <a:solidFill>
                  <a:srgbClr val="000000"/>
                </a:solidFill>
                <a:latin typeface="Avenir Next LT Pro"/>
                <a:ea typeface="ＭＳ Ｐゴシック" pitchFamily="34" charset="-128"/>
                <a:cs typeface="Arial" pitchFamily="34" charset="0"/>
              </a:rPr>
              <a:t>0.7€b</a:t>
            </a:r>
            <a:endParaRPr lang="en-GB" altLang="fr-FR" sz="900" b="1" kern="0" dirty="0">
              <a:solidFill>
                <a:srgbClr val="000000"/>
              </a:solidFill>
              <a:latin typeface="Avenir Next LT Pro"/>
              <a:ea typeface="ＭＳ Ｐゴシック" pitchFamily="34" charset="-128"/>
              <a:cs typeface="Arial" pitchFamily="34" charset="0"/>
            </a:endParaRPr>
          </a:p>
        </p:txBody>
      </p:sp>
      <p:sp>
        <p:nvSpPr>
          <p:cNvPr id="49" name="Text Box 28"/>
          <p:cNvSpPr txBox="1">
            <a:spLocks noChangeArrowheads="1"/>
          </p:cNvSpPr>
          <p:nvPr/>
        </p:nvSpPr>
        <p:spPr bwMode="auto">
          <a:xfrm>
            <a:off x="2181798" y="1225193"/>
            <a:ext cx="127501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tabLst>
                <a:tab pos="714375" algn="l"/>
              </a:tabLst>
              <a:defRPr>
                <a:solidFill>
                  <a:schemeClr val="tx1"/>
                </a:solidFill>
                <a:latin typeface="Calibri" pitchFamily="34" charset="0"/>
              </a:defRPr>
            </a:lvl1pPr>
            <a:lvl2pPr marL="742950" indent="-285750" eaLnBrk="0" hangingPunct="0">
              <a:tabLst>
                <a:tab pos="714375" algn="l"/>
              </a:tabLst>
              <a:defRPr>
                <a:solidFill>
                  <a:schemeClr val="tx1"/>
                </a:solidFill>
                <a:latin typeface="Calibri" pitchFamily="34" charset="0"/>
              </a:defRPr>
            </a:lvl2pPr>
            <a:lvl3pPr marL="1143000" indent="-228600" eaLnBrk="0" hangingPunct="0">
              <a:tabLst>
                <a:tab pos="714375" algn="l"/>
              </a:tabLst>
              <a:defRPr>
                <a:solidFill>
                  <a:schemeClr val="tx1"/>
                </a:solidFill>
                <a:latin typeface="Calibri" pitchFamily="34" charset="0"/>
              </a:defRPr>
            </a:lvl3pPr>
            <a:lvl4pPr marL="1600200" indent="-228600" eaLnBrk="0" hangingPunct="0">
              <a:tabLst>
                <a:tab pos="714375" algn="l"/>
              </a:tabLst>
              <a:defRPr>
                <a:solidFill>
                  <a:schemeClr val="tx1"/>
                </a:solidFill>
                <a:latin typeface="Calibri" pitchFamily="34" charset="0"/>
              </a:defRPr>
            </a:lvl4pPr>
            <a:lvl5pPr marL="2057400" indent="-228600" eaLnBrk="0" hangingPunct="0">
              <a:tabLst>
                <a:tab pos="714375" algn="l"/>
              </a:tabLst>
              <a:defRPr>
                <a:solidFill>
                  <a:schemeClr val="tx1"/>
                </a:solidFill>
                <a:latin typeface="Calibri" pitchFamily="34" charset="0"/>
              </a:defRPr>
            </a:lvl5pPr>
            <a:lvl6pPr marL="2514600" indent="-228600" eaLnBrk="0" fontAlgn="base" hangingPunct="0">
              <a:spcBef>
                <a:spcPct val="0"/>
              </a:spcBef>
              <a:spcAft>
                <a:spcPct val="0"/>
              </a:spcAft>
              <a:tabLst>
                <a:tab pos="714375" algn="l"/>
              </a:tabLst>
              <a:defRPr>
                <a:solidFill>
                  <a:schemeClr val="tx1"/>
                </a:solidFill>
                <a:latin typeface="Calibri" pitchFamily="34" charset="0"/>
              </a:defRPr>
            </a:lvl6pPr>
            <a:lvl7pPr marL="2971800" indent="-228600" eaLnBrk="0" fontAlgn="base" hangingPunct="0">
              <a:spcBef>
                <a:spcPct val="0"/>
              </a:spcBef>
              <a:spcAft>
                <a:spcPct val="0"/>
              </a:spcAft>
              <a:tabLst>
                <a:tab pos="714375" algn="l"/>
              </a:tabLst>
              <a:defRPr>
                <a:solidFill>
                  <a:schemeClr val="tx1"/>
                </a:solidFill>
                <a:latin typeface="Calibri" pitchFamily="34" charset="0"/>
              </a:defRPr>
            </a:lvl7pPr>
            <a:lvl8pPr marL="3429000" indent="-228600" eaLnBrk="0" fontAlgn="base" hangingPunct="0">
              <a:spcBef>
                <a:spcPct val="0"/>
              </a:spcBef>
              <a:spcAft>
                <a:spcPct val="0"/>
              </a:spcAft>
              <a:tabLst>
                <a:tab pos="714375" algn="l"/>
              </a:tabLst>
              <a:defRPr>
                <a:solidFill>
                  <a:schemeClr val="tx1"/>
                </a:solidFill>
                <a:latin typeface="Calibri" pitchFamily="34" charset="0"/>
              </a:defRPr>
            </a:lvl8pPr>
            <a:lvl9pPr marL="3886200" indent="-228600" eaLnBrk="0" fontAlgn="base" hangingPunct="0">
              <a:spcBef>
                <a:spcPct val="0"/>
              </a:spcBef>
              <a:spcAft>
                <a:spcPct val="0"/>
              </a:spcAft>
              <a:tabLst>
                <a:tab pos="714375" algn="l"/>
              </a:tabLst>
              <a:defRPr>
                <a:solidFill>
                  <a:schemeClr val="tx1"/>
                </a:solidFill>
                <a:latin typeface="Calibri" pitchFamily="34" charset="0"/>
              </a:defRPr>
            </a:lvl9pPr>
          </a:lstStyle>
          <a:p>
            <a:pPr algn="ctr" defTabSz="685783" eaLnBrk="1" hangingPunct="1">
              <a:tabLst>
                <a:tab pos="535768" algn="l"/>
              </a:tabLst>
              <a:defRPr/>
            </a:pPr>
            <a:r>
              <a:rPr lang="fr-FR" altLang="fr-FR" sz="900" b="1" kern="0" dirty="0">
                <a:solidFill>
                  <a:srgbClr val="000000"/>
                </a:solidFill>
                <a:latin typeface="Avenir Next LT Pro"/>
                <a:ea typeface="ＭＳ Ｐゴシック" pitchFamily="34" charset="-128"/>
                <a:cs typeface="Arial" pitchFamily="34" charset="0"/>
              </a:rPr>
              <a:t>6€b</a:t>
            </a:r>
            <a:endParaRPr lang="en-GB" altLang="fr-FR" sz="900" b="1" kern="0" dirty="0">
              <a:solidFill>
                <a:srgbClr val="000000"/>
              </a:solidFill>
              <a:latin typeface="Avenir Next LT Pro"/>
              <a:ea typeface="ＭＳ Ｐゴシック" pitchFamily="34" charset="-128"/>
              <a:cs typeface="Arial" pitchFamily="34" charset="0"/>
            </a:endParaRPr>
          </a:p>
        </p:txBody>
      </p:sp>
      <p:sp>
        <p:nvSpPr>
          <p:cNvPr id="50" name="Text Box 28"/>
          <p:cNvSpPr txBox="1">
            <a:spLocks noChangeArrowheads="1"/>
          </p:cNvSpPr>
          <p:nvPr/>
        </p:nvSpPr>
        <p:spPr bwMode="auto">
          <a:xfrm>
            <a:off x="2369073" y="4085938"/>
            <a:ext cx="103746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tabLst>
                <a:tab pos="714375" algn="l"/>
              </a:tabLst>
              <a:defRPr>
                <a:solidFill>
                  <a:schemeClr val="tx1"/>
                </a:solidFill>
                <a:latin typeface="Calibri" pitchFamily="34" charset="0"/>
              </a:defRPr>
            </a:lvl1pPr>
            <a:lvl2pPr marL="742950" indent="-285750" eaLnBrk="0" hangingPunct="0">
              <a:tabLst>
                <a:tab pos="714375" algn="l"/>
              </a:tabLst>
              <a:defRPr>
                <a:solidFill>
                  <a:schemeClr val="tx1"/>
                </a:solidFill>
                <a:latin typeface="Calibri" pitchFamily="34" charset="0"/>
              </a:defRPr>
            </a:lvl2pPr>
            <a:lvl3pPr marL="1143000" indent="-228600" eaLnBrk="0" hangingPunct="0">
              <a:tabLst>
                <a:tab pos="714375" algn="l"/>
              </a:tabLst>
              <a:defRPr>
                <a:solidFill>
                  <a:schemeClr val="tx1"/>
                </a:solidFill>
                <a:latin typeface="Calibri" pitchFamily="34" charset="0"/>
              </a:defRPr>
            </a:lvl3pPr>
            <a:lvl4pPr marL="1600200" indent="-228600" eaLnBrk="0" hangingPunct="0">
              <a:tabLst>
                <a:tab pos="714375" algn="l"/>
              </a:tabLst>
              <a:defRPr>
                <a:solidFill>
                  <a:schemeClr val="tx1"/>
                </a:solidFill>
                <a:latin typeface="Calibri" pitchFamily="34" charset="0"/>
              </a:defRPr>
            </a:lvl4pPr>
            <a:lvl5pPr marL="2057400" indent="-228600" eaLnBrk="0" hangingPunct="0">
              <a:tabLst>
                <a:tab pos="714375" algn="l"/>
              </a:tabLst>
              <a:defRPr>
                <a:solidFill>
                  <a:schemeClr val="tx1"/>
                </a:solidFill>
                <a:latin typeface="Calibri" pitchFamily="34" charset="0"/>
              </a:defRPr>
            </a:lvl5pPr>
            <a:lvl6pPr marL="2514600" indent="-228600" eaLnBrk="0" fontAlgn="base" hangingPunct="0">
              <a:spcBef>
                <a:spcPct val="0"/>
              </a:spcBef>
              <a:spcAft>
                <a:spcPct val="0"/>
              </a:spcAft>
              <a:tabLst>
                <a:tab pos="714375" algn="l"/>
              </a:tabLst>
              <a:defRPr>
                <a:solidFill>
                  <a:schemeClr val="tx1"/>
                </a:solidFill>
                <a:latin typeface="Calibri" pitchFamily="34" charset="0"/>
              </a:defRPr>
            </a:lvl6pPr>
            <a:lvl7pPr marL="2971800" indent="-228600" eaLnBrk="0" fontAlgn="base" hangingPunct="0">
              <a:spcBef>
                <a:spcPct val="0"/>
              </a:spcBef>
              <a:spcAft>
                <a:spcPct val="0"/>
              </a:spcAft>
              <a:tabLst>
                <a:tab pos="714375" algn="l"/>
              </a:tabLst>
              <a:defRPr>
                <a:solidFill>
                  <a:schemeClr val="tx1"/>
                </a:solidFill>
                <a:latin typeface="Calibri" pitchFamily="34" charset="0"/>
              </a:defRPr>
            </a:lvl7pPr>
            <a:lvl8pPr marL="3429000" indent="-228600" eaLnBrk="0" fontAlgn="base" hangingPunct="0">
              <a:spcBef>
                <a:spcPct val="0"/>
              </a:spcBef>
              <a:spcAft>
                <a:spcPct val="0"/>
              </a:spcAft>
              <a:tabLst>
                <a:tab pos="714375" algn="l"/>
              </a:tabLst>
              <a:defRPr>
                <a:solidFill>
                  <a:schemeClr val="tx1"/>
                </a:solidFill>
                <a:latin typeface="Calibri" pitchFamily="34" charset="0"/>
              </a:defRPr>
            </a:lvl8pPr>
            <a:lvl9pPr marL="3886200" indent="-228600" eaLnBrk="0" fontAlgn="base" hangingPunct="0">
              <a:spcBef>
                <a:spcPct val="0"/>
              </a:spcBef>
              <a:spcAft>
                <a:spcPct val="0"/>
              </a:spcAft>
              <a:tabLst>
                <a:tab pos="714375" algn="l"/>
              </a:tabLst>
              <a:defRPr>
                <a:solidFill>
                  <a:schemeClr val="tx1"/>
                </a:solidFill>
                <a:latin typeface="Calibri" pitchFamily="34" charset="0"/>
              </a:defRPr>
            </a:lvl9pPr>
          </a:lstStyle>
          <a:p>
            <a:pPr algn="ctr" defTabSz="685783" eaLnBrk="1" hangingPunct="1">
              <a:tabLst>
                <a:tab pos="535768" algn="l"/>
              </a:tabLst>
              <a:defRPr/>
            </a:pPr>
            <a:r>
              <a:rPr lang="fr-FR" altLang="fr-FR" sz="900" b="1" kern="0" dirty="0">
                <a:solidFill>
                  <a:srgbClr val="000000"/>
                </a:solidFill>
                <a:latin typeface="Avenir Next LT Pro"/>
                <a:ea typeface="ＭＳ Ｐゴシック" pitchFamily="34" charset="-128"/>
                <a:cs typeface="Arial" pitchFamily="34" charset="0"/>
              </a:rPr>
              <a:t>3.6€b</a:t>
            </a:r>
            <a:endParaRPr lang="en-GB" altLang="fr-FR" sz="900" b="1" kern="0" dirty="0">
              <a:solidFill>
                <a:srgbClr val="000000"/>
              </a:solidFill>
              <a:latin typeface="Avenir Next LT Pro"/>
              <a:ea typeface="ＭＳ Ｐゴシック" pitchFamily="34" charset="-128"/>
              <a:cs typeface="Arial" pitchFamily="34" charset="0"/>
            </a:endParaRPr>
          </a:p>
        </p:txBody>
      </p:sp>
      <p:cxnSp>
        <p:nvCxnSpPr>
          <p:cNvPr id="51" name="Straight Connector 1107"/>
          <p:cNvCxnSpPr>
            <a:cxnSpLocks/>
            <a:endCxn id="81" idx="29"/>
          </p:cNvCxnSpPr>
          <p:nvPr/>
        </p:nvCxnSpPr>
        <p:spPr>
          <a:xfrm>
            <a:off x="1385746" y="2019877"/>
            <a:ext cx="960434" cy="565146"/>
          </a:xfrm>
          <a:prstGeom prst="line">
            <a:avLst/>
          </a:prstGeom>
          <a:noFill/>
          <a:ln w="12700" cap="flat" cmpd="sng" algn="ctr">
            <a:solidFill>
              <a:srgbClr val="4D4D4D"/>
            </a:solidFill>
            <a:prstDash val="solid"/>
          </a:ln>
          <a:effectLst/>
        </p:spPr>
      </p:cxnSp>
      <p:cxnSp>
        <p:nvCxnSpPr>
          <p:cNvPr id="52" name="Straight Connector 1111"/>
          <p:cNvCxnSpPr>
            <a:stCxn id="86" idx="12"/>
          </p:cNvCxnSpPr>
          <p:nvPr/>
        </p:nvCxnSpPr>
        <p:spPr>
          <a:xfrm>
            <a:off x="3002961" y="3244135"/>
            <a:ext cx="973160" cy="421951"/>
          </a:xfrm>
          <a:prstGeom prst="line">
            <a:avLst/>
          </a:prstGeom>
          <a:noFill/>
          <a:ln w="12700" cap="flat" cmpd="sng" algn="ctr">
            <a:solidFill>
              <a:srgbClr val="4D4D4D"/>
            </a:solidFill>
            <a:prstDash val="solid"/>
          </a:ln>
          <a:effectLst/>
        </p:spPr>
      </p:cxnSp>
      <p:cxnSp>
        <p:nvCxnSpPr>
          <p:cNvPr id="53" name="Straight Connector 1115"/>
          <p:cNvCxnSpPr>
            <a:endCxn id="95" idx="19"/>
          </p:cNvCxnSpPr>
          <p:nvPr/>
        </p:nvCxnSpPr>
        <p:spPr>
          <a:xfrm>
            <a:off x="1618127" y="1175323"/>
            <a:ext cx="995346" cy="1286729"/>
          </a:xfrm>
          <a:prstGeom prst="line">
            <a:avLst/>
          </a:prstGeom>
          <a:noFill/>
          <a:ln w="12700" cap="flat" cmpd="sng" algn="ctr">
            <a:solidFill>
              <a:srgbClr val="4D4D4D"/>
            </a:solidFill>
            <a:prstDash val="solid"/>
          </a:ln>
          <a:effectLst/>
        </p:spPr>
      </p:cxnSp>
      <p:cxnSp>
        <p:nvCxnSpPr>
          <p:cNvPr id="54" name="Straight Connector 1123"/>
          <p:cNvCxnSpPr>
            <a:endCxn id="58" idx="1"/>
          </p:cNvCxnSpPr>
          <p:nvPr/>
        </p:nvCxnSpPr>
        <p:spPr>
          <a:xfrm>
            <a:off x="1815811" y="3521471"/>
            <a:ext cx="337139" cy="435317"/>
          </a:xfrm>
          <a:prstGeom prst="line">
            <a:avLst/>
          </a:prstGeom>
          <a:noFill/>
          <a:ln w="12700" cap="flat" cmpd="sng" algn="ctr">
            <a:solidFill>
              <a:srgbClr val="4D4D4D"/>
            </a:solidFill>
            <a:prstDash val="solid"/>
          </a:ln>
          <a:effectLst/>
        </p:spPr>
      </p:cxnSp>
      <p:cxnSp>
        <p:nvCxnSpPr>
          <p:cNvPr id="55" name="Straight Connector 1127"/>
          <p:cNvCxnSpPr>
            <a:stCxn id="96" idx="15"/>
          </p:cNvCxnSpPr>
          <p:nvPr/>
        </p:nvCxnSpPr>
        <p:spPr>
          <a:xfrm flipH="1">
            <a:off x="1172891" y="3105614"/>
            <a:ext cx="397798" cy="188915"/>
          </a:xfrm>
          <a:prstGeom prst="line">
            <a:avLst/>
          </a:prstGeom>
          <a:noFill/>
          <a:ln w="12700" cap="flat" cmpd="sng" algn="ctr">
            <a:solidFill>
              <a:srgbClr val="4D4D4D"/>
            </a:solidFill>
            <a:prstDash val="solid"/>
          </a:ln>
          <a:effectLst/>
        </p:spPr>
      </p:cxnSp>
      <p:pic>
        <p:nvPicPr>
          <p:cNvPr id="57" name="Image 52"/>
          <p:cNvPicPr>
            <a:picLocks noChangeAspect="1"/>
          </p:cNvPicPr>
          <p:nvPr/>
        </p:nvPicPr>
        <p:blipFill rotWithShape="1">
          <a:blip r:embed="rId5">
            <a:clrChange>
              <a:clrFrom>
                <a:srgbClr val="FFFFFF"/>
              </a:clrFrom>
              <a:clrTo>
                <a:srgbClr val="FFFFFF">
                  <a:alpha val="0"/>
                </a:srgbClr>
              </a:clrTo>
            </a:clrChange>
          </a:blip>
          <a:srcRect r="61279" b="51050"/>
          <a:stretch/>
        </p:blipFill>
        <p:spPr>
          <a:xfrm>
            <a:off x="563352" y="1650433"/>
            <a:ext cx="1018486" cy="368114"/>
          </a:xfrm>
          <a:prstGeom prst="rect">
            <a:avLst/>
          </a:prstGeom>
        </p:spPr>
      </p:pic>
      <p:pic>
        <p:nvPicPr>
          <p:cNvPr id="58"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52949" y="3776295"/>
            <a:ext cx="985389" cy="36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6"/>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74638" y="3318906"/>
            <a:ext cx="821769" cy="233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6"/>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2276592" y="1059312"/>
            <a:ext cx="1090106" cy="186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49979" y="3642754"/>
            <a:ext cx="801993" cy="1965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2" name="Straight Connector 1127"/>
          <p:cNvCxnSpPr/>
          <p:nvPr/>
        </p:nvCxnSpPr>
        <p:spPr>
          <a:xfrm flipH="1" flipV="1">
            <a:off x="1251952" y="2657015"/>
            <a:ext cx="557552" cy="288287"/>
          </a:xfrm>
          <a:prstGeom prst="line">
            <a:avLst/>
          </a:prstGeom>
          <a:noFill/>
          <a:ln w="12700" cap="flat" cmpd="sng" algn="ctr">
            <a:solidFill>
              <a:srgbClr val="4D4D4D"/>
            </a:solidFill>
            <a:prstDash val="solid"/>
          </a:ln>
          <a:effectLst/>
        </p:spPr>
      </p:cxnSp>
      <p:grpSp>
        <p:nvGrpSpPr>
          <p:cNvPr id="63" name="Groupe 59"/>
          <p:cNvGrpSpPr/>
          <p:nvPr/>
        </p:nvGrpSpPr>
        <p:grpSpPr>
          <a:xfrm>
            <a:off x="1117554" y="1125029"/>
            <a:ext cx="4609282" cy="3786982"/>
            <a:chOff x="1051460" y="1206125"/>
            <a:chExt cx="5086974" cy="4888048"/>
          </a:xfrm>
        </p:grpSpPr>
        <p:grpSp>
          <p:nvGrpSpPr>
            <p:cNvPr id="64" name="Group 1"/>
            <p:cNvGrpSpPr>
              <a:grpSpLocks noChangeAspect="1"/>
            </p:cNvGrpSpPr>
            <p:nvPr>
              <p:custDataLst>
                <p:tags r:id="rId1"/>
              </p:custDataLst>
            </p:nvPr>
          </p:nvGrpSpPr>
          <p:grpSpPr>
            <a:xfrm>
              <a:off x="1051460" y="4138387"/>
              <a:ext cx="3534559" cy="1955786"/>
              <a:chOff x="2328508" y="1541463"/>
              <a:chExt cx="3938048" cy="2179049"/>
            </a:xfrm>
          </p:grpSpPr>
          <p:sp>
            <p:nvSpPr>
              <p:cNvPr id="114" name="Freeform 20"/>
              <p:cNvSpPr>
                <a:spLocks noChangeAspect="1"/>
              </p:cNvSpPr>
              <p:nvPr/>
            </p:nvSpPr>
            <p:spPr bwMode="auto">
              <a:xfrm>
                <a:off x="3936531" y="1806808"/>
                <a:ext cx="918181" cy="870011"/>
              </a:xfrm>
              <a:custGeom>
                <a:avLst/>
                <a:gdLst>
                  <a:gd name="T0" fmla="*/ 532 w 1859"/>
                  <a:gd name="T1" fmla="*/ 541 h 1760"/>
                  <a:gd name="T2" fmla="*/ 242 w 1859"/>
                  <a:gd name="T3" fmla="*/ 376 h 1760"/>
                  <a:gd name="T4" fmla="*/ 207 w 1859"/>
                  <a:gd name="T5" fmla="*/ 393 h 1760"/>
                  <a:gd name="T6" fmla="*/ 175 w 1859"/>
                  <a:gd name="T7" fmla="*/ 398 h 1760"/>
                  <a:gd name="T8" fmla="*/ 81 w 1859"/>
                  <a:gd name="T9" fmla="*/ 359 h 1760"/>
                  <a:gd name="T10" fmla="*/ 0 w 1859"/>
                  <a:gd name="T11" fmla="*/ 262 h 1760"/>
                  <a:gd name="T12" fmla="*/ 22 w 1859"/>
                  <a:gd name="T13" fmla="*/ 228 h 1760"/>
                  <a:gd name="T14" fmla="*/ 18 w 1859"/>
                  <a:gd name="T15" fmla="*/ 85 h 1760"/>
                  <a:gd name="T16" fmla="*/ 108 w 1859"/>
                  <a:gd name="T17" fmla="*/ 0 h 1760"/>
                  <a:gd name="T18" fmla="*/ 229 w 1859"/>
                  <a:gd name="T19" fmla="*/ 28 h 1760"/>
                  <a:gd name="T20" fmla="*/ 383 w 1859"/>
                  <a:gd name="T21" fmla="*/ 119 h 1760"/>
                  <a:gd name="T22" fmla="*/ 396 w 1859"/>
                  <a:gd name="T23" fmla="*/ 91 h 1760"/>
                  <a:gd name="T24" fmla="*/ 378 w 1859"/>
                  <a:gd name="T25" fmla="*/ 50 h 1760"/>
                  <a:gd name="T26" fmla="*/ 463 w 1859"/>
                  <a:gd name="T27" fmla="*/ 5 h 1760"/>
                  <a:gd name="T28" fmla="*/ 563 w 1859"/>
                  <a:gd name="T29" fmla="*/ 50 h 1760"/>
                  <a:gd name="T30" fmla="*/ 571 w 1859"/>
                  <a:gd name="T31" fmla="*/ 523 h 1760"/>
                  <a:gd name="T32" fmla="*/ 530 w 1859"/>
                  <a:gd name="T33" fmla="*/ 523 h 1760"/>
                  <a:gd name="T34" fmla="*/ 532 w 1859"/>
                  <a:gd name="T35" fmla="*/ 541 h 17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59" h="1760">
                    <a:moveTo>
                      <a:pt x="1732" y="1760"/>
                    </a:moveTo>
                    <a:lnTo>
                      <a:pt x="789" y="1223"/>
                    </a:lnTo>
                    <a:lnTo>
                      <a:pt x="674" y="1277"/>
                    </a:lnTo>
                    <a:lnTo>
                      <a:pt x="571" y="1296"/>
                    </a:lnTo>
                    <a:lnTo>
                      <a:pt x="264" y="1167"/>
                    </a:lnTo>
                    <a:lnTo>
                      <a:pt x="0" y="851"/>
                    </a:lnTo>
                    <a:lnTo>
                      <a:pt x="73" y="741"/>
                    </a:lnTo>
                    <a:lnTo>
                      <a:pt x="57" y="277"/>
                    </a:lnTo>
                    <a:lnTo>
                      <a:pt x="353" y="0"/>
                    </a:lnTo>
                    <a:lnTo>
                      <a:pt x="746" y="91"/>
                    </a:lnTo>
                    <a:lnTo>
                      <a:pt x="1247" y="388"/>
                    </a:lnTo>
                    <a:lnTo>
                      <a:pt x="1290" y="296"/>
                    </a:lnTo>
                    <a:lnTo>
                      <a:pt x="1231" y="164"/>
                    </a:lnTo>
                    <a:lnTo>
                      <a:pt x="1509" y="16"/>
                    </a:lnTo>
                    <a:lnTo>
                      <a:pt x="1832" y="164"/>
                    </a:lnTo>
                    <a:lnTo>
                      <a:pt x="1859" y="1703"/>
                    </a:lnTo>
                    <a:lnTo>
                      <a:pt x="1727" y="1703"/>
                    </a:lnTo>
                    <a:lnTo>
                      <a:pt x="1732" y="1760"/>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15" name="Freeform 8"/>
              <p:cNvSpPr>
                <a:spLocks noChangeAspect="1"/>
              </p:cNvSpPr>
              <p:nvPr/>
            </p:nvSpPr>
            <p:spPr bwMode="auto">
              <a:xfrm>
                <a:off x="5885455" y="3109413"/>
                <a:ext cx="99697" cy="125436"/>
              </a:xfrm>
              <a:custGeom>
                <a:avLst/>
                <a:gdLst>
                  <a:gd name="T0" fmla="*/ 49 w 202"/>
                  <a:gd name="T1" fmla="*/ 0 h 256"/>
                  <a:gd name="T2" fmla="*/ 0 w 202"/>
                  <a:gd name="T3" fmla="*/ 51 h 256"/>
                  <a:gd name="T4" fmla="*/ 13 w 202"/>
                  <a:gd name="T5" fmla="*/ 78 h 256"/>
                  <a:gd name="T6" fmla="*/ 31 w 202"/>
                  <a:gd name="T7" fmla="*/ 62 h 256"/>
                  <a:gd name="T8" fmla="*/ 62 w 202"/>
                  <a:gd name="T9" fmla="*/ 39 h 256"/>
                  <a:gd name="T10" fmla="*/ 49 w 202"/>
                  <a:gd name="T11" fmla="*/ 0 h 2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2" h="256">
                    <a:moveTo>
                      <a:pt x="159" y="0"/>
                    </a:moveTo>
                    <a:lnTo>
                      <a:pt x="0" y="167"/>
                    </a:lnTo>
                    <a:lnTo>
                      <a:pt x="43" y="256"/>
                    </a:lnTo>
                    <a:lnTo>
                      <a:pt x="100" y="202"/>
                    </a:lnTo>
                    <a:lnTo>
                      <a:pt x="202" y="127"/>
                    </a:lnTo>
                    <a:lnTo>
                      <a:pt x="159" y="0"/>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16" name="Freeform 18"/>
              <p:cNvSpPr>
                <a:spLocks noChangeAspect="1"/>
              </p:cNvSpPr>
              <p:nvPr/>
            </p:nvSpPr>
            <p:spPr bwMode="auto">
              <a:xfrm>
                <a:off x="3878642" y="1541463"/>
                <a:ext cx="231555" cy="402038"/>
              </a:xfrm>
              <a:custGeom>
                <a:avLst/>
                <a:gdLst>
                  <a:gd name="T0" fmla="*/ 45 w 468"/>
                  <a:gd name="T1" fmla="*/ 6 h 814"/>
                  <a:gd name="T2" fmla="*/ 31 w 468"/>
                  <a:gd name="T3" fmla="*/ 108 h 814"/>
                  <a:gd name="T4" fmla="*/ 0 w 468"/>
                  <a:gd name="T5" fmla="*/ 119 h 814"/>
                  <a:gd name="T6" fmla="*/ 4 w 468"/>
                  <a:gd name="T7" fmla="*/ 160 h 814"/>
                  <a:gd name="T8" fmla="*/ 54 w 468"/>
                  <a:gd name="T9" fmla="*/ 250 h 814"/>
                  <a:gd name="T10" fmla="*/ 144 w 468"/>
                  <a:gd name="T11" fmla="*/ 165 h 814"/>
                  <a:gd name="T12" fmla="*/ 93 w 468"/>
                  <a:gd name="T13" fmla="*/ 130 h 814"/>
                  <a:gd name="T14" fmla="*/ 101 w 468"/>
                  <a:gd name="T15" fmla="*/ 108 h 814"/>
                  <a:gd name="T16" fmla="*/ 125 w 468"/>
                  <a:gd name="T17" fmla="*/ 105 h 814"/>
                  <a:gd name="T18" fmla="*/ 137 w 468"/>
                  <a:gd name="T19" fmla="*/ 77 h 814"/>
                  <a:gd name="T20" fmla="*/ 120 w 468"/>
                  <a:gd name="T21" fmla="*/ 45 h 814"/>
                  <a:gd name="T22" fmla="*/ 118 w 468"/>
                  <a:gd name="T23" fmla="*/ 6 h 814"/>
                  <a:gd name="T24" fmla="*/ 70 w 468"/>
                  <a:gd name="T25" fmla="*/ 0 h 814"/>
                  <a:gd name="T26" fmla="*/ 45 w 468"/>
                  <a:gd name="T27" fmla="*/ 6 h 8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8" h="814">
                    <a:moveTo>
                      <a:pt x="145" y="18"/>
                    </a:moveTo>
                    <a:lnTo>
                      <a:pt x="102" y="353"/>
                    </a:lnTo>
                    <a:lnTo>
                      <a:pt x="0" y="388"/>
                    </a:lnTo>
                    <a:lnTo>
                      <a:pt x="13" y="520"/>
                    </a:lnTo>
                    <a:lnTo>
                      <a:pt x="175" y="814"/>
                    </a:lnTo>
                    <a:lnTo>
                      <a:pt x="468" y="536"/>
                    </a:lnTo>
                    <a:lnTo>
                      <a:pt x="301" y="423"/>
                    </a:lnTo>
                    <a:lnTo>
                      <a:pt x="328" y="353"/>
                    </a:lnTo>
                    <a:lnTo>
                      <a:pt x="406" y="342"/>
                    </a:lnTo>
                    <a:lnTo>
                      <a:pt x="444" y="250"/>
                    </a:lnTo>
                    <a:lnTo>
                      <a:pt x="390" y="148"/>
                    </a:lnTo>
                    <a:lnTo>
                      <a:pt x="385" y="18"/>
                    </a:lnTo>
                    <a:lnTo>
                      <a:pt x="229" y="0"/>
                    </a:lnTo>
                    <a:lnTo>
                      <a:pt x="145" y="18"/>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17" name="Freeform 19"/>
              <p:cNvSpPr>
                <a:spLocks noChangeAspect="1"/>
              </p:cNvSpPr>
              <p:nvPr/>
            </p:nvSpPr>
            <p:spPr bwMode="auto">
              <a:xfrm>
                <a:off x="2328508" y="2054464"/>
                <a:ext cx="807227" cy="833024"/>
              </a:xfrm>
              <a:custGeom>
                <a:avLst/>
                <a:gdLst>
                  <a:gd name="T0" fmla="*/ 382 w 1637"/>
                  <a:gd name="T1" fmla="*/ 0 h 1685"/>
                  <a:gd name="T2" fmla="*/ 502 w 1637"/>
                  <a:gd name="T3" fmla="*/ 115 h 1685"/>
                  <a:gd name="T4" fmla="*/ 410 w 1637"/>
                  <a:gd name="T5" fmla="*/ 114 h 1685"/>
                  <a:gd name="T6" fmla="*/ 410 w 1637"/>
                  <a:gd name="T7" fmla="*/ 491 h 1685"/>
                  <a:gd name="T8" fmla="*/ 175 w 1637"/>
                  <a:gd name="T9" fmla="*/ 496 h 1685"/>
                  <a:gd name="T10" fmla="*/ 175 w 1637"/>
                  <a:gd name="T11" fmla="*/ 518 h 1685"/>
                  <a:gd name="T12" fmla="*/ 149 w 1637"/>
                  <a:gd name="T13" fmla="*/ 518 h 1685"/>
                  <a:gd name="T14" fmla="*/ 112 w 1637"/>
                  <a:gd name="T15" fmla="*/ 450 h 1685"/>
                  <a:gd name="T16" fmla="*/ 59 w 1637"/>
                  <a:gd name="T17" fmla="*/ 416 h 1685"/>
                  <a:gd name="T18" fmla="*/ 0 w 1637"/>
                  <a:gd name="T19" fmla="*/ 444 h 1685"/>
                  <a:gd name="T20" fmla="*/ 36 w 1637"/>
                  <a:gd name="T21" fmla="*/ 376 h 1685"/>
                  <a:gd name="T22" fmla="*/ 27 w 1637"/>
                  <a:gd name="T23" fmla="*/ 234 h 1685"/>
                  <a:gd name="T24" fmla="*/ 166 w 1637"/>
                  <a:gd name="T25" fmla="*/ 234 h 1685"/>
                  <a:gd name="T26" fmla="*/ 171 w 1637"/>
                  <a:gd name="T27" fmla="*/ 165 h 1685"/>
                  <a:gd name="T28" fmla="*/ 220 w 1637"/>
                  <a:gd name="T29" fmla="*/ 154 h 1685"/>
                  <a:gd name="T30" fmla="*/ 247 w 1637"/>
                  <a:gd name="T31" fmla="*/ 57 h 1685"/>
                  <a:gd name="T32" fmla="*/ 364 w 1637"/>
                  <a:gd name="T33" fmla="*/ 62 h 1685"/>
                  <a:gd name="T34" fmla="*/ 382 w 1637"/>
                  <a:gd name="T35" fmla="*/ 0 h 16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37" h="1685">
                    <a:moveTo>
                      <a:pt x="1247" y="0"/>
                    </a:moveTo>
                    <a:lnTo>
                      <a:pt x="1637" y="375"/>
                    </a:lnTo>
                    <a:lnTo>
                      <a:pt x="1336" y="370"/>
                    </a:lnTo>
                    <a:lnTo>
                      <a:pt x="1336" y="1596"/>
                    </a:lnTo>
                    <a:lnTo>
                      <a:pt x="571" y="1612"/>
                    </a:lnTo>
                    <a:lnTo>
                      <a:pt x="571" y="1685"/>
                    </a:lnTo>
                    <a:lnTo>
                      <a:pt x="485" y="1685"/>
                    </a:lnTo>
                    <a:lnTo>
                      <a:pt x="366" y="1464"/>
                    </a:lnTo>
                    <a:lnTo>
                      <a:pt x="191" y="1353"/>
                    </a:lnTo>
                    <a:lnTo>
                      <a:pt x="0" y="1445"/>
                    </a:lnTo>
                    <a:lnTo>
                      <a:pt x="118" y="1224"/>
                    </a:lnTo>
                    <a:lnTo>
                      <a:pt x="89" y="760"/>
                    </a:lnTo>
                    <a:lnTo>
                      <a:pt x="541" y="760"/>
                    </a:lnTo>
                    <a:lnTo>
                      <a:pt x="557" y="537"/>
                    </a:lnTo>
                    <a:lnTo>
                      <a:pt x="719" y="502"/>
                    </a:lnTo>
                    <a:lnTo>
                      <a:pt x="805" y="186"/>
                    </a:lnTo>
                    <a:lnTo>
                      <a:pt x="1188" y="202"/>
                    </a:lnTo>
                    <a:lnTo>
                      <a:pt x="1247" y="0"/>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18" name="Freeform 21"/>
              <p:cNvSpPr>
                <a:spLocks noChangeAspect="1"/>
              </p:cNvSpPr>
              <p:nvPr/>
            </p:nvSpPr>
            <p:spPr bwMode="auto">
              <a:xfrm>
                <a:off x="4841848" y="1890432"/>
                <a:ext cx="648033" cy="603058"/>
              </a:xfrm>
              <a:custGeom>
                <a:avLst/>
                <a:gdLst>
                  <a:gd name="T0" fmla="*/ 0 w 1314"/>
                  <a:gd name="T1" fmla="*/ 0 h 1221"/>
                  <a:gd name="T2" fmla="*/ 8 w 1314"/>
                  <a:gd name="T3" fmla="*/ 375 h 1221"/>
                  <a:gd name="T4" fmla="*/ 345 w 1314"/>
                  <a:gd name="T5" fmla="*/ 375 h 1221"/>
                  <a:gd name="T6" fmla="*/ 403 w 1314"/>
                  <a:gd name="T7" fmla="*/ 300 h 1221"/>
                  <a:gd name="T8" fmla="*/ 268 w 1314"/>
                  <a:gd name="T9" fmla="*/ 91 h 1221"/>
                  <a:gd name="T10" fmla="*/ 273 w 1314"/>
                  <a:gd name="T11" fmla="*/ 79 h 1221"/>
                  <a:gd name="T12" fmla="*/ 327 w 1314"/>
                  <a:gd name="T13" fmla="*/ 147 h 1221"/>
                  <a:gd name="T14" fmla="*/ 345 w 1314"/>
                  <a:gd name="T15" fmla="*/ 74 h 1221"/>
                  <a:gd name="T16" fmla="*/ 305 w 1314"/>
                  <a:gd name="T17" fmla="*/ 11 h 1221"/>
                  <a:gd name="T18" fmla="*/ 178 w 1314"/>
                  <a:gd name="T19" fmla="*/ 17 h 1221"/>
                  <a:gd name="T20" fmla="*/ 138 w 1314"/>
                  <a:gd name="T21" fmla="*/ 34 h 1221"/>
                  <a:gd name="T22" fmla="*/ 57 w 1314"/>
                  <a:gd name="T23" fmla="*/ 6 h 1221"/>
                  <a:gd name="T24" fmla="*/ 0 w 1314"/>
                  <a:gd name="T25" fmla="*/ 0 h 12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4" h="1221">
                    <a:moveTo>
                      <a:pt x="0" y="0"/>
                    </a:moveTo>
                    <a:lnTo>
                      <a:pt x="27" y="1221"/>
                    </a:lnTo>
                    <a:lnTo>
                      <a:pt x="1126" y="1221"/>
                    </a:lnTo>
                    <a:lnTo>
                      <a:pt x="1314" y="978"/>
                    </a:lnTo>
                    <a:lnTo>
                      <a:pt x="875" y="296"/>
                    </a:lnTo>
                    <a:lnTo>
                      <a:pt x="891" y="258"/>
                    </a:lnTo>
                    <a:lnTo>
                      <a:pt x="1066" y="480"/>
                    </a:lnTo>
                    <a:lnTo>
                      <a:pt x="1126" y="240"/>
                    </a:lnTo>
                    <a:lnTo>
                      <a:pt x="994" y="37"/>
                    </a:lnTo>
                    <a:lnTo>
                      <a:pt x="582" y="54"/>
                    </a:lnTo>
                    <a:lnTo>
                      <a:pt x="450" y="110"/>
                    </a:lnTo>
                    <a:lnTo>
                      <a:pt x="186" y="19"/>
                    </a:lnTo>
                    <a:lnTo>
                      <a:pt x="0" y="0"/>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19" name="Freeform 22"/>
              <p:cNvSpPr>
                <a:spLocks noChangeAspect="1"/>
              </p:cNvSpPr>
              <p:nvPr/>
            </p:nvSpPr>
            <p:spPr bwMode="auto">
              <a:xfrm>
                <a:off x="2942773" y="1551112"/>
                <a:ext cx="1122400" cy="1096761"/>
              </a:xfrm>
              <a:custGeom>
                <a:avLst/>
                <a:gdLst>
                  <a:gd name="T0" fmla="*/ 292 w 2270"/>
                  <a:gd name="T1" fmla="*/ 170 h 2218"/>
                  <a:gd name="T2" fmla="*/ 0 w 2270"/>
                  <a:gd name="T3" fmla="*/ 312 h 2218"/>
                  <a:gd name="T4" fmla="*/ 383 w 2270"/>
                  <a:gd name="T5" fmla="*/ 682 h 2218"/>
                  <a:gd name="T6" fmla="*/ 455 w 2270"/>
                  <a:gd name="T7" fmla="*/ 682 h 2218"/>
                  <a:gd name="T8" fmla="*/ 698 w 2270"/>
                  <a:gd name="T9" fmla="*/ 518 h 2218"/>
                  <a:gd name="T10" fmla="*/ 617 w 2270"/>
                  <a:gd name="T11" fmla="*/ 421 h 2218"/>
                  <a:gd name="T12" fmla="*/ 639 w 2270"/>
                  <a:gd name="T13" fmla="*/ 387 h 2218"/>
                  <a:gd name="T14" fmla="*/ 634 w 2270"/>
                  <a:gd name="T15" fmla="*/ 244 h 2218"/>
                  <a:gd name="T16" fmla="*/ 585 w 2270"/>
                  <a:gd name="T17" fmla="*/ 153 h 2218"/>
                  <a:gd name="T18" fmla="*/ 581 w 2270"/>
                  <a:gd name="T19" fmla="*/ 113 h 2218"/>
                  <a:gd name="T20" fmla="*/ 612 w 2270"/>
                  <a:gd name="T21" fmla="*/ 102 h 2218"/>
                  <a:gd name="T22" fmla="*/ 626 w 2270"/>
                  <a:gd name="T23" fmla="*/ 0 h 2218"/>
                  <a:gd name="T24" fmla="*/ 391 w 2270"/>
                  <a:gd name="T25" fmla="*/ 0 h 2218"/>
                  <a:gd name="T26" fmla="*/ 292 w 2270"/>
                  <a:gd name="T27" fmla="*/ 51 h 2218"/>
                  <a:gd name="T28" fmla="*/ 279 w 2270"/>
                  <a:gd name="T29" fmla="*/ 108 h 2218"/>
                  <a:gd name="T30" fmla="*/ 292 w 2270"/>
                  <a:gd name="T31" fmla="*/ 170 h 22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70" h="2218">
                    <a:moveTo>
                      <a:pt x="951" y="553"/>
                    </a:moveTo>
                    <a:lnTo>
                      <a:pt x="0" y="1016"/>
                    </a:lnTo>
                    <a:lnTo>
                      <a:pt x="1244" y="2218"/>
                    </a:lnTo>
                    <a:lnTo>
                      <a:pt x="1479" y="2218"/>
                    </a:lnTo>
                    <a:lnTo>
                      <a:pt x="2270" y="1685"/>
                    </a:lnTo>
                    <a:lnTo>
                      <a:pt x="2007" y="1369"/>
                    </a:lnTo>
                    <a:lnTo>
                      <a:pt x="2079" y="1259"/>
                    </a:lnTo>
                    <a:lnTo>
                      <a:pt x="2063" y="793"/>
                    </a:lnTo>
                    <a:lnTo>
                      <a:pt x="1904" y="499"/>
                    </a:lnTo>
                    <a:lnTo>
                      <a:pt x="1888" y="367"/>
                    </a:lnTo>
                    <a:lnTo>
                      <a:pt x="1990" y="332"/>
                    </a:lnTo>
                    <a:lnTo>
                      <a:pt x="2036" y="0"/>
                    </a:lnTo>
                    <a:lnTo>
                      <a:pt x="1271" y="0"/>
                    </a:lnTo>
                    <a:lnTo>
                      <a:pt x="951" y="165"/>
                    </a:lnTo>
                    <a:lnTo>
                      <a:pt x="908" y="350"/>
                    </a:lnTo>
                    <a:lnTo>
                      <a:pt x="951" y="553"/>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20" name="Freeform 23"/>
              <p:cNvSpPr>
                <a:spLocks noChangeAspect="1"/>
              </p:cNvSpPr>
              <p:nvPr/>
            </p:nvSpPr>
            <p:spPr bwMode="auto">
              <a:xfrm>
                <a:off x="2682273" y="1560761"/>
                <a:ext cx="731650" cy="492095"/>
              </a:xfrm>
              <a:custGeom>
                <a:avLst/>
                <a:gdLst>
                  <a:gd name="T0" fmla="*/ 162 w 1479"/>
                  <a:gd name="T1" fmla="*/ 306 h 998"/>
                  <a:gd name="T2" fmla="*/ 455 w 1479"/>
                  <a:gd name="T3" fmla="*/ 165 h 998"/>
                  <a:gd name="T4" fmla="*/ 442 w 1479"/>
                  <a:gd name="T5" fmla="*/ 102 h 998"/>
                  <a:gd name="T6" fmla="*/ 455 w 1479"/>
                  <a:gd name="T7" fmla="*/ 46 h 998"/>
                  <a:gd name="T8" fmla="*/ 316 w 1479"/>
                  <a:gd name="T9" fmla="*/ 0 h 998"/>
                  <a:gd name="T10" fmla="*/ 283 w 1479"/>
                  <a:gd name="T11" fmla="*/ 56 h 998"/>
                  <a:gd name="T12" fmla="*/ 189 w 1479"/>
                  <a:gd name="T13" fmla="*/ 102 h 998"/>
                  <a:gd name="T14" fmla="*/ 144 w 1479"/>
                  <a:gd name="T15" fmla="*/ 141 h 998"/>
                  <a:gd name="T16" fmla="*/ 131 w 1479"/>
                  <a:gd name="T17" fmla="*/ 204 h 998"/>
                  <a:gd name="T18" fmla="*/ 0 w 1479"/>
                  <a:gd name="T19" fmla="*/ 289 h 998"/>
                  <a:gd name="T20" fmla="*/ 162 w 1479"/>
                  <a:gd name="T21" fmla="*/ 306 h 9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9" h="998">
                    <a:moveTo>
                      <a:pt x="528" y="998"/>
                    </a:moveTo>
                    <a:lnTo>
                      <a:pt x="1479" y="537"/>
                    </a:lnTo>
                    <a:lnTo>
                      <a:pt x="1436" y="332"/>
                    </a:lnTo>
                    <a:lnTo>
                      <a:pt x="1479" y="149"/>
                    </a:lnTo>
                    <a:lnTo>
                      <a:pt x="1026" y="0"/>
                    </a:lnTo>
                    <a:lnTo>
                      <a:pt x="921" y="184"/>
                    </a:lnTo>
                    <a:lnTo>
                      <a:pt x="614" y="332"/>
                    </a:lnTo>
                    <a:lnTo>
                      <a:pt x="469" y="461"/>
                    </a:lnTo>
                    <a:lnTo>
                      <a:pt x="426" y="666"/>
                    </a:lnTo>
                    <a:lnTo>
                      <a:pt x="0" y="944"/>
                    </a:lnTo>
                    <a:lnTo>
                      <a:pt x="528" y="998"/>
                    </a:lnTo>
                    <a:close/>
                  </a:path>
                </a:pathLst>
              </a:custGeom>
              <a:pattFill prst="wdDnDiag">
                <a:fgClr>
                  <a:srgbClr val="1D8C9B"/>
                </a:fgClr>
                <a:bgClr>
                  <a:srgbClr val="DCDCDC"/>
                </a:bgClr>
              </a:patt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21" name="Freeform 24"/>
              <p:cNvSpPr>
                <a:spLocks noChangeAspect="1"/>
              </p:cNvSpPr>
              <p:nvPr/>
            </p:nvSpPr>
            <p:spPr bwMode="auto">
              <a:xfrm>
                <a:off x="2371925" y="2027125"/>
                <a:ext cx="570848" cy="402038"/>
              </a:xfrm>
              <a:custGeom>
                <a:avLst/>
                <a:gdLst>
                  <a:gd name="T0" fmla="*/ 193 w 1155"/>
                  <a:gd name="T1" fmla="*/ 0 h 812"/>
                  <a:gd name="T2" fmla="*/ 355 w 1155"/>
                  <a:gd name="T3" fmla="*/ 17 h 812"/>
                  <a:gd name="T4" fmla="*/ 338 w 1155"/>
                  <a:gd name="T5" fmla="*/ 80 h 812"/>
                  <a:gd name="T6" fmla="*/ 219 w 1155"/>
                  <a:gd name="T7" fmla="*/ 74 h 812"/>
                  <a:gd name="T8" fmla="*/ 193 w 1155"/>
                  <a:gd name="T9" fmla="*/ 171 h 812"/>
                  <a:gd name="T10" fmla="*/ 143 w 1155"/>
                  <a:gd name="T11" fmla="*/ 182 h 812"/>
                  <a:gd name="T12" fmla="*/ 139 w 1155"/>
                  <a:gd name="T13" fmla="*/ 250 h 812"/>
                  <a:gd name="T14" fmla="*/ 0 w 1155"/>
                  <a:gd name="T15" fmla="*/ 250 h 812"/>
                  <a:gd name="T16" fmla="*/ 13 w 1155"/>
                  <a:gd name="T17" fmla="*/ 188 h 812"/>
                  <a:gd name="T18" fmla="*/ 193 w 1155"/>
                  <a:gd name="T19" fmla="*/ 0 h 8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5" h="812">
                    <a:moveTo>
                      <a:pt x="627" y="0"/>
                    </a:moveTo>
                    <a:lnTo>
                      <a:pt x="1155" y="54"/>
                    </a:lnTo>
                    <a:lnTo>
                      <a:pt x="1099" y="259"/>
                    </a:lnTo>
                    <a:lnTo>
                      <a:pt x="713" y="240"/>
                    </a:lnTo>
                    <a:lnTo>
                      <a:pt x="627" y="556"/>
                    </a:lnTo>
                    <a:lnTo>
                      <a:pt x="466" y="591"/>
                    </a:lnTo>
                    <a:lnTo>
                      <a:pt x="452" y="812"/>
                    </a:lnTo>
                    <a:lnTo>
                      <a:pt x="0" y="812"/>
                    </a:lnTo>
                    <a:lnTo>
                      <a:pt x="43" y="612"/>
                    </a:lnTo>
                    <a:lnTo>
                      <a:pt x="627" y="0"/>
                    </a:lnTo>
                    <a:close/>
                  </a:path>
                </a:pathLst>
              </a:custGeom>
              <a:pattFill prst="wdDnDiag">
                <a:fgClr>
                  <a:srgbClr val="1D8C9B"/>
                </a:fgClr>
                <a:bgClr>
                  <a:srgbClr val="DCDCDC"/>
                </a:bgClr>
              </a:patt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22" name="Freeform 25"/>
              <p:cNvSpPr>
                <a:spLocks noChangeAspect="1"/>
              </p:cNvSpPr>
              <p:nvPr/>
            </p:nvSpPr>
            <p:spPr bwMode="auto">
              <a:xfrm>
                <a:off x="2568104" y="2237794"/>
                <a:ext cx="1035567" cy="934337"/>
              </a:xfrm>
              <a:custGeom>
                <a:avLst/>
                <a:gdLst>
                  <a:gd name="T0" fmla="*/ 617 w 2095"/>
                  <a:gd name="T1" fmla="*/ 256 h 1909"/>
                  <a:gd name="T2" fmla="*/ 356 w 2095"/>
                  <a:gd name="T3" fmla="*/ 2 h 1909"/>
                  <a:gd name="T4" fmla="*/ 261 w 2095"/>
                  <a:gd name="T5" fmla="*/ 0 h 1909"/>
                  <a:gd name="T6" fmla="*/ 261 w 2095"/>
                  <a:gd name="T7" fmla="*/ 376 h 1909"/>
                  <a:gd name="T8" fmla="*/ 26 w 2095"/>
                  <a:gd name="T9" fmla="*/ 382 h 1909"/>
                  <a:gd name="T10" fmla="*/ 26 w 2095"/>
                  <a:gd name="T11" fmla="*/ 405 h 1909"/>
                  <a:gd name="T12" fmla="*/ 0 w 2095"/>
                  <a:gd name="T13" fmla="*/ 405 h 1909"/>
                  <a:gd name="T14" fmla="*/ 4 w 2095"/>
                  <a:gd name="T15" fmla="*/ 490 h 1909"/>
                  <a:gd name="T16" fmla="*/ 30 w 2095"/>
                  <a:gd name="T17" fmla="*/ 519 h 1909"/>
                  <a:gd name="T18" fmla="*/ 98 w 2095"/>
                  <a:gd name="T19" fmla="*/ 497 h 1909"/>
                  <a:gd name="T20" fmla="*/ 140 w 2095"/>
                  <a:gd name="T21" fmla="*/ 587 h 1909"/>
                  <a:gd name="T22" fmla="*/ 180 w 2095"/>
                  <a:gd name="T23" fmla="*/ 587 h 1909"/>
                  <a:gd name="T24" fmla="*/ 234 w 2095"/>
                  <a:gd name="T25" fmla="*/ 576 h 1909"/>
                  <a:gd name="T26" fmla="*/ 283 w 2095"/>
                  <a:gd name="T27" fmla="*/ 497 h 1909"/>
                  <a:gd name="T28" fmla="*/ 387 w 2095"/>
                  <a:gd name="T29" fmla="*/ 416 h 1909"/>
                  <a:gd name="T30" fmla="*/ 599 w 2095"/>
                  <a:gd name="T31" fmla="*/ 405 h 1909"/>
                  <a:gd name="T32" fmla="*/ 636 w 2095"/>
                  <a:gd name="T33" fmla="*/ 342 h 1909"/>
                  <a:gd name="T34" fmla="*/ 644 w 2095"/>
                  <a:gd name="T35" fmla="*/ 250 h 1909"/>
                  <a:gd name="T36" fmla="*/ 617 w 2095"/>
                  <a:gd name="T37" fmla="*/ 256 h 19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95" h="1909">
                    <a:moveTo>
                      <a:pt x="2006" y="833"/>
                    </a:moveTo>
                    <a:lnTo>
                      <a:pt x="1158" y="6"/>
                    </a:lnTo>
                    <a:lnTo>
                      <a:pt x="848" y="0"/>
                    </a:lnTo>
                    <a:lnTo>
                      <a:pt x="848" y="1224"/>
                    </a:lnTo>
                    <a:lnTo>
                      <a:pt x="86" y="1243"/>
                    </a:lnTo>
                    <a:lnTo>
                      <a:pt x="86" y="1316"/>
                    </a:lnTo>
                    <a:lnTo>
                      <a:pt x="0" y="1316"/>
                    </a:lnTo>
                    <a:lnTo>
                      <a:pt x="13" y="1593"/>
                    </a:lnTo>
                    <a:lnTo>
                      <a:pt x="99" y="1688"/>
                    </a:lnTo>
                    <a:lnTo>
                      <a:pt x="320" y="1615"/>
                    </a:lnTo>
                    <a:lnTo>
                      <a:pt x="455" y="1909"/>
                    </a:lnTo>
                    <a:lnTo>
                      <a:pt x="587" y="1909"/>
                    </a:lnTo>
                    <a:lnTo>
                      <a:pt x="762" y="1874"/>
                    </a:lnTo>
                    <a:lnTo>
                      <a:pt x="921" y="1615"/>
                    </a:lnTo>
                    <a:lnTo>
                      <a:pt x="1260" y="1353"/>
                    </a:lnTo>
                    <a:lnTo>
                      <a:pt x="1947" y="1316"/>
                    </a:lnTo>
                    <a:lnTo>
                      <a:pt x="2068" y="1113"/>
                    </a:lnTo>
                    <a:lnTo>
                      <a:pt x="2095" y="814"/>
                    </a:lnTo>
                    <a:lnTo>
                      <a:pt x="2006" y="833"/>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23" name="Freeform 30"/>
              <p:cNvSpPr>
                <a:spLocks noChangeAspect="1"/>
              </p:cNvSpPr>
              <p:nvPr/>
            </p:nvSpPr>
            <p:spPr bwMode="auto">
              <a:xfrm>
                <a:off x="2942773" y="2898745"/>
                <a:ext cx="511351" cy="361835"/>
              </a:xfrm>
              <a:custGeom>
                <a:avLst/>
                <a:gdLst>
                  <a:gd name="T0" fmla="*/ 0 w 1034"/>
                  <a:gd name="T1" fmla="*/ 165 h 731"/>
                  <a:gd name="T2" fmla="*/ 49 w 1034"/>
                  <a:gd name="T3" fmla="*/ 85 h 731"/>
                  <a:gd name="T4" fmla="*/ 153 w 1034"/>
                  <a:gd name="T5" fmla="*/ 5 h 731"/>
                  <a:gd name="T6" fmla="*/ 233 w 1034"/>
                  <a:gd name="T7" fmla="*/ 0 h 731"/>
                  <a:gd name="T8" fmla="*/ 233 w 1034"/>
                  <a:gd name="T9" fmla="*/ 45 h 731"/>
                  <a:gd name="T10" fmla="*/ 318 w 1034"/>
                  <a:gd name="T11" fmla="*/ 106 h 731"/>
                  <a:gd name="T12" fmla="*/ 306 w 1034"/>
                  <a:gd name="T13" fmla="*/ 123 h 731"/>
                  <a:gd name="T14" fmla="*/ 306 w 1034"/>
                  <a:gd name="T15" fmla="*/ 139 h 731"/>
                  <a:gd name="T16" fmla="*/ 269 w 1034"/>
                  <a:gd name="T17" fmla="*/ 139 h 731"/>
                  <a:gd name="T18" fmla="*/ 252 w 1034"/>
                  <a:gd name="T19" fmla="*/ 160 h 731"/>
                  <a:gd name="T20" fmla="*/ 209 w 1034"/>
                  <a:gd name="T21" fmla="*/ 160 h 731"/>
                  <a:gd name="T22" fmla="*/ 97 w 1034"/>
                  <a:gd name="T23" fmla="*/ 159 h 731"/>
                  <a:gd name="T24" fmla="*/ 102 w 1034"/>
                  <a:gd name="T25" fmla="*/ 225 h 731"/>
                  <a:gd name="T26" fmla="*/ 72 w 1034"/>
                  <a:gd name="T27" fmla="*/ 206 h 731"/>
                  <a:gd name="T28" fmla="*/ 36 w 1034"/>
                  <a:gd name="T29" fmla="*/ 215 h 731"/>
                  <a:gd name="T30" fmla="*/ 0 w 1034"/>
                  <a:gd name="T31" fmla="*/ 165 h 7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34" h="731">
                    <a:moveTo>
                      <a:pt x="0" y="537"/>
                    </a:moveTo>
                    <a:lnTo>
                      <a:pt x="159" y="275"/>
                    </a:lnTo>
                    <a:lnTo>
                      <a:pt x="498" y="16"/>
                    </a:lnTo>
                    <a:lnTo>
                      <a:pt x="759" y="0"/>
                    </a:lnTo>
                    <a:lnTo>
                      <a:pt x="759" y="146"/>
                    </a:lnTo>
                    <a:lnTo>
                      <a:pt x="1034" y="345"/>
                    </a:lnTo>
                    <a:lnTo>
                      <a:pt x="996" y="399"/>
                    </a:lnTo>
                    <a:lnTo>
                      <a:pt x="996" y="450"/>
                    </a:lnTo>
                    <a:lnTo>
                      <a:pt x="875" y="450"/>
                    </a:lnTo>
                    <a:lnTo>
                      <a:pt x="819" y="520"/>
                    </a:lnTo>
                    <a:lnTo>
                      <a:pt x="681" y="520"/>
                    </a:lnTo>
                    <a:lnTo>
                      <a:pt x="315" y="515"/>
                    </a:lnTo>
                    <a:lnTo>
                      <a:pt x="331" y="731"/>
                    </a:lnTo>
                    <a:lnTo>
                      <a:pt x="234" y="669"/>
                    </a:lnTo>
                    <a:lnTo>
                      <a:pt x="118" y="698"/>
                    </a:lnTo>
                    <a:lnTo>
                      <a:pt x="0" y="537"/>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24" name="Freeform 37"/>
              <p:cNvSpPr>
                <a:spLocks noChangeAspect="1"/>
              </p:cNvSpPr>
              <p:nvPr/>
            </p:nvSpPr>
            <p:spPr bwMode="auto">
              <a:xfrm>
                <a:off x="3320658" y="2385744"/>
                <a:ext cx="990542" cy="722061"/>
              </a:xfrm>
              <a:custGeom>
                <a:avLst/>
                <a:gdLst>
                  <a:gd name="T0" fmla="*/ 464 w 2007"/>
                  <a:gd name="T1" fmla="*/ 0 h 1461"/>
                  <a:gd name="T2" fmla="*/ 221 w 2007"/>
                  <a:gd name="T3" fmla="*/ 164 h 1461"/>
                  <a:gd name="T4" fmla="*/ 175 w 2007"/>
                  <a:gd name="T5" fmla="*/ 158 h 1461"/>
                  <a:gd name="T6" fmla="*/ 166 w 2007"/>
                  <a:gd name="T7" fmla="*/ 250 h 1461"/>
                  <a:gd name="T8" fmla="*/ 130 w 2007"/>
                  <a:gd name="T9" fmla="*/ 313 h 1461"/>
                  <a:gd name="T10" fmla="*/ 0 w 2007"/>
                  <a:gd name="T11" fmla="*/ 318 h 1461"/>
                  <a:gd name="T12" fmla="*/ 0 w 2007"/>
                  <a:gd name="T13" fmla="*/ 363 h 1461"/>
                  <a:gd name="T14" fmla="*/ 107 w 2007"/>
                  <a:gd name="T15" fmla="*/ 443 h 1461"/>
                  <a:gd name="T16" fmla="*/ 126 w 2007"/>
                  <a:gd name="T17" fmla="*/ 449 h 1461"/>
                  <a:gd name="T18" fmla="*/ 130 w 2007"/>
                  <a:gd name="T19" fmla="*/ 415 h 1461"/>
                  <a:gd name="T20" fmla="*/ 184 w 2007"/>
                  <a:gd name="T21" fmla="*/ 375 h 1461"/>
                  <a:gd name="T22" fmla="*/ 355 w 2007"/>
                  <a:gd name="T23" fmla="*/ 421 h 1461"/>
                  <a:gd name="T24" fmla="*/ 419 w 2007"/>
                  <a:gd name="T25" fmla="*/ 392 h 1461"/>
                  <a:gd name="T26" fmla="*/ 455 w 2007"/>
                  <a:gd name="T27" fmla="*/ 409 h 1461"/>
                  <a:gd name="T28" fmla="*/ 531 w 2007"/>
                  <a:gd name="T29" fmla="*/ 380 h 1461"/>
                  <a:gd name="T30" fmla="*/ 531 w 2007"/>
                  <a:gd name="T31" fmla="*/ 346 h 1461"/>
                  <a:gd name="T32" fmla="*/ 594 w 2007"/>
                  <a:gd name="T33" fmla="*/ 273 h 1461"/>
                  <a:gd name="T34" fmla="*/ 603 w 2007"/>
                  <a:gd name="T35" fmla="*/ 142 h 1461"/>
                  <a:gd name="T36" fmla="*/ 616 w 2007"/>
                  <a:gd name="T37" fmla="*/ 120 h 1461"/>
                  <a:gd name="T38" fmla="*/ 590 w 2007"/>
                  <a:gd name="T39" fmla="*/ 34 h 1461"/>
                  <a:gd name="T40" fmla="*/ 558 w 2007"/>
                  <a:gd name="T41" fmla="*/ 39 h 1461"/>
                  <a:gd name="T42" fmla="*/ 464 w 2007"/>
                  <a:gd name="T43" fmla="*/ 0 h 14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007" h="1461">
                    <a:moveTo>
                      <a:pt x="1511" y="0"/>
                    </a:moveTo>
                    <a:lnTo>
                      <a:pt x="719" y="534"/>
                    </a:lnTo>
                    <a:lnTo>
                      <a:pt x="571" y="515"/>
                    </a:lnTo>
                    <a:lnTo>
                      <a:pt x="542" y="814"/>
                    </a:lnTo>
                    <a:lnTo>
                      <a:pt x="423" y="1017"/>
                    </a:lnTo>
                    <a:lnTo>
                      <a:pt x="0" y="1035"/>
                    </a:lnTo>
                    <a:lnTo>
                      <a:pt x="0" y="1181"/>
                    </a:lnTo>
                    <a:lnTo>
                      <a:pt x="350" y="1442"/>
                    </a:lnTo>
                    <a:lnTo>
                      <a:pt x="410" y="1461"/>
                    </a:lnTo>
                    <a:lnTo>
                      <a:pt x="423" y="1351"/>
                    </a:lnTo>
                    <a:lnTo>
                      <a:pt x="601" y="1219"/>
                    </a:lnTo>
                    <a:lnTo>
                      <a:pt x="1156" y="1370"/>
                    </a:lnTo>
                    <a:lnTo>
                      <a:pt x="1366" y="1275"/>
                    </a:lnTo>
                    <a:lnTo>
                      <a:pt x="1482" y="1332"/>
                    </a:lnTo>
                    <a:lnTo>
                      <a:pt x="1729" y="1238"/>
                    </a:lnTo>
                    <a:lnTo>
                      <a:pt x="1729" y="1127"/>
                    </a:lnTo>
                    <a:lnTo>
                      <a:pt x="1934" y="887"/>
                    </a:lnTo>
                    <a:lnTo>
                      <a:pt x="1964" y="461"/>
                    </a:lnTo>
                    <a:lnTo>
                      <a:pt x="2007" y="389"/>
                    </a:lnTo>
                    <a:lnTo>
                      <a:pt x="1921" y="111"/>
                    </a:lnTo>
                    <a:lnTo>
                      <a:pt x="1818" y="127"/>
                    </a:lnTo>
                    <a:lnTo>
                      <a:pt x="1511" y="0"/>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25" name="Freeform 38"/>
              <p:cNvSpPr>
                <a:spLocks noChangeAspect="1"/>
              </p:cNvSpPr>
              <p:nvPr/>
            </p:nvSpPr>
            <p:spPr bwMode="auto">
              <a:xfrm>
                <a:off x="5333903" y="2993626"/>
                <a:ext cx="932653" cy="726886"/>
              </a:xfrm>
              <a:custGeom>
                <a:avLst/>
                <a:gdLst>
                  <a:gd name="T0" fmla="*/ 191 w 581"/>
                  <a:gd name="T1" fmla="*/ 0 h 452"/>
                  <a:gd name="T2" fmla="*/ 161 w 581"/>
                  <a:gd name="T3" fmla="*/ 9 h 452"/>
                  <a:gd name="T4" fmla="*/ 140 w 581"/>
                  <a:gd name="T5" fmla="*/ 37 h 452"/>
                  <a:gd name="T6" fmla="*/ 90 w 581"/>
                  <a:gd name="T7" fmla="*/ 88 h 452"/>
                  <a:gd name="T8" fmla="*/ 85 w 581"/>
                  <a:gd name="T9" fmla="*/ 133 h 452"/>
                  <a:gd name="T10" fmla="*/ 58 w 581"/>
                  <a:gd name="T11" fmla="*/ 150 h 452"/>
                  <a:gd name="T12" fmla="*/ 49 w 581"/>
                  <a:gd name="T13" fmla="*/ 230 h 452"/>
                  <a:gd name="T14" fmla="*/ 0 w 581"/>
                  <a:gd name="T15" fmla="*/ 247 h 452"/>
                  <a:gd name="T16" fmla="*/ 113 w 581"/>
                  <a:gd name="T17" fmla="*/ 367 h 452"/>
                  <a:gd name="T18" fmla="*/ 230 w 581"/>
                  <a:gd name="T19" fmla="*/ 452 h 452"/>
                  <a:gd name="T20" fmla="*/ 478 w 581"/>
                  <a:gd name="T21" fmla="*/ 378 h 452"/>
                  <a:gd name="T22" fmla="*/ 581 w 581"/>
                  <a:gd name="T23" fmla="*/ 259 h 452"/>
                  <a:gd name="T24" fmla="*/ 420 w 581"/>
                  <a:gd name="T25" fmla="*/ 225 h 452"/>
                  <a:gd name="T26" fmla="*/ 374 w 581"/>
                  <a:gd name="T27" fmla="*/ 131 h 452"/>
                  <a:gd name="T28" fmla="*/ 356 w 581"/>
                  <a:gd name="T29" fmla="*/ 150 h 452"/>
                  <a:gd name="T30" fmla="*/ 344 w 581"/>
                  <a:gd name="T31" fmla="*/ 123 h 452"/>
                  <a:gd name="T32" fmla="*/ 369 w 581"/>
                  <a:gd name="T33" fmla="*/ 92 h 452"/>
                  <a:gd name="T34" fmla="*/ 345 w 581"/>
                  <a:gd name="T35" fmla="*/ 57 h 452"/>
                  <a:gd name="T36" fmla="*/ 276 w 581"/>
                  <a:gd name="T37" fmla="*/ 9 h 452"/>
                  <a:gd name="T38" fmla="*/ 236 w 581"/>
                  <a:gd name="T39" fmla="*/ 9 h 452"/>
                  <a:gd name="T40" fmla="*/ 230 w 581"/>
                  <a:gd name="T41" fmla="*/ 3 h 452"/>
                  <a:gd name="T42" fmla="*/ 216 w 581"/>
                  <a:gd name="T43" fmla="*/ 9 h 452"/>
                  <a:gd name="T44" fmla="*/ 191 w 581"/>
                  <a:gd name="T45" fmla="*/ 0 h 45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81" h="452">
                    <a:moveTo>
                      <a:pt x="191" y="0"/>
                    </a:moveTo>
                    <a:lnTo>
                      <a:pt x="161" y="9"/>
                    </a:lnTo>
                    <a:lnTo>
                      <a:pt x="140" y="37"/>
                    </a:lnTo>
                    <a:lnTo>
                      <a:pt x="90" y="88"/>
                    </a:lnTo>
                    <a:lnTo>
                      <a:pt x="85" y="133"/>
                    </a:lnTo>
                    <a:lnTo>
                      <a:pt x="58" y="150"/>
                    </a:lnTo>
                    <a:lnTo>
                      <a:pt x="49" y="230"/>
                    </a:lnTo>
                    <a:lnTo>
                      <a:pt x="0" y="247"/>
                    </a:lnTo>
                    <a:lnTo>
                      <a:pt x="113" y="367"/>
                    </a:lnTo>
                    <a:lnTo>
                      <a:pt x="230" y="452"/>
                    </a:lnTo>
                    <a:lnTo>
                      <a:pt x="478" y="378"/>
                    </a:lnTo>
                    <a:lnTo>
                      <a:pt x="581" y="259"/>
                    </a:lnTo>
                    <a:lnTo>
                      <a:pt x="420" y="225"/>
                    </a:lnTo>
                    <a:lnTo>
                      <a:pt x="374" y="131"/>
                    </a:lnTo>
                    <a:lnTo>
                      <a:pt x="356" y="150"/>
                    </a:lnTo>
                    <a:lnTo>
                      <a:pt x="344" y="123"/>
                    </a:lnTo>
                    <a:lnTo>
                      <a:pt x="369" y="92"/>
                    </a:lnTo>
                    <a:lnTo>
                      <a:pt x="345" y="57"/>
                    </a:lnTo>
                    <a:lnTo>
                      <a:pt x="276" y="9"/>
                    </a:lnTo>
                    <a:lnTo>
                      <a:pt x="236" y="9"/>
                    </a:lnTo>
                    <a:lnTo>
                      <a:pt x="230" y="3"/>
                    </a:lnTo>
                    <a:lnTo>
                      <a:pt x="216" y="9"/>
                    </a:lnTo>
                    <a:lnTo>
                      <a:pt x="191" y="0"/>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26" name="Freeform 39"/>
              <p:cNvSpPr>
                <a:spLocks noChangeAspect="1"/>
              </p:cNvSpPr>
              <p:nvPr/>
            </p:nvSpPr>
            <p:spPr bwMode="auto">
              <a:xfrm>
                <a:off x="4645669" y="2429164"/>
                <a:ext cx="1030743" cy="1254360"/>
              </a:xfrm>
              <a:custGeom>
                <a:avLst/>
                <a:gdLst>
                  <a:gd name="T0" fmla="*/ 45 w 2066"/>
                  <a:gd name="T1" fmla="*/ 461 h 2539"/>
                  <a:gd name="T2" fmla="*/ 0 w 2066"/>
                  <a:gd name="T3" fmla="*/ 388 h 2539"/>
                  <a:gd name="T4" fmla="*/ 59 w 2066"/>
                  <a:gd name="T5" fmla="*/ 273 h 2539"/>
                  <a:gd name="T6" fmla="*/ 90 w 2066"/>
                  <a:gd name="T7" fmla="*/ 268 h 2539"/>
                  <a:gd name="T8" fmla="*/ 89 w 2066"/>
                  <a:gd name="T9" fmla="*/ 136 h 2539"/>
                  <a:gd name="T10" fmla="*/ 131 w 2066"/>
                  <a:gd name="T11" fmla="*/ 136 h 2539"/>
                  <a:gd name="T12" fmla="*/ 131 w 2066"/>
                  <a:gd name="T13" fmla="*/ 40 h 2539"/>
                  <a:gd name="T14" fmla="*/ 468 w 2066"/>
                  <a:gd name="T15" fmla="*/ 40 h 2539"/>
                  <a:gd name="T16" fmla="*/ 508 w 2066"/>
                  <a:gd name="T17" fmla="*/ 0 h 2539"/>
                  <a:gd name="T18" fmla="*/ 577 w 2066"/>
                  <a:gd name="T19" fmla="*/ 46 h 2539"/>
                  <a:gd name="T20" fmla="*/ 595 w 2066"/>
                  <a:gd name="T21" fmla="*/ 171 h 2539"/>
                  <a:gd name="T22" fmla="*/ 631 w 2066"/>
                  <a:gd name="T23" fmla="*/ 188 h 2539"/>
                  <a:gd name="T24" fmla="*/ 635 w 2066"/>
                  <a:gd name="T25" fmla="*/ 223 h 2539"/>
                  <a:gd name="T26" fmla="*/ 590 w 2066"/>
                  <a:gd name="T27" fmla="*/ 262 h 2539"/>
                  <a:gd name="T28" fmla="*/ 568 w 2066"/>
                  <a:gd name="T29" fmla="*/ 388 h 2539"/>
                  <a:gd name="T30" fmla="*/ 518 w 2066"/>
                  <a:gd name="T31" fmla="*/ 439 h 2539"/>
                  <a:gd name="T32" fmla="*/ 513 w 2066"/>
                  <a:gd name="T33" fmla="*/ 484 h 2539"/>
                  <a:gd name="T34" fmla="*/ 486 w 2066"/>
                  <a:gd name="T35" fmla="*/ 501 h 2539"/>
                  <a:gd name="T36" fmla="*/ 478 w 2066"/>
                  <a:gd name="T37" fmla="*/ 582 h 2539"/>
                  <a:gd name="T38" fmla="*/ 428 w 2066"/>
                  <a:gd name="T39" fmla="*/ 598 h 2539"/>
                  <a:gd name="T40" fmla="*/ 541 w 2066"/>
                  <a:gd name="T41" fmla="*/ 717 h 2539"/>
                  <a:gd name="T42" fmla="*/ 406 w 2066"/>
                  <a:gd name="T43" fmla="*/ 775 h 2539"/>
                  <a:gd name="T44" fmla="*/ 369 w 2066"/>
                  <a:gd name="T45" fmla="*/ 769 h 2539"/>
                  <a:gd name="T46" fmla="*/ 347 w 2066"/>
                  <a:gd name="T47" fmla="*/ 780 h 2539"/>
                  <a:gd name="T48" fmla="*/ 302 w 2066"/>
                  <a:gd name="T49" fmla="*/ 724 h 2539"/>
                  <a:gd name="T50" fmla="*/ 239 w 2066"/>
                  <a:gd name="T51" fmla="*/ 735 h 2539"/>
                  <a:gd name="T52" fmla="*/ 132 w 2066"/>
                  <a:gd name="T53" fmla="*/ 598 h 2539"/>
                  <a:gd name="T54" fmla="*/ 60 w 2066"/>
                  <a:gd name="T55" fmla="*/ 569 h 2539"/>
                  <a:gd name="T56" fmla="*/ 45 w 2066"/>
                  <a:gd name="T57" fmla="*/ 461 h 253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066" h="2539">
                    <a:moveTo>
                      <a:pt x="148" y="1502"/>
                    </a:moveTo>
                    <a:lnTo>
                      <a:pt x="0" y="1262"/>
                    </a:lnTo>
                    <a:lnTo>
                      <a:pt x="191" y="890"/>
                    </a:lnTo>
                    <a:lnTo>
                      <a:pt x="293" y="871"/>
                    </a:lnTo>
                    <a:lnTo>
                      <a:pt x="291" y="442"/>
                    </a:lnTo>
                    <a:lnTo>
                      <a:pt x="425" y="442"/>
                    </a:lnTo>
                    <a:lnTo>
                      <a:pt x="425" y="130"/>
                    </a:lnTo>
                    <a:lnTo>
                      <a:pt x="1522" y="130"/>
                    </a:lnTo>
                    <a:lnTo>
                      <a:pt x="1654" y="0"/>
                    </a:lnTo>
                    <a:lnTo>
                      <a:pt x="1877" y="149"/>
                    </a:lnTo>
                    <a:lnTo>
                      <a:pt x="1936" y="558"/>
                    </a:lnTo>
                    <a:lnTo>
                      <a:pt x="2052" y="612"/>
                    </a:lnTo>
                    <a:lnTo>
                      <a:pt x="2066" y="725"/>
                    </a:lnTo>
                    <a:lnTo>
                      <a:pt x="1920" y="852"/>
                    </a:lnTo>
                    <a:lnTo>
                      <a:pt x="1848" y="1262"/>
                    </a:lnTo>
                    <a:lnTo>
                      <a:pt x="1686" y="1429"/>
                    </a:lnTo>
                    <a:lnTo>
                      <a:pt x="1670" y="1575"/>
                    </a:lnTo>
                    <a:lnTo>
                      <a:pt x="1581" y="1631"/>
                    </a:lnTo>
                    <a:lnTo>
                      <a:pt x="1554" y="1893"/>
                    </a:lnTo>
                    <a:lnTo>
                      <a:pt x="1392" y="1946"/>
                    </a:lnTo>
                    <a:lnTo>
                      <a:pt x="1761" y="2335"/>
                    </a:lnTo>
                    <a:lnTo>
                      <a:pt x="1320" y="2523"/>
                    </a:lnTo>
                    <a:lnTo>
                      <a:pt x="1201" y="2502"/>
                    </a:lnTo>
                    <a:lnTo>
                      <a:pt x="1128" y="2539"/>
                    </a:lnTo>
                    <a:lnTo>
                      <a:pt x="983" y="2356"/>
                    </a:lnTo>
                    <a:lnTo>
                      <a:pt x="776" y="2391"/>
                    </a:lnTo>
                    <a:lnTo>
                      <a:pt x="428" y="1946"/>
                    </a:lnTo>
                    <a:lnTo>
                      <a:pt x="194" y="1852"/>
                    </a:lnTo>
                    <a:lnTo>
                      <a:pt x="148" y="1502"/>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27" name="Freeform 40"/>
              <p:cNvSpPr>
                <a:spLocks noChangeAspect="1"/>
              </p:cNvSpPr>
              <p:nvPr/>
            </p:nvSpPr>
            <p:spPr bwMode="auto">
              <a:xfrm>
                <a:off x="4166478" y="2413082"/>
                <a:ext cx="625521" cy="987407"/>
              </a:xfrm>
              <a:custGeom>
                <a:avLst/>
                <a:gdLst>
                  <a:gd name="T0" fmla="*/ 389 w 1266"/>
                  <a:gd name="T1" fmla="*/ 165 h 1998"/>
                  <a:gd name="T2" fmla="*/ 99 w 1266"/>
                  <a:gd name="T3" fmla="*/ 0 h 1998"/>
                  <a:gd name="T4" fmla="*/ 64 w 1266"/>
                  <a:gd name="T5" fmla="*/ 17 h 1998"/>
                  <a:gd name="T6" fmla="*/ 77 w 1266"/>
                  <a:gd name="T7" fmla="*/ 124 h 1998"/>
                  <a:gd name="T8" fmla="*/ 68 w 1266"/>
                  <a:gd name="T9" fmla="*/ 256 h 1998"/>
                  <a:gd name="T10" fmla="*/ 5 w 1266"/>
                  <a:gd name="T11" fmla="*/ 330 h 1998"/>
                  <a:gd name="T12" fmla="*/ 5 w 1266"/>
                  <a:gd name="T13" fmla="*/ 364 h 1998"/>
                  <a:gd name="T14" fmla="*/ 64 w 1266"/>
                  <a:gd name="T15" fmla="*/ 524 h 1998"/>
                  <a:gd name="T16" fmla="*/ 8 w 1266"/>
                  <a:gd name="T17" fmla="*/ 518 h 1998"/>
                  <a:gd name="T18" fmla="*/ 0 w 1266"/>
                  <a:gd name="T19" fmla="*/ 529 h 1998"/>
                  <a:gd name="T20" fmla="*/ 77 w 1266"/>
                  <a:gd name="T21" fmla="*/ 614 h 1998"/>
                  <a:gd name="T22" fmla="*/ 194 w 1266"/>
                  <a:gd name="T23" fmla="*/ 587 h 1998"/>
                  <a:gd name="T24" fmla="*/ 343 w 1266"/>
                  <a:gd name="T25" fmla="*/ 472 h 1998"/>
                  <a:gd name="T26" fmla="*/ 297 w 1266"/>
                  <a:gd name="T27" fmla="*/ 399 h 1998"/>
                  <a:gd name="T28" fmla="*/ 356 w 1266"/>
                  <a:gd name="T29" fmla="*/ 284 h 1998"/>
                  <a:gd name="T30" fmla="*/ 387 w 1266"/>
                  <a:gd name="T31" fmla="*/ 278 h 1998"/>
                  <a:gd name="T32" fmla="*/ 389 w 1266"/>
                  <a:gd name="T33" fmla="*/ 165 h 19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6" h="1998">
                    <a:moveTo>
                      <a:pt x="1266" y="537"/>
                    </a:moveTo>
                    <a:lnTo>
                      <a:pt x="323" y="0"/>
                    </a:lnTo>
                    <a:lnTo>
                      <a:pt x="208" y="54"/>
                    </a:lnTo>
                    <a:lnTo>
                      <a:pt x="251" y="405"/>
                    </a:lnTo>
                    <a:lnTo>
                      <a:pt x="221" y="833"/>
                    </a:lnTo>
                    <a:lnTo>
                      <a:pt x="16" y="1073"/>
                    </a:lnTo>
                    <a:lnTo>
                      <a:pt x="16" y="1184"/>
                    </a:lnTo>
                    <a:lnTo>
                      <a:pt x="208" y="1704"/>
                    </a:lnTo>
                    <a:lnTo>
                      <a:pt x="27" y="1685"/>
                    </a:lnTo>
                    <a:lnTo>
                      <a:pt x="0" y="1720"/>
                    </a:lnTo>
                    <a:lnTo>
                      <a:pt x="251" y="1998"/>
                    </a:lnTo>
                    <a:lnTo>
                      <a:pt x="630" y="1909"/>
                    </a:lnTo>
                    <a:lnTo>
                      <a:pt x="1115" y="1537"/>
                    </a:lnTo>
                    <a:lnTo>
                      <a:pt x="967" y="1297"/>
                    </a:lnTo>
                    <a:lnTo>
                      <a:pt x="1158" y="925"/>
                    </a:lnTo>
                    <a:lnTo>
                      <a:pt x="1261" y="906"/>
                    </a:lnTo>
                    <a:lnTo>
                      <a:pt x="1266" y="537"/>
                    </a:lnTo>
                    <a:close/>
                  </a:path>
                </a:pathLst>
              </a:custGeom>
              <a:noFill/>
              <a:ln w="0">
                <a:solidFill>
                  <a:srgbClr val="606060"/>
                </a:solidFill>
                <a:prstDash val="solid"/>
                <a:round/>
                <a:headEnd/>
                <a:tailEnd/>
              </a:ln>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sp>
            <p:nvSpPr>
              <p:cNvPr id="128" name="Freeform 67"/>
              <p:cNvSpPr>
                <a:spLocks noChangeAspect="1"/>
              </p:cNvSpPr>
              <p:nvPr/>
            </p:nvSpPr>
            <p:spPr bwMode="auto">
              <a:xfrm>
                <a:off x="5555810" y="2781350"/>
                <a:ext cx="405222" cy="365051"/>
              </a:xfrm>
              <a:custGeom>
                <a:avLst/>
                <a:gdLst>
                  <a:gd name="T0" fmla="*/ 74 w 252"/>
                  <a:gd name="T1" fmla="*/ 0 h 227"/>
                  <a:gd name="T2" fmla="*/ 24 w 252"/>
                  <a:gd name="T3" fmla="*/ 44 h 227"/>
                  <a:gd name="T4" fmla="*/ 0 w 252"/>
                  <a:gd name="T5" fmla="*/ 170 h 227"/>
                  <a:gd name="T6" fmla="*/ 21 w 252"/>
                  <a:gd name="T7" fmla="*/ 143 h 227"/>
                  <a:gd name="T8" fmla="*/ 47 w 252"/>
                  <a:gd name="T9" fmla="*/ 131 h 227"/>
                  <a:gd name="T10" fmla="*/ 81 w 252"/>
                  <a:gd name="T11" fmla="*/ 141 h 227"/>
                  <a:gd name="T12" fmla="*/ 90 w 252"/>
                  <a:gd name="T13" fmla="*/ 134 h 227"/>
                  <a:gd name="T14" fmla="*/ 98 w 252"/>
                  <a:gd name="T15" fmla="*/ 141 h 227"/>
                  <a:gd name="T16" fmla="*/ 140 w 252"/>
                  <a:gd name="T17" fmla="*/ 140 h 227"/>
                  <a:gd name="T18" fmla="*/ 209 w 252"/>
                  <a:gd name="T19" fmla="*/ 192 h 227"/>
                  <a:gd name="T20" fmla="*/ 234 w 252"/>
                  <a:gd name="T21" fmla="*/ 227 h 227"/>
                  <a:gd name="T22" fmla="*/ 252 w 252"/>
                  <a:gd name="T23" fmla="*/ 201 h 227"/>
                  <a:gd name="T24" fmla="*/ 228 w 252"/>
                  <a:gd name="T25" fmla="*/ 170 h 227"/>
                  <a:gd name="T26" fmla="*/ 213 w 252"/>
                  <a:gd name="T27" fmla="*/ 156 h 227"/>
                  <a:gd name="T28" fmla="*/ 165 w 252"/>
                  <a:gd name="T29" fmla="*/ 120 h 227"/>
                  <a:gd name="T30" fmla="*/ 125 w 252"/>
                  <a:gd name="T31" fmla="*/ 89 h 227"/>
                  <a:gd name="T32" fmla="*/ 111 w 252"/>
                  <a:gd name="T33" fmla="*/ 98 h 227"/>
                  <a:gd name="T34" fmla="*/ 74 w 252"/>
                  <a:gd name="T35" fmla="*/ 0 h 2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2" h="227">
                    <a:moveTo>
                      <a:pt x="74" y="0"/>
                    </a:moveTo>
                    <a:lnTo>
                      <a:pt x="24" y="44"/>
                    </a:lnTo>
                    <a:lnTo>
                      <a:pt x="0" y="170"/>
                    </a:lnTo>
                    <a:lnTo>
                      <a:pt x="21" y="143"/>
                    </a:lnTo>
                    <a:lnTo>
                      <a:pt x="47" y="131"/>
                    </a:lnTo>
                    <a:lnTo>
                      <a:pt x="81" y="141"/>
                    </a:lnTo>
                    <a:lnTo>
                      <a:pt x="90" y="134"/>
                    </a:lnTo>
                    <a:lnTo>
                      <a:pt x="98" y="141"/>
                    </a:lnTo>
                    <a:lnTo>
                      <a:pt x="140" y="140"/>
                    </a:lnTo>
                    <a:lnTo>
                      <a:pt x="209" y="192"/>
                    </a:lnTo>
                    <a:lnTo>
                      <a:pt x="234" y="227"/>
                    </a:lnTo>
                    <a:lnTo>
                      <a:pt x="252" y="201"/>
                    </a:lnTo>
                    <a:lnTo>
                      <a:pt x="228" y="170"/>
                    </a:lnTo>
                    <a:lnTo>
                      <a:pt x="213" y="156"/>
                    </a:lnTo>
                    <a:lnTo>
                      <a:pt x="165" y="120"/>
                    </a:lnTo>
                    <a:lnTo>
                      <a:pt x="125" y="89"/>
                    </a:lnTo>
                    <a:lnTo>
                      <a:pt x="111" y="98"/>
                    </a:lnTo>
                    <a:lnTo>
                      <a:pt x="74" y="0"/>
                    </a:lnTo>
                    <a:close/>
                  </a:path>
                </a:pathLst>
              </a:custGeom>
              <a:noFill/>
              <a:ln w="3175" cmpd="sng">
                <a:solidFill>
                  <a:srgbClr val="60606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189">
                  <a:defRPr/>
                </a:pPr>
                <a:endParaRPr lang="fr-FR" sz="1900" kern="0" dirty="0">
                  <a:solidFill>
                    <a:srgbClr val="000000"/>
                  </a:solidFill>
                  <a:latin typeface="Arial" charset="0"/>
                  <a:ea typeface="KaiTi" panose="02010609060101010101" pitchFamily="49" charset="-122"/>
                  <a:cs typeface="Arial" charset="0"/>
                </a:endParaRPr>
              </a:p>
            </p:txBody>
          </p:sp>
        </p:grpSp>
        <p:grpSp>
          <p:nvGrpSpPr>
            <p:cNvPr id="65" name="Group 3"/>
            <p:cNvGrpSpPr/>
            <p:nvPr>
              <p:custDataLst>
                <p:tags r:id="rId2"/>
              </p:custDataLst>
            </p:nvPr>
          </p:nvGrpSpPr>
          <p:grpSpPr>
            <a:xfrm>
              <a:off x="1500259" y="1206125"/>
              <a:ext cx="4382547" cy="3153597"/>
              <a:chOff x="2241864" y="1300093"/>
              <a:chExt cx="6023230" cy="4614524"/>
            </a:xfrm>
          </p:grpSpPr>
          <p:sp>
            <p:nvSpPr>
              <p:cNvPr id="67" name="Freeform 5"/>
              <p:cNvSpPr>
                <a:spLocks noChangeAspect="1"/>
              </p:cNvSpPr>
              <p:nvPr/>
            </p:nvSpPr>
            <p:spPr bwMode="auto">
              <a:xfrm>
                <a:off x="4822932" y="5046844"/>
                <a:ext cx="148337" cy="304091"/>
              </a:xfrm>
              <a:custGeom>
                <a:avLst/>
                <a:gdLst>
                  <a:gd name="T0" fmla="*/ 62 w 101"/>
                  <a:gd name="T1" fmla="*/ 241 h 207"/>
                  <a:gd name="T2" fmla="*/ 40 w 101"/>
                  <a:gd name="T3" fmla="*/ 226 h 207"/>
                  <a:gd name="T4" fmla="*/ 26 w 101"/>
                  <a:gd name="T5" fmla="*/ 220 h 207"/>
                  <a:gd name="T6" fmla="*/ 0 w 101"/>
                  <a:gd name="T7" fmla="*/ 210 h 207"/>
                  <a:gd name="T8" fmla="*/ 1 w 101"/>
                  <a:gd name="T9" fmla="*/ 195 h 207"/>
                  <a:gd name="T10" fmla="*/ 11 w 101"/>
                  <a:gd name="T11" fmla="*/ 174 h 207"/>
                  <a:gd name="T12" fmla="*/ 23 w 101"/>
                  <a:gd name="T13" fmla="*/ 159 h 207"/>
                  <a:gd name="T14" fmla="*/ 24 w 101"/>
                  <a:gd name="T15" fmla="*/ 109 h 207"/>
                  <a:gd name="T16" fmla="*/ 23 w 101"/>
                  <a:gd name="T17" fmla="*/ 56 h 207"/>
                  <a:gd name="T18" fmla="*/ 12 w 101"/>
                  <a:gd name="T19" fmla="*/ 51 h 207"/>
                  <a:gd name="T20" fmla="*/ 10 w 101"/>
                  <a:gd name="T21" fmla="*/ 38 h 207"/>
                  <a:gd name="T22" fmla="*/ 20 w 101"/>
                  <a:gd name="T23" fmla="*/ 31 h 207"/>
                  <a:gd name="T24" fmla="*/ 25 w 101"/>
                  <a:gd name="T25" fmla="*/ 18 h 207"/>
                  <a:gd name="T26" fmla="*/ 32 w 101"/>
                  <a:gd name="T27" fmla="*/ 1 h 207"/>
                  <a:gd name="T28" fmla="*/ 51 w 101"/>
                  <a:gd name="T29" fmla="*/ 0 h 207"/>
                  <a:gd name="T30" fmla="*/ 69 w 101"/>
                  <a:gd name="T31" fmla="*/ 5 h 207"/>
                  <a:gd name="T32" fmla="*/ 80 w 101"/>
                  <a:gd name="T33" fmla="*/ 15 h 207"/>
                  <a:gd name="T34" fmla="*/ 91 w 101"/>
                  <a:gd name="T35" fmla="*/ 27 h 207"/>
                  <a:gd name="T36" fmla="*/ 99 w 101"/>
                  <a:gd name="T37" fmla="*/ 37 h 207"/>
                  <a:gd name="T38" fmla="*/ 94 w 101"/>
                  <a:gd name="T39" fmla="*/ 50 h 207"/>
                  <a:gd name="T40" fmla="*/ 94 w 101"/>
                  <a:gd name="T41" fmla="*/ 70 h 207"/>
                  <a:gd name="T42" fmla="*/ 94 w 101"/>
                  <a:gd name="T43" fmla="*/ 94 h 207"/>
                  <a:gd name="T44" fmla="*/ 93 w 101"/>
                  <a:gd name="T45" fmla="*/ 111 h 207"/>
                  <a:gd name="T46" fmla="*/ 95 w 101"/>
                  <a:gd name="T47" fmla="*/ 130 h 207"/>
                  <a:gd name="T48" fmla="*/ 100 w 101"/>
                  <a:gd name="T49" fmla="*/ 146 h 207"/>
                  <a:gd name="T50" fmla="*/ 112 w 101"/>
                  <a:gd name="T51" fmla="*/ 154 h 207"/>
                  <a:gd name="T52" fmla="*/ 120 w 101"/>
                  <a:gd name="T53" fmla="*/ 162 h 207"/>
                  <a:gd name="T54" fmla="*/ 112 w 101"/>
                  <a:gd name="T55" fmla="*/ 182 h 207"/>
                  <a:gd name="T56" fmla="*/ 112 w 101"/>
                  <a:gd name="T57" fmla="*/ 198 h 207"/>
                  <a:gd name="T58" fmla="*/ 105 w 101"/>
                  <a:gd name="T59" fmla="*/ 213 h 207"/>
                  <a:gd name="T60" fmla="*/ 100 w 101"/>
                  <a:gd name="T61" fmla="*/ 222 h 207"/>
                  <a:gd name="T62" fmla="*/ 93 w 101"/>
                  <a:gd name="T63" fmla="*/ 233 h 207"/>
                  <a:gd name="T64" fmla="*/ 84 w 101"/>
                  <a:gd name="T65" fmla="*/ 241 h 207"/>
                  <a:gd name="T66" fmla="*/ 75 w 101"/>
                  <a:gd name="T67" fmla="*/ 246 h 207"/>
                  <a:gd name="T68" fmla="*/ 62 w 101"/>
                  <a:gd name="T69" fmla="*/ 241 h 2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1"/>
                  <a:gd name="T106" fmla="*/ 0 h 207"/>
                  <a:gd name="T107" fmla="*/ 101 w 101"/>
                  <a:gd name="T108" fmla="*/ 207 h 2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1" h="207">
                    <a:moveTo>
                      <a:pt x="52" y="203"/>
                    </a:moveTo>
                    <a:lnTo>
                      <a:pt x="34" y="190"/>
                    </a:lnTo>
                    <a:lnTo>
                      <a:pt x="22" y="185"/>
                    </a:lnTo>
                    <a:lnTo>
                      <a:pt x="0" y="177"/>
                    </a:lnTo>
                    <a:lnTo>
                      <a:pt x="1" y="164"/>
                    </a:lnTo>
                    <a:lnTo>
                      <a:pt x="9" y="146"/>
                    </a:lnTo>
                    <a:lnTo>
                      <a:pt x="19" y="134"/>
                    </a:lnTo>
                    <a:lnTo>
                      <a:pt x="20" y="92"/>
                    </a:lnTo>
                    <a:lnTo>
                      <a:pt x="19" y="47"/>
                    </a:lnTo>
                    <a:lnTo>
                      <a:pt x="10" y="43"/>
                    </a:lnTo>
                    <a:lnTo>
                      <a:pt x="8" y="32"/>
                    </a:lnTo>
                    <a:lnTo>
                      <a:pt x="17" y="26"/>
                    </a:lnTo>
                    <a:lnTo>
                      <a:pt x="21" y="15"/>
                    </a:lnTo>
                    <a:lnTo>
                      <a:pt x="27" y="1"/>
                    </a:lnTo>
                    <a:lnTo>
                      <a:pt x="43" y="0"/>
                    </a:lnTo>
                    <a:lnTo>
                      <a:pt x="58" y="4"/>
                    </a:lnTo>
                    <a:lnTo>
                      <a:pt x="67" y="13"/>
                    </a:lnTo>
                    <a:lnTo>
                      <a:pt x="77" y="23"/>
                    </a:lnTo>
                    <a:lnTo>
                      <a:pt x="83" y="31"/>
                    </a:lnTo>
                    <a:lnTo>
                      <a:pt x="79" y="42"/>
                    </a:lnTo>
                    <a:lnTo>
                      <a:pt x="79" y="59"/>
                    </a:lnTo>
                    <a:lnTo>
                      <a:pt x="79" y="79"/>
                    </a:lnTo>
                    <a:lnTo>
                      <a:pt x="78" y="93"/>
                    </a:lnTo>
                    <a:lnTo>
                      <a:pt x="80" y="109"/>
                    </a:lnTo>
                    <a:lnTo>
                      <a:pt x="84" y="123"/>
                    </a:lnTo>
                    <a:lnTo>
                      <a:pt x="94" y="130"/>
                    </a:lnTo>
                    <a:lnTo>
                      <a:pt x="101" y="136"/>
                    </a:lnTo>
                    <a:lnTo>
                      <a:pt x="94" y="153"/>
                    </a:lnTo>
                    <a:lnTo>
                      <a:pt x="94" y="167"/>
                    </a:lnTo>
                    <a:lnTo>
                      <a:pt x="88" y="179"/>
                    </a:lnTo>
                    <a:lnTo>
                      <a:pt x="84" y="187"/>
                    </a:lnTo>
                    <a:lnTo>
                      <a:pt x="78" y="196"/>
                    </a:lnTo>
                    <a:lnTo>
                      <a:pt x="71" y="203"/>
                    </a:lnTo>
                    <a:lnTo>
                      <a:pt x="63" y="207"/>
                    </a:lnTo>
                    <a:lnTo>
                      <a:pt x="52" y="203"/>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68" name="Freeform 6"/>
              <p:cNvSpPr>
                <a:spLocks noChangeAspect="1"/>
              </p:cNvSpPr>
              <p:nvPr/>
            </p:nvSpPr>
            <p:spPr bwMode="auto">
              <a:xfrm>
                <a:off x="3848851" y="3532568"/>
                <a:ext cx="678643" cy="923399"/>
              </a:xfrm>
              <a:custGeom>
                <a:avLst/>
                <a:gdLst>
                  <a:gd name="T0" fmla="*/ 128 w 462"/>
                  <a:gd name="T1" fmla="*/ 118 h 628"/>
                  <a:gd name="T2" fmla="*/ 173 w 462"/>
                  <a:gd name="T3" fmla="*/ 126 h 628"/>
                  <a:gd name="T4" fmla="*/ 197 w 462"/>
                  <a:gd name="T5" fmla="*/ 119 h 628"/>
                  <a:gd name="T6" fmla="*/ 259 w 462"/>
                  <a:gd name="T7" fmla="*/ 144 h 628"/>
                  <a:gd name="T8" fmla="*/ 255 w 462"/>
                  <a:gd name="T9" fmla="*/ 107 h 628"/>
                  <a:gd name="T10" fmla="*/ 236 w 462"/>
                  <a:gd name="T11" fmla="*/ 63 h 628"/>
                  <a:gd name="T12" fmla="*/ 238 w 462"/>
                  <a:gd name="T13" fmla="*/ 15 h 628"/>
                  <a:gd name="T14" fmla="*/ 261 w 462"/>
                  <a:gd name="T15" fmla="*/ 19 h 628"/>
                  <a:gd name="T16" fmla="*/ 303 w 462"/>
                  <a:gd name="T17" fmla="*/ 64 h 628"/>
                  <a:gd name="T18" fmla="*/ 361 w 462"/>
                  <a:gd name="T19" fmla="*/ 83 h 628"/>
                  <a:gd name="T20" fmla="*/ 386 w 462"/>
                  <a:gd name="T21" fmla="*/ 105 h 628"/>
                  <a:gd name="T22" fmla="*/ 454 w 462"/>
                  <a:gd name="T23" fmla="*/ 82 h 628"/>
                  <a:gd name="T24" fmla="*/ 520 w 462"/>
                  <a:gd name="T25" fmla="*/ 136 h 628"/>
                  <a:gd name="T26" fmla="*/ 539 w 462"/>
                  <a:gd name="T27" fmla="*/ 175 h 628"/>
                  <a:gd name="T28" fmla="*/ 507 w 462"/>
                  <a:gd name="T29" fmla="*/ 243 h 628"/>
                  <a:gd name="T30" fmla="*/ 537 w 462"/>
                  <a:gd name="T31" fmla="*/ 325 h 628"/>
                  <a:gd name="T32" fmla="*/ 539 w 462"/>
                  <a:gd name="T33" fmla="*/ 384 h 628"/>
                  <a:gd name="T34" fmla="*/ 532 w 462"/>
                  <a:gd name="T35" fmla="*/ 433 h 628"/>
                  <a:gd name="T36" fmla="*/ 505 w 462"/>
                  <a:gd name="T37" fmla="*/ 416 h 628"/>
                  <a:gd name="T38" fmla="*/ 478 w 462"/>
                  <a:gd name="T39" fmla="*/ 438 h 628"/>
                  <a:gd name="T40" fmla="*/ 431 w 462"/>
                  <a:gd name="T41" fmla="*/ 462 h 628"/>
                  <a:gd name="T42" fmla="*/ 385 w 462"/>
                  <a:gd name="T43" fmla="*/ 490 h 628"/>
                  <a:gd name="T44" fmla="*/ 389 w 462"/>
                  <a:gd name="T45" fmla="*/ 544 h 628"/>
                  <a:gd name="T46" fmla="*/ 414 w 462"/>
                  <a:gd name="T47" fmla="*/ 579 h 628"/>
                  <a:gd name="T48" fmla="*/ 452 w 462"/>
                  <a:gd name="T49" fmla="*/ 610 h 628"/>
                  <a:gd name="T50" fmla="*/ 457 w 462"/>
                  <a:gd name="T51" fmla="*/ 649 h 628"/>
                  <a:gd name="T52" fmla="*/ 398 w 462"/>
                  <a:gd name="T53" fmla="*/ 678 h 628"/>
                  <a:gd name="T54" fmla="*/ 408 w 462"/>
                  <a:gd name="T55" fmla="*/ 724 h 628"/>
                  <a:gd name="T56" fmla="*/ 390 w 462"/>
                  <a:gd name="T57" fmla="*/ 728 h 628"/>
                  <a:gd name="T58" fmla="*/ 349 w 462"/>
                  <a:gd name="T59" fmla="*/ 716 h 628"/>
                  <a:gd name="T60" fmla="*/ 299 w 462"/>
                  <a:gd name="T61" fmla="*/ 733 h 628"/>
                  <a:gd name="T62" fmla="*/ 267 w 462"/>
                  <a:gd name="T63" fmla="*/ 741 h 628"/>
                  <a:gd name="T64" fmla="*/ 242 w 462"/>
                  <a:gd name="T65" fmla="*/ 724 h 628"/>
                  <a:gd name="T66" fmla="*/ 185 w 462"/>
                  <a:gd name="T67" fmla="*/ 721 h 628"/>
                  <a:gd name="T68" fmla="*/ 159 w 462"/>
                  <a:gd name="T69" fmla="*/ 690 h 628"/>
                  <a:gd name="T70" fmla="*/ 122 w 462"/>
                  <a:gd name="T71" fmla="*/ 688 h 628"/>
                  <a:gd name="T72" fmla="*/ 67 w 462"/>
                  <a:gd name="T73" fmla="*/ 704 h 628"/>
                  <a:gd name="T74" fmla="*/ 68 w 462"/>
                  <a:gd name="T75" fmla="*/ 655 h 628"/>
                  <a:gd name="T76" fmla="*/ 91 w 462"/>
                  <a:gd name="T77" fmla="*/ 619 h 628"/>
                  <a:gd name="T78" fmla="*/ 100 w 462"/>
                  <a:gd name="T79" fmla="*/ 563 h 628"/>
                  <a:gd name="T80" fmla="*/ 38 w 462"/>
                  <a:gd name="T81" fmla="*/ 535 h 628"/>
                  <a:gd name="T82" fmla="*/ 13 w 462"/>
                  <a:gd name="T83" fmla="*/ 487 h 628"/>
                  <a:gd name="T84" fmla="*/ 11 w 462"/>
                  <a:gd name="T85" fmla="*/ 415 h 628"/>
                  <a:gd name="T86" fmla="*/ 0 w 462"/>
                  <a:gd name="T87" fmla="*/ 356 h 628"/>
                  <a:gd name="T88" fmla="*/ 29 w 462"/>
                  <a:gd name="T89" fmla="*/ 305 h 628"/>
                  <a:gd name="T90" fmla="*/ 57 w 462"/>
                  <a:gd name="T91" fmla="*/ 290 h 628"/>
                  <a:gd name="T92" fmla="*/ 96 w 462"/>
                  <a:gd name="T93" fmla="*/ 239 h 628"/>
                  <a:gd name="T94" fmla="*/ 100 w 462"/>
                  <a:gd name="T95" fmla="*/ 216 h 628"/>
                  <a:gd name="T96" fmla="*/ 122 w 462"/>
                  <a:gd name="T97" fmla="*/ 147 h 62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2"/>
                  <a:gd name="T148" fmla="*/ 0 h 628"/>
                  <a:gd name="T149" fmla="*/ 462 w 462"/>
                  <a:gd name="T150" fmla="*/ 628 h 62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2" h="628">
                    <a:moveTo>
                      <a:pt x="103" y="124"/>
                    </a:moveTo>
                    <a:lnTo>
                      <a:pt x="118" y="114"/>
                    </a:lnTo>
                    <a:lnTo>
                      <a:pt x="108" y="99"/>
                    </a:lnTo>
                    <a:lnTo>
                      <a:pt x="120" y="92"/>
                    </a:lnTo>
                    <a:lnTo>
                      <a:pt x="136" y="91"/>
                    </a:lnTo>
                    <a:lnTo>
                      <a:pt x="146" y="106"/>
                    </a:lnTo>
                    <a:lnTo>
                      <a:pt x="157" y="123"/>
                    </a:lnTo>
                    <a:lnTo>
                      <a:pt x="170" y="111"/>
                    </a:lnTo>
                    <a:lnTo>
                      <a:pt x="166" y="100"/>
                    </a:lnTo>
                    <a:lnTo>
                      <a:pt x="178" y="91"/>
                    </a:lnTo>
                    <a:lnTo>
                      <a:pt x="197" y="105"/>
                    </a:lnTo>
                    <a:lnTo>
                      <a:pt x="218" y="121"/>
                    </a:lnTo>
                    <a:lnTo>
                      <a:pt x="228" y="128"/>
                    </a:lnTo>
                    <a:lnTo>
                      <a:pt x="236" y="109"/>
                    </a:lnTo>
                    <a:lnTo>
                      <a:pt x="215" y="90"/>
                    </a:lnTo>
                    <a:lnTo>
                      <a:pt x="203" y="79"/>
                    </a:lnTo>
                    <a:lnTo>
                      <a:pt x="186" y="71"/>
                    </a:lnTo>
                    <a:lnTo>
                      <a:pt x="199" y="53"/>
                    </a:lnTo>
                    <a:lnTo>
                      <a:pt x="185" y="42"/>
                    </a:lnTo>
                    <a:lnTo>
                      <a:pt x="200" y="28"/>
                    </a:lnTo>
                    <a:lnTo>
                      <a:pt x="200" y="13"/>
                    </a:lnTo>
                    <a:lnTo>
                      <a:pt x="204" y="0"/>
                    </a:lnTo>
                    <a:lnTo>
                      <a:pt x="211" y="3"/>
                    </a:lnTo>
                    <a:lnTo>
                      <a:pt x="220" y="16"/>
                    </a:lnTo>
                    <a:lnTo>
                      <a:pt x="235" y="18"/>
                    </a:lnTo>
                    <a:lnTo>
                      <a:pt x="248" y="30"/>
                    </a:lnTo>
                    <a:lnTo>
                      <a:pt x="255" y="54"/>
                    </a:lnTo>
                    <a:lnTo>
                      <a:pt x="263" y="65"/>
                    </a:lnTo>
                    <a:lnTo>
                      <a:pt x="295" y="61"/>
                    </a:lnTo>
                    <a:lnTo>
                      <a:pt x="304" y="70"/>
                    </a:lnTo>
                    <a:lnTo>
                      <a:pt x="292" y="84"/>
                    </a:lnTo>
                    <a:lnTo>
                      <a:pt x="302" y="97"/>
                    </a:lnTo>
                    <a:lnTo>
                      <a:pt x="325" y="88"/>
                    </a:lnTo>
                    <a:lnTo>
                      <a:pt x="345" y="78"/>
                    </a:lnTo>
                    <a:lnTo>
                      <a:pt x="374" y="70"/>
                    </a:lnTo>
                    <a:lnTo>
                      <a:pt x="382" y="69"/>
                    </a:lnTo>
                    <a:lnTo>
                      <a:pt x="405" y="92"/>
                    </a:lnTo>
                    <a:lnTo>
                      <a:pt x="422" y="101"/>
                    </a:lnTo>
                    <a:lnTo>
                      <a:pt x="438" y="114"/>
                    </a:lnTo>
                    <a:lnTo>
                      <a:pt x="455" y="133"/>
                    </a:lnTo>
                    <a:lnTo>
                      <a:pt x="462" y="149"/>
                    </a:lnTo>
                    <a:lnTo>
                      <a:pt x="454" y="147"/>
                    </a:lnTo>
                    <a:lnTo>
                      <a:pt x="439" y="167"/>
                    </a:lnTo>
                    <a:lnTo>
                      <a:pt x="430" y="187"/>
                    </a:lnTo>
                    <a:lnTo>
                      <a:pt x="427" y="204"/>
                    </a:lnTo>
                    <a:lnTo>
                      <a:pt x="432" y="227"/>
                    </a:lnTo>
                    <a:lnTo>
                      <a:pt x="442" y="249"/>
                    </a:lnTo>
                    <a:lnTo>
                      <a:pt x="452" y="273"/>
                    </a:lnTo>
                    <a:lnTo>
                      <a:pt x="445" y="283"/>
                    </a:lnTo>
                    <a:lnTo>
                      <a:pt x="449" y="299"/>
                    </a:lnTo>
                    <a:lnTo>
                      <a:pt x="454" y="323"/>
                    </a:lnTo>
                    <a:lnTo>
                      <a:pt x="462" y="342"/>
                    </a:lnTo>
                    <a:lnTo>
                      <a:pt x="459" y="359"/>
                    </a:lnTo>
                    <a:lnTo>
                      <a:pt x="448" y="364"/>
                    </a:lnTo>
                    <a:lnTo>
                      <a:pt x="438" y="361"/>
                    </a:lnTo>
                    <a:lnTo>
                      <a:pt x="437" y="344"/>
                    </a:lnTo>
                    <a:lnTo>
                      <a:pt x="425" y="350"/>
                    </a:lnTo>
                    <a:lnTo>
                      <a:pt x="425" y="363"/>
                    </a:lnTo>
                    <a:lnTo>
                      <a:pt x="416" y="368"/>
                    </a:lnTo>
                    <a:lnTo>
                      <a:pt x="402" y="368"/>
                    </a:lnTo>
                    <a:lnTo>
                      <a:pt x="391" y="373"/>
                    </a:lnTo>
                    <a:lnTo>
                      <a:pt x="377" y="378"/>
                    </a:lnTo>
                    <a:lnTo>
                      <a:pt x="363" y="388"/>
                    </a:lnTo>
                    <a:lnTo>
                      <a:pt x="349" y="395"/>
                    </a:lnTo>
                    <a:lnTo>
                      <a:pt x="341" y="406"/>
                    </a:lnTo>
                    <a:lnTo>
                      <a:pt x="324" y="412"/>
                    </a:lnTo>
                    <a:lnTo>
                      <a:pt x="325" y="424"/>
                    </a:lnTo>
                    <a:lnTo>
                      <a:pt x="323" y="436"/>
                    </a:lnTo>
                    <a:lnTo>
                      <a:pt x="327" y="457"/>
                    </a:lnTo>
                    <a:lnTo>
                      <a:pt x="338" y="472"/>
                    </a:lnTo>
                    <a:lnTo>
                      <a:pt x="346" y="481"/>
                    </a:lnTo>
                    <a:lnTo>
                      <a:pt x="348" y="487"/>
                    </a:lnTo>
                    <a:lnTo>
                      <a:pt x="359" y="495"/>
                    </a:lnTo>
                    <a:lnTo>
                      <a:pt x="370" y="503"/>
                    </a:lnTo>
                    <a:lnTo>
                      <a:pt x="380" y="513"/>
                    </a:lnTo>
                    <a:lnTo>
                      <a:pt x="386" y="525"/>
                    </a:lnTo>
                    <a:lnTo>
                      <a:pt x="391" y="532"/>
                    </a:lnTo>
                    <a:lnTo>
                      <a:pt x="385" y="546"/>
                    </a:lnTo>
                    <a:lnTo>
                      <a:pt x="367" y="560"/>
                    </a:lnTo>
                    <a:lnTo>
                      <a:pt x="345" y="569"/>
                    </a:lnTo>
                    <a:lnTo>
                      <a:pt x="335" y="570"/>
                    </a:lnTo>
                    <a:lnTo>
                      <a:pt x="331" y="587"/>
                    </a:lnTo>
                    <a:lnTo>
                      <a:pt x="339" y="595"/>
                    </a:lnTo>
                    <a:lnTo>
                      <a:pt x="343" y="609"/>
                    </a:lnTo>
                    <a:lnTo>
                      <a:pt x="342" y="619"/>
                    </a:lnTo>
                    <a:lnTo>
                      <a:pt x="334" y="621"/>
                    </a:lnTo>
                    <a:lnTo>
                      <a:pt x="328" y="612"/>
                    </a:lnTo>
                    <a:lnTo>
                      <a:pt x="320" y="605"/>
                    </a:lnTo>
                    <a:lnTo>
                      <a:pt x="306" y="602"/>
                    </a:lnTo>
                    <a:lnTo>
                      <a:pt x="294" y="602"/>
                    </a:lnTo>
                    <a:lnTo>
                      <a:pt x="286" y="614"/>
                    </a:lnTo>
                    <a:lnTo>
                      <a:pt x="268" y="613"/>
                    </a:lnTo>
                    <a:lnTo>
                      <a:pt x="252" y="616"/>
                    </a:lnTo>
                    <a:lnTo>
                      <a:pt x="246" y="624"/>
                    </a:lnTo>
                    <a:lnTo>
                      <a:pt x="236" y="628"/>
                    </a:lnTo>
                    <a:lnTo>
                      <a:pt x="225" y="623"/>
                    </a:lnTo>
                    <a:lnTo>
                      <a:pt x="223" y="618"/>
                    </a:lnTo>
                    <a:lnTo>
                      <a:pt x="216" y="610"/>
                    </a:lnTo>
                    <a:lnTo>
                      <a:pt x="204" y="609"/>
                    </a:lnTo>
                    <a:lnTo>
                      <a:pt x="189" y="609"/>
                    </a:lnTo>
                    <a:lnTo>
                      <a:pt x="168" y="606"/>
                    </a:lnTo>
                    <a:lnTo>
                      <a:pt x="156" y="606"/>
                    </a:lnTo>
                    <a:lnTo>
                      <a:pt x="149" y="597"/>
                    </a:lnTo>
                    <a:lnTo>
                      <a:pt x="144" y="589"/>
                    </a:lnTo>
                    <a:lnTo>
                      <a:pt x="134" y="580"/>
                    </a:lnTo>
                    <a:lnTo>
                      <a:pt x="117" y="592"/>
                    </a:lnTo>
                    <a:lnTo>
                      <a:pt x="115" y="581"/>
                    </a:lnTo>
                    <a:lnTo>
                      <a:pt x="103" y="578"/>
                    </a:lnTo>
                    <a:lnTo>
                      <a:pt x="83" y="600"/>
                    </a:lnTo>
                    <a:lnTo>
                      <a:pt x="68" y="600"/>
                    </a:lnTo>
                    <a:lnTo>
                      <a:pt x="56" y="592"/>
                    </a:lnTo>
                    <a:lnTo>
                      <a:pt x="47" y="590"/>
                    </a:lnTo>
                    <a:lnTo>
                      <a:pt x="47" y="570"/>
                    </a:lnTo>
                    <a:lnTo>
                      <a:pt x="57" y="551"/>
                    </a:lnTo>
                    <a:lnTo>
                      <a:pt x="62" y="542"/>
                    </a:lnTo>
                    <a:lnTo>
                      <a:pt x="72" y="530"/>
                    </a:lnTo>
                    <a:lnTo>
                      <a:pt x="77" y="520"/>
                    </a:lnTo>
                    <a:lnTo>
                      <a:pt x="81" y="508"/>
                    </a:lnTo>
                    <a:lnTo>
                      <a:pt x="103" y="479"/>
                    </a:lnTo>
                    <a:lnTo>
                      <a:pt x="84" y="473"/>
                    </a:lnTo>
                    <a:lnTo>
                      <a:pt x="67" y="467"/>
                    </a:lnTo>
                    <a:lnTo>
                      <a:pt x="52" y="461"/>
                    </a:lnTo>
                    <a:lnTo>
                      <a:pt x="32" y="450"/>
                    </a:lnTo>
                    <a:lnTo>
                      <a:pt x="19" y="438"/>
                    </a:lnTo>
                    <a:lnTo>
                      <a:pt x="7" y="426"/>
                    </a:lnTo>
                    <a:lnTo>
                      <a:pt x="11" y="409"/>
                    </a:lnTo>
                    <a:lnTo>
                      <a:pt x="17" y="389"/>
                    </a:lnTo>
                    <a:lnTo>
                      <a:pt x="12" y="368"/>
                    </a:lnTo>
                    <a:lnTo>
                      <a:pt x="9" y="349"/>
                    </a:lnTo>
                    <a:lnTo>
                      <a:pt x="7" y="335"/>
                    </a:lnTo>
                    <a:lnTo>
                      <a:pt x="7" y="318"/>
                    </a:lnTo>
                    <a:lnTo>
                      <a:pt x="0" y="299"/>
                    </a:lnTo>
                    <a:lnTo>
                      <a:pt x="14" y="289"/>
                    </a:lnTo>
                    <a:lnTo>
                      <a:pt x="31" y="272"/>
                    </a:lnTo>
                    <a:lnTo>
                      <a:pt x="24" y="256"/>
                    </a:lnTo>
                    <a:lnTo>
                      <a:pt x="17" y="246"/>
                    </a:lnTo>
                    <a:lnTo>
                      <a:pt x="34" y="232"/>
                    </a:lnTo>
                    <a:lnTo>
                      <a:pt x="48" y="244"/>
                    </a:lnTo>
                    <a:lnTo>
                      <a:pt x="60" y="235"/>
                    </a:lnTo>
                    <a:lnTo>
                      <a:pt x="74" y="219"/>
                    </a:lnTo>
                    <a:lnTo>
                      <a:pt x="81" y="201"/>
                    </a:lnTo>
                    <a:lnTo>
                      <a:pt x="67" y="191"/>
                    </a:lnTo>
                    <a:lnTo>
                      <a:pt x="70" y="176"/>
                    </a:lnTo>
                    <a:lnTo>
                      <a:pt x="84" y="182"/>
                    </a:lnTo>
                    <a:lnTo>
                      <a:pt x="92" y="167"/>
                    </a:lnTo>
                    <a:lnTo>
                      <a:pt x="102" y="145"/>
                    </a:lnTo>
                    <a:lnTo>
                      <a:pt x="103" y="124"/>
                    </a:lnTo>
                    <a:close/>
                  </a:path>
                </a:pathLst>
              </a:custGeom>
              <a:pattFill prst="wdDnDiag">
                <a:fgClr>
                  <a:srgbClr val="1D8C9B"/>
                </a:fgClr>
                <a:bgClr>
                  <a:srgbClr val="DCDCDC"/>
                </a:bgClr>
              </a:patt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69" name="Freeform 7"/>
              <p:cNvSpPr>
                <a:spLocks noChangeAspect="1"/>
              </p:cNvSpPr>
              <p:nvPr/>
            </p:nvSpPr>
            <p:spPr bwMode="auto">
              <a:xfrm>
                <a:off x="3313601" y="4861423"/>
                <a:ext cx="29667" cy="29667"/>
              </a:xfrm>
              <a:custGeom>
                <a:avLst/>
                <a:gdLst>
                  <a:gd name="T0" fmla="*/ 24 w 20"/>
                  <a:gd name="T1" fmla="*/ 11 h 20"/>
                  <a:gd name="T2" fmla="*/ 14 w 20"/>
                  <a:gd name="T3" fmla="*/ 24 h 20"/>
                  <a:gd name="T4" fmla="*/ 0 w 20"/>
                  <a:gd name="T5" fmla="*/ 0 h 20"/>
                  <a:gd name="T6" fmla="*/ 14 w 20"/>
                  <a:gd name="T7" fmla="*/ 0 h 20"/>
                  <a:gd name="T8" fmla="*/ 23 w 20"/>
                  <a:gd name="T9" fmla="*/ 4 h 20"/>
                  <a:gd name="T10" fmla="*/ 24 w 20"/>
                  <a:gd name="T11" fmla="*/ 11 h 20"/>
                  <a:gd name="T12" fmla="*/ 0 60000 65536"/>
                  <a:gd name="T13" fmla="*/ 0 60000 65536"/>
                  <a:gd name="T14" fmla="*/ 0 60000 65536"/>
                  <a:gd name="T15" fmla="*/ 0 60000 65536"/>
                  <a:gd name="T16" fmla="*/ 0 60000 65536"/>
                  <a:gd name="T17" fmla="*/ 0 60000 65536"/>
                  <a:gd name="T18" fmla="*/ 0 w 20"/>
                  <a:gd name="T19" fmla="*/ 0 h 20"/>
                  <a:gd name="T20" fmla="*/ 20 w 20"/>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20" h="20">
                    <a:moveTo>
                      <a:pt x="20" y="9"/>
                    </a:moveTo>
                    <a:lnTo>
                      <a:pt x="12" y="20"/>
                    </a:lnTo>
                    <a:lnTo>
                      <a:pt x="0" y="0"/>
                    </a:lnTo>
                    <a:lnTo>
                      <a:pt x="12" y="0"/>
                    </a:lnTo>
                    <a:lnTo>
                      <a:pt x="19" y="3"/>
                    </a:lnTo>
                    <a:lnTo>
                      <a:pt x="20" y="9"/>
                    </a:lnTo>
                    <a:close/>
                  </a:path>
                </a:pathLst>
              </a:custGeom>
              <a:solidFill>
                <a:srgbClr val="FFFFFF"/>
              </a:solidFill>
              <a:ln w="0">
                <a:solidFill>
                  <a:srgbClr val="DCDCDC"/>
                </a:solidFill>
                <a:prstDash val="solid"/>
                <a:round/>
                <a:headEnd/>
                <a:tailEnd/>
              </a:ln>
            </p:spPr>
            <p:txBody>
              <a:bodyPr/>
              <a:lstStyle/>
              <a:p>
                <a:pPr defTabSz="457189"/>
                <a:endParaRPr lang="fr-FR" dirty="0">
                  <a:solidFill>
                    <a:prstClr val="black"/>
                  </a:solidFill>
                  <a:latin typeface="Arial"/>
                </a:endParaRPr>
              </a:p>
            </p:txBody>
          </p:sp>
          <p:sp>
            <p:nvSpPr>
              <p:cNvPr id="70" name="Freeform 8"/>
              <p:cNvSpPr>
                <a:spLocks noChangeAspect="1" noEditPoints="1"/>
              </p:cNvSpPr>
              <p:nvPr/>
            </p:nvSpPr>
            <p:spPr bwMode="auto">
              <a:xfrm>
                <a:off x="6899654" y="4971439"/>
                <a:ext cx="349829" cy="232395"/>
              </a:xfrm>
              <a:custGeom>
                <a:avLst/>
                <a:gdLst>
                  <a:gd name="T0" fmla="*/ 117 w 238"/>
                  <a:gd name="T1" fmla="*/ 65 h 158"/>
                  <a:gd name="T2" fmla="*/ 107 w 238"/>
                  <a:gd name="T3" fmla="*/ 63 h 158"/>
                  <a:gd name="T4" fmla="*/ 126 w 238"/>
                  <a:gd name="T5" fmla="*/ 79 h 158"/>
                  <a:gd name="T6" fmla="*/ 145 w 238"/>
                  <a:gd name="T7" fmla="*/ 94 h 158"/>
                  <a:gd name="T8" fmla="*/ 164 w 238"/>
                  <a:gd name="T9" fmla="*/ 82 h 158"/>
                  <a:gd name="T10" fmla="*/ 150 w 238"/>
                  <a:gd name="T11" fmla="*/ 62 h 158"/>
                  <a:gd name="T12" fmla="*/ 142 w 238"/>
                  <a:gd name="T13" fmla="*/ 51 h 158"/>
                  <a:gd name="T14" fmla="*/ 117 w 238"/>
                  <a:gd name="T15" fmla="*/ 55 h 158"/>
                  <a:gd name="T16" fmla="*/ 117 w 238"/>
                  <a:gd name="T17" fmla="*/ 65 h 158"/>
                  <a:gd name="T18" fmla="*/ 117 w 238"/>
                  <a:gd name="T19" fmla="*/ 0 h 158"/>
                  <a:gd name="T20" fmla="*/ 98 w 238"/>
                  <a:gd name="T21" fmla="*/ 0 h 158"/>
                  <a:gd name="T22" fmla="*/ 75 w 238"/>
                  <a:gd name="T23" fmla="*/ 0 h 158"/>
                  <a:gd name="T24" fmla="*/ 48 w 238"/>
                  <a:gd name="T25" fmla="*/ 8 h 158"/>
                  <a:gd name="T26" fmla="*/ 34 w 238"/>
                  <a:gd name="T27" fmla="*/ 17 h 158"/>
                  <a:gd name="T28" fmla="*/ 17 w 238"/>
                  <a:gd name="T29" fmla="*/ 31 h 158"/>
                  <a:gd name="T30" fmla="*/ 6 w 238"/>
                  <a:gd name="T31" fmla="*/ 46 h 158"/>
                  <a:gd name="T32" fmla="*/ 7 w 238"/>
                  <a:gd name="T33" fmla="*/ 59 h 158"/>
                  <a:gd name="T34" fmla="*/ 0 w 238"/>
                  <a:gd name="T35" fmla="*/ 86 h 158"/>
                  <a:gd name="T36" fmla="*/ 17 w 238"/>
                  <a:gd name="T37" fmla="*/ 108 h 158"/>
                  <a:gd name="T38" fmla="*/ 59 w 238"/>
                  <a:gd name="T39" fmla="*/ 111 h 158"/>
                  <a:gd name="T40" fmla="*/ 86 w 238"/>
                  <a:gd name="T41" fmla="*/ 109 h 158"/>
                  <a:gd name="T42" fmla="*/ 108 w 238"/>
                  <a:gd name="T43" fmla="*/ 117 h 158"/>
                  <a:gd name="T44" fmla="*/ 138 w 238"/>
                  <a:gd name="T45" fmla="*/ 118 h 158"/>
                  <a:gd name="T46" fmla="*/ 163 w 238"/>
                  <a:gd name="T47" fmla="*/ 136 h 158"/>
                  <a:gd name="T48" fmla="*/ 189 w 238"/>
                  <a:gd name="T49" fmla="*/ 151 h 158"/>
                  <a:gd name="T50" fmla="*/ 214 w 238"/>
                  <a:gd name="T51" fmla="*/ 163 h 158"/>
                  <a:gd name="T52" fmla="*/ 227 w 238"/>
                  <a:gd name="T53" fmla="*/ 174 h 158"/>
                  <a:gd name="T54" fmla="*/ 269 w 238"/>
                  <a:gd name="T55" fmla="*/ 188 h 158"/>
                  <a:gd name="T56" fmla="*/ 283 w 238"/>
                  <a:gd name="T57" fmla="*/ 165 h 158"/>
                  <a:gd name="T58" fmla="*/ 273 w 238"/>
                  <a:gd name="T59" fmla="*/ 159 h 158"/>
                  <a:gd name="T60" fmla="*/ 263 w 238"/>
                  <a:gd name="T61" fmla="*/ 146 h 158"/>
                  <a:gd name="T62" fmla="*/ 265 w 238"/>
                  <a:gd name="T63" fmla="*/ 123 h 158"/>
                  <a:gd name="T64" fmla="*/ 241 w 238"/>
                  <a:gd name="T65" fmla="*/ 109 h 158"/>
                  <a:gd name="T66" fmla="*/ 226 w 238"/>
                  <a:gd name="T67" fmla="*/ 129 h 158"/>
                  <a:gd name="T68" fmla="*/ 188 w 238"/>
                  <a:gd name="T69" fmla="*/ 96 h 158"/>
                  <a:gd name="T70" fmla="*/ 197 w 238"/>
                  <a:gd name="T71" fmla="*/ 77 h 158"/>
                  <a:gd name="T72" fmla="*/ 181 w 238"/>
                  <a:gd name="T73" fmla="*/ 58 h 158"/>
                  <a:gd name="T74" fmla="*/ 164 w 238"/>
                  <a:gd name="T75" fmla="*/ 45 h 158"/>
                  <a:gd name="T76" fmla="*/ 163 w 238"/>
                  <a:gd name="T77" fmla="*/ 20 h 158"/>
                  <a:gd name="T78" fmla="*/ 137 w 238"/>
                  <a:gd name="T79" fmla="*/ 23 h 158"/>
                  <a:gd name="T80" fmla="*/ 126 w 238"/>
                  <a:gd name="T81" fmla="*/ 8 h 158"/>
                  <a:gd name="T82" fmla="*/ 117 w 238"/>
                  <a:gd name="T83" fmla="*/ 0 h 1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8"/>
                  <a:gd name="T127" fmla="*/ 0 h 158"/>
                  <a:gd name="T128" fmla="*/ 238 w 238"/>
                  <a:gd name="T129" fmla="*/ 158 h 15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8" h="158">
                    <a:moveTo>
                      <a:pt x="98" y="55"/>
                    </a:moveTo>
                    <a:lnTo>
                      <a:pt x="90" y="53"/>
                    </a:lnTo>
                    <a:lnTo>
                      <a:pt x="106" y="66"/>
                    </a:lnTo>
                    <a:lnTo>
                      <a:pt x="122" y="79"/>
                    </a:lnTo>
                    <a:lnTo>
                      <a:pt x="138" y="69"/>
                    </a:lnTo>
                    <a:lnTo>
                      <a:pt x="126" y="52"/>
                    </a:lnTo>
                    <a:lnTo>
                      <a:pt x="119" y="43"/>
                    </a:lnTo>
                    <a:lnTo>
                      <a:pt x="98" y="46"/>
                    </a:lnTo>
                    <a:lnTo>
                      <a:pt x="98" y="55"/>
                    </a:lnTo>
                    <a:close/>
                    <a:moveTo>
                      <a:pt x="98" y="0"/>
                    </a:moveTo>
                    <a:lnTo>
                      <a:pt x="82" y="0"/>
                    </a:lnTo>
                    <a:lnTo>
                      <a:pt x="63" y="0"/>
                    </a:lnTo>
                    <a:lnTo>
                      <a:pt x="40" y="7"/>
                    </a:lnTo>
                    <a:lnTo>
                      <a:pt x="29" y="14"/>
                    </a:lnTo>
                    <a:lnTo>
                      <a:pt x="14" y="26"/>
                    </a:lnTo>
                    <a:lnTo>
                      <a:pt x="5" y="39"/>
                    </a:lnTo>
                    <a:lnTo>
                      <a:pt x="6" y="50"/>
                    </a:lnTo>
                    <a:lnTo>
                      <a:pt x="0" y="72"/>
                    </a:lnTo>
                    <a:lnTo>
                      <a:pt x="14" y="91"/>
                    </a:lnTo>
                    <a:lnTo>
                      <a:pt x="50" y="93"/>
                    </a:lnTo>
                    <a:lnTo>
                      <a:pt x="72" y="92"/>
                    </a:lnTo>
                    <a:lnTo>
                      <a:pt x="91" y="98"/>
                    </a:lnTo>
                    <a:lnTo>
                      <a:pt x="116" y="99"/>
                    </a:lnTo>
                    <a:lnTo>
                      <a:pt x="137" y="114"/>
                    </a:lnTo>
                    <a:lnTo>
                      <a:pt x="159" y="127"/>
                    </a:lnTo>
                    <a:lnTo>
                      <a:pt x="180" y="137"/>
                    </a:lnTo>
                    <a:lnTo>
                      <a:pt x="191" y="146"/>
                    </a:lnTo>
                    <a:lnTo>
                      <a:pt x="226" y="158"/>
                    </a:lnTo>
                    <a:lnTo>
                      <a:pt x="238" y="139"/>
                    </a:lnTo>
                    <a:lnTo>
                      <a:pt x="230" y="134"/>
                    </a:lnTo>
                    <a:lnTo>
                      <a:pt x="221" y="123"/>
                    </a:lnTo>
                    <a:lnTo>
                      <a:pt x="223" y="103"/>
                    </a:lnTo>
                    <a:lnTo>
                      <a:pt x="203" y="92"/>
                    </a:lnTo>
                    <a:lnTo>
                      <a:pt x="190" y="108"/>
                    </a:lnTo>
                    <a:lnTo>
                      <a:pt x="158" y="81"/>
                    </a:lnTo>
                    <a:lnTo>
                      <a:pt x="166" y="65"/>
                    </a:lnTo>
                    <a:lnTo>
                      <a:pt x="152" y="49"/>
                    </a:lnTo>
                    <a:lnTo>
                      <a:pt x="138" y="38"/>
                    </a:lnTo>
                    <a:lnTo>
                      <a:pt x="137" y="17"/>
                    </a:lnTo>
                    <a:lnTo>
                      <a:pt x="115" y="19"/>
                    </a:lnTo>
                    <a:lnTo>
                      <a:pt x="106" y="7"/>
                    </a:lnTo>
                    <a:lnTo>
                      <a:pt x="98" y="0"/>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71" name="Freeform 9"/>
              <p:cNvSpPr>
                <a:spLocks noChangeAspect="1"/>
              </p:cNvSpPr>
              <p:nvPr/>
            </p:nvSpPr>
            <p:spPr bwMode="auto">
              <a:xfrm>
                <a:off x="4125747" y="4291560"/>
                <a:ext cx="547612" cy="295438"/>
              </a:xfrm>
              <a:custGeom>
                <a:avLst/>
                <a:gdLst>
                  <a:gd name="T0" fmla="*/ 4 w 372"/>
                  <a:gd name="T1" fmla="*/ 121 h 201"/>
                  <a:gd name="T2" fmla="*/ 4 w 372"/>
                  <a:gd name="T3" fmla="*/ 147 h 201"/>
                  <a:gd name="T4" fmla="*/ 18 w 372"/>
                  <a:gd name="T5" fmla="*/ 170 h 201"/>
                  <a:gd name="T6" fmla="*/ 36 w 372"/>
                  <a:gd name="T7" fmla="*/ 191 h 201"/>
                  <a:gd name="T8" fmla="*/ 68 w 372"/>
                  <a:gd name="T9" fmla="*/ 178 h 201"/>
                  <a:gd name="T10" fmla="*/ 100 w 372"/>
                  <a:gd name="T11" fmla="*/ 156 h 201"/>
                  <a:gd name="T12" fmla="*/ 126 w 372"/>
                  <a:gd name="T13" fmla="*/ 182 h 201"/>
                  <a:gd name="T14" fmla="*/ 161 w 372"/>
                  <a:gd name="T15" fmla="*/ 197 h 201"/>
                  <a:gd name="T16" fmla="*/ 192 w 372"/>
                  <a:gd name="T17" fmla="*/ 202 h 201"/>
                  <a:gd name="T18" fmla="*/ 222 w 372"/>
                  <a:gd name="T19" fmla="*/ 207 h 201"/>
                  <a:gd name="T20" fmla="*/ 261 w 372"/>
                  <a:gd name="T21" fmla="*/ 216 h 201"/>
                  <a:gd name="T22" fmla="*/ 285 w 372"/>
                  <a:gd name="T23" fmla="*/ 229 h 201"/>
                  <a:gd name="T24" fmla="*/ 301 w 372"/>
                  <a:gd name="T25" fmla="*/ 235 h 201"/>
                  <a:gd name="T26" fmla="*/ 310 w 372"/>
                  <a:gd name="T27" fmla="*/ 213 h 201"/>
                  <a:gd name="T28" fmla="*/ 332 w 372"/>
                  <a:gd name="T29" fmla="*/ 212 h 201"/>
                  <a:gd name="T30" fmla="*/ 348 w 372"/>
                  <a:gd name="T31" fmla="*/ 221 h 201"/>
                  <a:gd name="T32" fmla="*/ 362 w 372"/>
                  <a:gd name="T33" fmla="*/ 218 h 201"/>
                  <a:gd name="T34" fmla="*/ 380 w 372"/>
                  <a:gd name="T35" fmla="*/ 205 h 201"/>
                  <a:gd name="T36" fmla="*/ 375 w 372"/>
                  <a:gd name="T37" fmla="*/ 189 h 201"/>
                  <a:gd name="T38" fmla="*/ 391 w 372"/>
                  <a:gd name="T39" fmla="*/ 174 h 201"/>
                  <a:gd name="T40" fmla="*/ 408 w 372"/>
                  <a:gd name="T41" fmla="*/ 145 h 201"/>
                  <a:gd name="T42" fmla="*/ 391 w 372"/>
                  <a:gd name="T43" fmla="*/ 136 h 201"/>
                  <a:gd name="T44" fmla="*/ 403 w 372"/>
                  <a:gd name="T45" fmla="*/ 112 h 201"/>
                  <a:gd name="T46" fmla="*/ 431 w 372"/>
                  <a:gd name="T47" fmla="*/ 111 h 201"/>
                  <a:gd name="T48" fmla="*/ 432 w 372"/>
                  <a:gd name="T49" fmla="*/ 89 h 201"/>
                  <a:gd name="T50" fmla="*/ 442 w 372"/>
                  <a:gd name="T51" fmla="*/ 59 h 201"/>
                  <a:gd name="T52" fmla="*/ 436 w 372"/>
                  <a:gd name="T53" fmla="*/ 31 h 201"/>
                  <a:gd name="T54" fmla="*/ 399 w 372"/>
                  <a:gd name="T55" fmla="*/ 17 h 201"/>
                  <a:gd name="T56" fmla="*/ 367 w 372"/>
                  <a:gd name="T57" fmla="*/ 7 h 201"/>
                  <a:gd name="T58" fmla="*/ 330 w 372"/>
                  <a:gd name="T59" fmla="*/ 1 h 201"/>
                  <a:gd name="T60" fmla="*/ 301 w 372"/>
                  <a:gd name="T61" fmla="*/ 18 h 201"/>
                  <a:gd name="T62" fmla="*/ 277 w 372"/>
                  <a:gd name="T63" fmla="*/ 29 h 201"/>
                  <a:gd name="T64" fmla="*/ 247 w 372"/>
                  <a:gd name="T65" fmla="*/ 30 h 201"/>
                  <a:gd name="T66" fmla="*/ 233 w 372"/>
                  <a:gd name="T67" fmla="*/ 36 h 201"/>
                  <a:gd name="T68" fmla="*/ 186 w 372"/>
                  <a:gd name="T69" fmla="*/ 63 h 201"/>
                  <a:gd name="T70" fmla="*/ 169 w 372"/>
                  <a:gd name="T71" fmla="*/ 84 h 201"/>
                  <a:gd name="T72" fmla="*/ 183 w 372"/>
                  <a:gd name="T73" fmla="*/ 111 h 201"/>
                  <a:gd name="T74" fmla="*/ 173 w 372"/>
                  <a:gd name="T75" fmla="*/ 125 h 201"/>
                  <a:gd name="T76" fmla="*/ 156 w 372"/>
                  <a:gd name="T77" fmla="*/ 106 h 201"/>
                  <a:gd name="T78" fmla="*/ 125 w 372"/>
                  <a:gd name="T79" fmla="*/ 102 h 201"/>
                  <a:gd name="T80" fmla="*/ 94 w 372"/>
                  <a:gd name="T81" fmla="*/ 115 h 201"/>
                  <a:gd name="T82" fmla="*/ 68 w 372"/>
                  <a:gd name="T83" fmla="*/ 128 h 201"/>
                  <a:gd name="T84" fmla="*/ 43 w 372"/>
                  <a:gd name="T85" fmla="*/ 127 h 201"/>
                  <a:gd name="T86" fmla="*/ 32 w 372"/>
                  <a:gd name="T87" fmla="*/ 112 h 201"/>
                  <a:gd name="T88" fmla="*/ 0 w 372"/>
                  <a:gd name="T89" fmla="*/ 111 h 2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72"/>
                  <a:gd name="T136" fmla="*/ 0 h 201"/>
                  <a:gd name="T137" fmla="*/ 372 w 372"/>
                  <a:gd name="T138" fmla="*/ 201 h 2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72" h="201">
                    <a:moveTo>
                      <a:pt x="0" y="93"/>
                    </a:moveTo>
                    <a:lnTo>
                      <a:pt x="3" y="102"/>
                    </a:lnTo>
                    <a:lnTo>
                      <a:pt x="7" y="112"/>
                    </a:lnTo>
                    <a:lnTo>
                      <a:pt x="3" y="124"/>
                    </a:lnTo>
                    <a:lnTo>
                      <a:pt x="10" y="132"/>
                    </a:lnTo>
                    <a:lnTo>
                      <a:pt x="15" y="143"/>
                    </a:lnTo>
                    <a:lnTo>
                      <a:pt x="20" y="148"/>
                    </a:lnTo>
                    <a:lnTo>
                      <a:pt x="30" y="161"/>
                    </a:lnTo>
                    <a:lnTo>
                      <a:pt x="47" y="158"/>
                    </a:lnTo>
                    <a:lnTo>
                      <a:pt x="57" y="150"/>
                    </a:lnTo>
                    <a:lnTo>
                      <a:pt x="66" y="138"/>
                    </a:lnTo>
                    <a:lnTo>
                      <a:pt x="84" y="131"/>
                    </a:lnTo>
                    <a:lnTo>
                      <a:pt x="98" y="136"/>
                    </a:lnTo>
                    <a:lnTo>
                      <a:pt x="106" y="153"/>
                    </a:lnTo>
                    <a:lnTo>
                      <a:pt x="118" y="161"/>
                    </a:lnTo>
                    <a:lnTo>
                      <a:pt x="135" y="166"/>
                    </a:lnTo>
                    <a:lnTo>
                      <a:pt x="148" y="169"/>
                    </a:lnTo>
                    <a:lnTo>
                      <a:pt x="161" y="170"/>
                    </a:lnTo>
                    <a:lnTo>
                      <a:pt x="178" y="174"/>
                    </a:lnTo>
                    <a:lnTo>
                      <a:pt x="186" y="174"/>
                    </a:lnTo>
                    <a:lnTo>
                      <a:pt x="205" y="177"/>
                    </a:lnTo>
                    <a:lnTo>
                      <a:pt x="219" y="182"/>
                    </a:lnTo>
                    <a:lnTo>
                      <a:pt x="231" y="184"/>
                    </a:lnTo>
                    <a:lnTo>
                      <a:pt x="239" y="193"/>
                    </a:lnTo>
                    <a:lnTo>
                      <a:pt x="246" y="201"/>
                    </a:lnTo>
                    <a:lnTo>
                      <a:pt x="253" y="198"/>
                    </a:lnTo>
                    <a:lnTo>
                      <a:pt x="255" y="186"/>
                    </a:lnTo>
                    <a:lnTo>
                      <a:pt x="260" y="179"/>
                    </a:lnTo>
                    <a:lnTo>
                      <a:pt x="270" y="178"/>
                    </a:lnTo>
                    <a:lnTo>
                      <a:pt x="279" y="178"/>
                    </a:lnTo>
                    <a:lnTo>
                      <a:pt x="288" y="179"/>
                    </a:lnTo>
                    <a:lnTo>
                      <a:pt x="292" y="186"/>
                    </a:lnTo>
                    <a:lnTo>
                      <a:pt x="301" y="193"/>
                    </a:lnTo>
                    <a:lnTo>
                      <a:pt x="304" y="183"/>
                    </a:lnTo>
                    <a:lnTo>
                      <a:pt x="310" y="172"/>
                    </a:lnTo>
                    <a:lnTo>
                      <a:pt x="319" y="172"/>
                    </a:lnTo>
                    <a:lnTo>
                      <a:pt x="314" y="167"/>
                    </a:lnTo>
                    <a:lnTo>
                      <a:pt x="315" y="159"/>
                    </a:lnTo>
                    <a:lnTo>
                      <a:pt x="322" y="154"/>
                    </a:lnTo>
                    <a:lnTo>
                      <a:pt x="328" y="146"/>
                    </a:lnTo>
                    <a:lnTo>
                      <a:pt x="337" y="132"/>
                    </a:lnTo>
                    <a:lnTo>
                      <a:pt x="343" y="122"/>
                    </a:lnTo>
                    <a:lnTo>
                      <a:pt x="333" y="119"/>
                    </a:lnTo>
                    <a:lnTo>
                      <a:pt x="328" y="114"/>
                    </a:lnTo>
                    <a:lnTo>
                      <a:pt x="328" y="99"/>
                    </a:lnTo>
                    <a:lnTo>
                      <a:pt x="338" y="94"/>
                    </a:lnTo>
                    <a:lnTo>
                      <a:pt x="350" y="94"/>
                    </a:lnTo>
                    <a:lnTo>
                      <a:pt x="362" y="93"/>
                    </a:lnTo>
                    <a:lnTo>
                      <a:pt x="363" y="86"/>
                    </a:lnTo>
                    <a:lnTo>
                      <a:pt x="363" y="75"/>
                    </a:lnTo>
                    <a:lnTo>
                      <a:pt x="372" y="72"/>
                    </a:lnTo>
                    <a:lnTo>
                      <a:pt x="371" y="50"/>
                    </a:lnTo>
                    <a:lnTo>
                      <a:pt x="367" y="40"/>
                    </a:lnTo>
                    <a:lnTo>
                      <a:pt x="366" y="26"/>
                    </a:lnTo>
                    <a:lnTo>
                      <a:pt x="355" y="20"/>
                    </a:lnTo>
                    <a:lnTo>
                      <a:pt x="335" y="14"/>
                    </a:lnTo>
                    <a:lnTo>
                      <a:pt x="323" y="11"/>
                    </a:lnTo>
                    <a:lnTo>
                      <a:pt x="308" y="6"/>
                    </a:lnTo>
                    <a:lnTo>
                      <a:pt x="298" y="2"/>
                    </a:lnTo>
                    <a:lnTo>
                      <a:pt x="277" y="1"/>
                    </a:lnTo>
                    <a:lnTo>
                      <a:pt x="262" y="0"/>
                    </a:lnTo>
                    <a:lnTo>
                      <a:pt x="253" y="15"/>
                    </a:lnTo>
                    <a:lnTo>
                      <a:pt x="244" y="24"/>
                    </a:lnTo>
                    <a:lnTo>
                      <a:pt x="233" y="24"/>
                    </a:lnTo>
                    <a:lnTo>
                      <a:pt x="219" y="25"/>
                    </a:lnTo>
                    <a:lnTo>
                      <a:pt x="207" y="25"/>
                    </a:lnTo>
                    <a:lnTo>
                      <a:pt x="202" y="16"/>
                    </a:lnTo>
                    <a:lnTo>
                      <a:pt x="196" y="30"/>
                    </a:lnTo>
                    <a:lnTo>
                      <a:pt x="178" y="44"/>
                    </a:lnTo>
                    <a:lnTo>
                      <a:pt x="156" y="53"/>
                    </a:lnTo>
                    <a:lnTo>
                      <a:pt x="146" y="54"/>
                    </a:lnTo>
                    <a:lnTo>
                      <a:pt x="142" y="71"/>
                    </a:lnTo>
                    <a:lnTo>
                      <a:pt x="150" y="79"/>
                    </a:lnTo>
                    <a:lnTo>
                      <a:pt x="154" y="93"/>
                    </a:lnTo>
                    <a:lnTo>
                      <a:pt x="153" y="103"/>
                    </a:lnTo>
                    <a:lnTo>
                      <a:pt x="145" y="105"/>
                    </a:lnTo>
                    <a:lnTo>
                      <a:pt x="139" y="96"/>
                    </a:lnTo>
                    <a:lnTo>
                      <a:pt x="131" y="89"/>
                    </a:lnTo>
                    <a:lnTo>
                      <a:pt x="117" y="86"/>
                    </a:lnTo>
                    <a:lnTo>
                      <a:pt x="105" y="86"/>
                    </a:lnTo>
                    <a:lnTo>
                      <a:pt x="97" y="98"/>
                    </a:lnTo>
                    <a:lnTo>
                      <a:pt x="79" y="97"/>
                    </a:lnTo>
                    <a:lnTo>
                      <a:pt x="63" y="100"/>
                    </a:lnTo>
                    <a:lnTo>
                      <a:pt x="57" y="108"/>
                    </a:lnTo>
                    <a:lnTo>
                      <a:pt x="47" y="112"/>
                    </a:lnTo>
                    <a:lnTo>
                      <a:pt x="36" y="107"/>
                    </a:lnTo>
                    <a:lnTo>
                      <a:pt x="34" y="102"/>
                    </a:lnTo>
                    <a:lnTo>
                      <a:pt x="27" y="94"/>
                    </a:lnTo>
                    <a:lnTo>
                      <a:pt x="15" y="93"/>
                    </a:lnTo>
                    <a:lnTo>
                      <a:pt x="0" y="93"/>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72" name="Freeform 10"/>
              <p:cNvSpPr>
                <a:spLocks noChangeAspect="1" noEditPoints="1"/>
              </p:cNvSpPr>
              <p:nvPr/>
            </p:nvSpPr>
            <p:spPr bwMode="auto">
              <a:xfrm>
                <a:off x="7004726" y="4805796"/>
                <a:ext cx="536486" cy="440067"/>
              </a:xfrm>
              <a:custGeom>
                <a:avLst/>
                <a:gdLst>
                  <a:gd name="T0" fmla="*/ 434 w 365"/>
                  <a:gd name="T1" fmla="*/ 106 h 300"/>
                  <a:gd name="T2" fmla="*/ 407 w 365"/>
                  <a:gd name="T3" fmla="*/ 91 h 300"/>
                  <a:gd name="T4" fmla="*/ 361 w 365"/>
                  <a:gd name="T5" fmla="*/ 96 h 300"/>
                  <a:gd name="T6" fmla="*/ 314 w 365"/>
                  <a:gd name="T7" fmla="*/ 43 h 300"/>
                  <a:gd name="T8" fmla="*/ 268 w 365"/>
                  <a:gd name="T9" fmla="*/ 8 h 300"/>
                  <a:gd name="T10" fmla="*/ 244 w 365"/>
                  <a:gd name="T11" fmla="*/ 21 h 300"/>
                  <a:gd name="T12" fmla="*/ 200 w 365"/>
                  <a:gd name="T13" fmla="*/ 88 h 300"/>
                  <a:gd name="T14" fmla="*/ 132 w 365"/>
                  <a:gd name="T15" fmla="*/ 51 h 300"/>
                  <a:gd name="T16" fmla="*/ 96 w 365"/>
                  <a:gd name="T17" fmla="*/ 49 h 300"/>
                  <a:gd name="T18" fmla="*/ 83 w 365"/>
                  <a:gd name="T19" fmla="*/ 76 h 300"/>
                  <a:gd name="T20" fmla="*/ 122 w 365"/>
                  <a:gd name="T21" fmla="*/ 91 h 300"/>
                  <a:gd name="T22" fmla="*/ 102 w 365"/>
                  <a:gd name="T23" fmla="*/ 116 h 300"/>
                  <a:gd name="T24" fmla="*/ 69 w 365"/>
                  <a:gd name="T25" fmla="*/ 125 h 300"/>
                  <a:gd name="T26" fmla="*/ 31 w 365"/>
                  <a:gd name="T27" fmla="*/ 134 h 300"/>
                  <a:gd name="T28" fmla="*/ 51 w 365"/>
                  <a:gd name="T29" fmla="*/ 157 h 300"/>
                  <a:gd name="T30" fmla="*/ 78 w 365"/>
                  <a:gd name="T31" fmla="*/ 179 h 300"/>
                  <a:gd name="T32" fmla="*/ 112 w 365"/>
                  <a:gd name="T33" fmla="*/ 211 h 300"/>
                  <a:gd name="T34" fmla="*/ 140 w 365"/>
                  <a:gd name="T35" fmla="*/ 262 h 300"/>
                  <a:gd name="T36" fmla="*/ 180 w 365"/>
                  <a:gd name="T37" fmla="*/ 256 h 300"/>
                  <a:gd name="T38" fmla="*/ 188 w 365"/>
                  <a:gd name="T39" fmla="*/ 293 h 300"/>
                  <a:gd name="T40" fmla="*/ 215 w 365"/>
                  <a:gd name="T41" fmla="*/ 276 h 300"/>
                  <a:gd name="T42" fmla="*/ 244 w 365"/>
                  <a:gd name="T43" fmla="*/ 240 h 300"/>
                  <a:gd name="T44" fmla="*/ 282 w 365"/>
                  <a:gd name="T45" fmla="*/ 230 h 300"/>
                  <a:gd name="T46" fmla="*/ 306 w 365"/>
                  <a:gd name="T47" fmla="*/ 256 h 300"/>
                  <a:gd name="T48" fmla="*/ 301 w 365"/>
                  <a:gd name="T49" fmla="*/ 304 h 300"/>
                  <a:gd name="T50" fmla="*/ 350 w 365"/>
                  <a:gd name="T51" fmla="*/ 328 h 300"/>
                  <a:gd name="T52" fmla="*/ 357 w 365"/>
                  <a:gd name="T53" fmla="*/ 307 h 300"/>
                  <a:gd name="T54" fmla="*/ 359 w 365"/>
                  <a:gd name="T55" fmla="*/ 271 h 300"/>
                  <a:gd name="T56" fmla="*/ 370 w 365"/>
                  <a:gd name="T57" fmla="*/ 247 h 300"/>
                  <a:gd name="T58" fmla="*/ 401 w 365"/>
                  <a:gd name="T59" fmla="*/ 248 h 300"/>
                  <a:gd name="T60" fmla="*/ 378 w 365"/>
                  <a:gd name="T61" fmla="*/ 224 h 300"/>
                  <a:gd name="T62" fmla="*/ 360 w 365"/>
                  <a:gd name="T63" fmla="*/ 195 h 300"/>
                  <a:gd name="T64" fmla="*/ 383 w 365"/>
                  <a:gd name="T65" fmla="*/ 126 h 300"/>
                  <a:gd name="T66" fmla="*/ 419 w 365"/>
                  <a:gd name="T67" fmla="*/ 120 h 300"/>
                  <a:gd name="T68" fmla="*/ 6 w 365"/>
                  <a:gd name="T69" fmla="*/ 254 h 300"/>
                  <a:gd name="T70" fmla="*/ 29 w 365"/>
                  <a:gd name="T71" fmla="*/ 288 h 300"/>
                  <a:gd name="T72" fmla="*/ 74 w 365"/>
                  <a:gd name="T73" fmla="*/ 320 h 300"/>
                  <a:gd name="T74" fmla="*/ 134 w 365"/>
                  <a:gd name="T75" fmla="*/ 356 h 300"/>
                  <a:gd name="T76" fmla="*/ 141 w 365"/>
                  <a:gd name="T77" fmla="*/ 307 h 300"/>
                  <a:gd name="T78" fmla="*/ 103 w 365"/>
                  <a:gd name="T79" fmla="*/ 285 h 300"/>
                  <a:gd name="T80" fmla="*/ 52 w 365"/>
                  <a:gd name="T81" fmla="*/ 252 h 300"/>
                  <a:gd name="T82" fmla="*/ 0 w 365"/>
                  <a:gd name="T83" fmla="*/ 243 h 3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5"/>
                  <a:gd name="T127" fmla="*/ 0 h 300"/>
                  <a:gd name="T128" fmla="*/ 365 w 365"/>
                  <a:gd name="T129" fmla="*/ 300 h 30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5" h="300">
                    <a:moveTo>
                      <a:pt x="352" y="101"/>
                    </a:moveTo>
                    <a:lnTo>
                      <a:pt x="365" y="89"/>
                    </a:lnTo>
                    <a:lnTo>
                      <a:pt x="359" y="82"/>
                    </a:lnTo>
                    <a:lnTo>
                      <a:pt x="342" y="77"/>
                    </a:lnTo>
                    <a:lnTo>
                      <a:pt x="324" y="72"/>
                    </a:lnTo>
                    <a:lnTo>
                      <a:pt x="304" y="81"/>
                    </a:lnTo>
                    <a:lnTo>
                      <a:pt x="283" y="60"/>
                    </a:lnTo>
                    <a:lnTo>
                      <a:pt x="264" y="36"/>
                    </a:lnTo>
                    <a:lnTo>
                      <a:pt x="241" y="19"/>
                    </a:lnTo>
                    <a:lnTo>
                      <a:pt x="225" y="7"/>
                    </a:lnTo>
                    <a:lnTo>
                      <a:pt x="212" y="0"/>
                    </a:lnTo>
                    <a:lnTo>
                      <a:pt x="205" y="18"/>
                    </a:lnTo>
                    <a:lnTo>
                      <a:pt x="190" y="41"/>
                    </a:lnTo>
                    <a:lnTo>
                      <a:pt x="168" y="74"/>
                    </a:lnTo>
                    <a:lnTo>
                      <a:pt x="129" y="62"/>
                    </a:lnTo>
                    <a:lnTo>
                      <a:pt x="111" y="43"/>
                    </a:lnTo>
                    <a:lnTo>
                      <a:pt x="89" y="33"/>
                    </a:lnTo>
                    <a:lnTo>
                      <a:pt x="81" y="41"/>
                    </a:lnTo>
                    <a:lnTo>
                      <a:pt x="77" y="52"/>
                    </a:lnTo>
                    <a:lnTo>
                      <a:pt x="70" y="64"/>
                    </a:lnTo>
                    <a:lnTo>
                      <a:pt x="86" y="70"/>
                    </a:lnTo>
                    <a:lnTo>
                      <a:pt x="103" y="77"/>
                    </a:lnTo>
                    <a:lnTo>
                      <a:pt x="104" y="98"/>
                    </a:lnTo>
                    <a:lnTo>
                      <a:pt x="86" y="98"/>
                    </a:lnTo>
                    <a:lnTo>
                      <a:pt x="80" y="106"/>
                    </a:lnTo>
                    <a:lnTo>
                      <a:pt x="58" y="105"/>
                    </a:lnTo>
                    <a:lnTo>
                      <a:pt x="34" y="103"/>
                    </a:lnTo>
                    <a:lnTo>
                      <a:pt x="26" y="113"/>
                    </a:lnTo>
                    <a:lnTo>
                      <a:pt x="34" y="120"/>
                    </a:lnTo>
                    <a:lnTo>
                      <a:pt x="43" y="132"/>
                    </a:lnTo>
                    <a:lnTo>
                      <a:pt x="65" y="130"/>
                    </a:lnTo>
                    <a:lnTo>
                      <a:pt x="66" y="151"/>
                    </a:lnTo>
                    <a:lnTo>
                      <a:pt x="80" y="162"/>
                    </a:lnTo>
                    <a:lnTo>
                      <a:pt x="94" y="178"/>
                    </a:lnTo>
                    <a:lnTo>
                      <a:pt x="86" y="194"/>
                    </a:lnTo>
                    <a:lnTo>
                      <a:pt x="118" y="221"/>
                    </a:lnTo>
                    <a:lnTo>
                      <a:pt x="131" y="205"/>
                    </a:lnTo>
                    <a:lnTo>
                      <a:pt x="151" y="216"/>
                    </a:lnTo>
                    <a:lnTo>
                      <a:pt x="149" y="236"/>
                    </a:lnTo>
                    <a:lnTo>
                      <a:pt x="158" y="247"/>
                    </a:lnTo>
                    <a:lnTo>
                      <a:pt x="166" y="252"/>
                    </a:lnTo>
                    <a:lnTo>
                      <a:pt x="181" y="233"/>
                    </a:lnTo>
                    <a:lnTo>
                      <a:pt x="198" y="211"/>
                    </a:lnTo>
                    <a:lnTo>
                      <a:pt x="205" y="202"/>
                    </a:lnTo>
                    <a:lnTo>
                      <a:pt x="216" y="190"/>
                    </a:lnTo>
                    <a:lnTo>
                      <a:pt x="237" y="194"/>
                    </a:lnTo>
                    <a:lnTo>
                      <a:pt x="233" y="213"/>
                    </a:lnTo>
                    <a:lnTo>
                      <a:pt x="257" y="216"/>
                    </a:lnTo>
                    <a:lnTo>
                      <a:pt x="263" y="239"/>
                    </a:lnTo>
                    <a:lnTo>
                      <a:pt x="253" y="256"/>
                    </a:lnTo>
                    <a:lnTo>
                      <a:pt x="271" y="266"/>
                    </a:lnTo>
                    <a:lnTo>
                      <a:pt x="294" y="276"/>
                    </a:lnTo>
                    <a:lnTo>
                      <a:pt x="300" y="275"/>
                    </a:lnTo>
                    <a:lnTo>
                      <a:pt x="300" y="259"/>
                    </a:lnTo>
                    <a:lnTo>
                      <a:pt x="300" y="247"/>
                    </a:lnTo>
                    <a:lnTo>
                      <a:pt x="302" y="228"/>
                    </a:lnTo>
                    <a:lnTo>
                      <a:pt x="302" y="210"/>
                    </a:lnTo>
                    <a:lnTo>
                      <a:pt x="311" y="208"/>
                    </a:lnTo>
                    <a:lnTo>
                      <a:pt x="327" y="216"/>
                    </a:lnTo>
                    <a:lnTo>
                      <a:pt x="337" y="209"/>
                    </a:lnTo>
                    <a:lnTo>
                      <a:pt x="335" y="198"/>
                    </a:lnTo>
                    <a:lnTo>
                      <a:pt x="318" y="189"/>
                    </a:lnTo>
                    <a:lnTo>
                      <a:pt x="303" y="179"/>
                    </a:lnTo>
                    <a:lnTo>
                      <a:pt x="303" y="164"/>
                    </a:lnTo>
                    <a:lnTo>
                      <a:pt x="303" y="141"/>
                    </a:lnTo>
                    <a:lnTo>
                      <a:pt x="322" y="106"/>
                    </a:lnTo>
                    <a:lnTo>
                      <a:pt x="331" y="101"/>
                    </a:lnTo>
                    <a:lnTo>
                      <a:pt x="352" y="101"/>
                    </a:lnTo>
                    <a:close/>
                    <a:moveTo>
                      <a:pt x="0" y="205"/>
                    </a:moveTo>
                    <a:lnTo>
                      <a:pt x="5" y="214"/>
                    </a:lnTo>
                    <a:lnTo>
                      <a:pt x="9" y="228"/>
                    </a:lnTo>
                    <a:lnTo>
                      <a:pt x="24" y="243"/>
                    </a:lnTo>
                    <a:lnTo>
                      <a:pt x="38" y="257"/>
                    </a:lnTo>
                    <a:lnTo>
                      <a:pt x="62" y="270"/>
                    </a:lnTo>
                    <a:lnTo>
                      <a:pt x="86" y="284"/>
                    </a:lnTo>
                    <a:lnTo>
                      <a:pt x="113" y="300"/>
                    </a:lnTo>
                    <a:lnTo>
                      <a:pt x="154" y="271"/>
                    </a:lnTo>
                    <a:lnTo>
                      <a:pt x="119" y="259"/>
                    </a:lnTo>
                    <a:lnTo>
                      <a:pt x="108" y="250"/>
                    </a:lnTo>
                    <a:lnTo>
                      <a:pt x="87" y="240"/>
                    </a:lnTo>
                    <a:lnTo>
                      <a:pt x="65" y="227"/>
                    </a:lnTo>
                    <a:lnTo>
                      <a:pt x="44" y="212"/>
                    </a:lnTo>
                    <a:lnTo>
                      <a:pt x="19" y="211"/>
                    </a:lnTo>
                    <a:lnTo>
                      <a:pt x="0" y="205"/>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73" name="Freeform 11"/>
              <p:cNvSpPr>
                <a:spLocks noChangeAspect="1"/>
              </p:cNvSpPr>
              <p:nvPr/>
            </p:nvSpPr>
            <p:spPr bwMode="auto">
              <a:xfrm>
                <a:off x="3611511" y="3908356"/>
                <a:ext cx="254646" cy="245993"/>
              </a:xfrm>
              <a:custGeom>
                <a:avLst/>
                <a:gdLst>
                  <a:gd name="T0" fmla="*/ 0 w 173"/>
                  <a:gd name="T1" fmla="*/ 9 h 168"/>
                  <a:gd name="T2" fmla="*/ 20 w 173"/>
                  <a:gd name="T3" fmla="*/ 0 h 168"/>
                  <a:gd name="T4" fmla="*/ 33 w 173"/>
                  <a:gd name="T5" fmla="*/ 0 h 168"/>
                  <a:gd name="T6" fmla="*/ 38 w 173"/>
                  <a:gd name="T7" fmla="*/ 7 h 168"/>
                  <a:gd name="T8" fmla="*/ 49 w 173"/>
                  <a:gd name="T9" fmla="*/ 20 h 168"/>
                  <a:gd name="T10" fmla="*/ 64 w 173"/>
                  <a:gd name="T11" fmla="*/ 26 h 168"/>
                  <a:gd name="T12" fmla="*/ 80 w 173"/>
                  <a:gd name="T13" fmla="*/ 31 h 168"/>
                  <a:gd name="T14" fmla="*/ 96 w 173"/>
                  <a:gd name="T15" fmla="*/ 13 h 168"/>
                  <a:gd name="T16" fmla="*/ 120 w 173"/>
                  <a:gd name="T17" fmla="*/ 5 h 168"/>
                  <a:gd name="T18" fmla="*/ 126 w 173"/>
                  <a:gd name="T19" fmla="*/ 9 h 168"/>
                  <a:gd name="T20" fmla="*/ 138 w 173"/>
                  <a:gd name="T21" fmla="*/ 12 h 168"/>
                  <a:gd name="T22" fmla="*/ 155 w 173"/>
                  <a:gd name="T23" fmla="*/ 18 h 168"/>
                  <a:gd name="T24" fmla="*/ 169 w 173"/>
                  <a:gd name="T25" fmla="*/ 21 h 168"/>
                  <a:gd name="T26" fmla="*/ 169 w 173"/>
                  <a:gd name="T27" fmla="*/ 38 h 168"/>
                  <a:gd name="T28" fmla="*/ 171 w 173"/>
                  <a:gd name="T29" fmla="*/ 57 h 168"/>
                  <a:gd name="T30" fmla="*/ 174 w 173"/>
                  <a:gd name="T31" fmla="*/ 79 h 168"/>
                  <a:gd name="T32" fmla="*/ 189 w 173"/>
                  <a:gd name="T33" fmla="*/ 76 h 168"/>
                  <a:gd name="T34" fmla="*/ 200 w 173"/>
                  <a:gd name="T35" fmla="*/ 75 h 168"/>
                  <a:gd name="T36" fmla="*/ 200 w 173"/>
                  <a:gd name="T37" fmla="*/ 95 h 168"/>
                  <a:gd name="T38" fmla="*/ 202 w 173"/>
                  <a:gd name="T39" fmla="*/ 111 h 168"/>
                  <a:gd name="T40" fmla="*/ 206 w 173"/>
                  <a:gd name="T41" fmla="*/ 134 h 168"/>
                  <a:gd name="T42" fmla="*/ 180 w 173"/>
                  <a:gd name="T43" fmla="*/ 148 h 168"/>
                  <a:gd name="T44" fmla="*/ 166 w 173"/>
                  <a:gd name="T45" fmla="*/ 154 h 168"/>
                  <a:gd name="T46" fmla="*/ 164 w 173"/>
                  <a:gd name="T47" fmla="*/ 181 h 168"/>
                  <a:gd name="T48" fmla="*/ 168 w 173"/>
                  <a:gd name="T49" fmla="*/ 199 h 168"/>
                  <a:gd name="T50" fmla="*/ 160 w 173"/>
                  <a:gd name="T51" fmla="*/ 198 h 168"/>
                  <a:gd name="T52" fmla="*/ 145 w 173"/>
                  <a:gd name="T53" fmla="*/ 184 h 168"/>
                  <a:gd name="T54" fmla="*/ 136 w 173"/>
                  <a:gd name="T55" fmla="*/ 158 h 168"/>
                  <a:gd name="T56" fmla="*/ 118 w 173"/>
                  <a:gd name="T57" fmla="*/ 136 h 168"/>
                  <a:gd name="T58" fmla="*/ 106 w 173"/>
                  <a:gd name="T59" fmla="*/ 137 h 168"/>
                  <a:gd name="T60" fmla="*/ 83 w 173"/>
                  <a:gd name="T61" fmla="*/ 141 h 168"/>
                  <a:gd name="T62" fmla="*/ 77 w 173"/>
                  <a:gd name="T63" fmla="*/ 131 h 168"/>
                  <a:gd name="T64" fmla="*/ 70 w 173"/>
                  <a:gd name="T65" fmla="*/ 116 h 168"/>
                  <a:gd name="T66" fmla="*/ 60 w 173"/>
                  <a:gd name="T67" fmla="*/ 100 h 168"/>
                  <a:gd name="T68" fmla="*/ 48 w 173"/>
                  <a:gd name="T69" fmla="*/ 91 h 168"/>
                  <a:gd name="T70" fmla="*/ 32 w 173"/>
                  <a:gd name="T71" fmla="*/ 88 h 168"/>
                  <a:gd name="T72" fmla="*/ 37 w 173"/>
                  <a:gd name="T73" fmla="*/ 66 h 168"/>
                  <a:gd name="T74" fmla="*/ 26 w 173"/>
                  <a:gd name="T75" fmla="*/ 58 h 168"/>
                  <a:gd name="T76" fmla="*/ 11 w 173"/>
                  <a:gd name="T77" fmla="*/ 59 h 168"/>
                  <a:gd name="T78" fmla="*/ 6 w 173"/>
                  <a:gd name="T79" fmla="*/ 46 h 168"/>
                  <a:gd name="T80" fmla="*/ 8 w 173"/>
                  <a:gd name="T81" fmla="*/ 27 h 168"/>
                  <a:gd name="T82" fmla="*/ 0 w 173"/>
                  <a:gd name="T83" fmla="*/ 9 h 1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73"/>
                  <a:gd name="T127" fmla="*/ 0 h 168"/>
                  <a:gd name="T128" fmla="*/ 173 w 173"/>
                  <a:gd name="T129" fmla="*/ 168 h 16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73" h="168">
                    <a:moveTo>
                      <a:pt x="0" y="8"/>
                    </a:moveTo>
                    <a:lnTo>
                      <a:pt x="17" y="0"/>
                    </a:lnTo>
                    <a:lnTo>
                      <a:pt x="28" y="0"/>
                    </a:lnTo>
                    <a:lnTo>
                      <a:pt x="32" y="6"/>
                    </a:lnTo>
                    <a:lnTo>
                      <a:pt x="41" y="17"/>
                    </a:lnTo>
                    <a:lnTo>
                      <a:pt x="54" y="22"/>
                    </a:lnTo>
                    <a:lnTo>
                      <a:pt x="67" y="26"/>
                    </a:lnTo>
                    <a:lnTo>
                      <a:pt x="81" y="11"/>
                    </a:lnTo>
                    <a:lnTo>
                      <a:pt x="101" y="4"/>
                    </a:lnTo>
                    <a:lnTo>
                      <a:pt x="106" y="8"/>
                    </a:lnTo>
                    <a:lnTo>
                      <a:pt x="116" y="10"/>
                    </a:lnTo>
                    <a:lnTo>
                      <a:pt x="130" y="15"/>
                    </a:lnTo>
                    <a:lnTo>
                      <a:pt x="142" y="18"/>
                    </a:lnTo>
                    <a:lnTo>
                      <a:pt x="142" y="32"/>
                    </a:lnTo>
                    <a:lnTo>
                      <a:pt x="144" y="48"/>
                    </a:lnTo>
                    <a:lnTo>
                      <a:pt x="146" y="67"/>
                    </a:lnTo>
                    <a:lnTo>
                      <a:pt x="159" y="64"/>
                    </a:lnTo>
                    <a:lnTo>
                      <a:pt x="168" y="63"/>
                    </a:lnTo>
                    <a:lnTo>
                      <a:pt x="168" y="80"/>
                    </a:lnTo>
                    <a:lnTo>
                      <a:pt x="170" y="94"/>
                    </a:lnTo>
                    <a:lnTo>
                      <a:pt x="173" y="113"/>
                    </a:lnTo>
                    <a:lnTo>
                      <a:pt x="151" y="125"/>
                    </a:lnTo>
                    <a:lnTo>
                      <a:pt x="139" y="130"/>
                    </a:lnTo>
                    <a:lnTo>
                      <a:pt x="138" y="153"/>
                    </a:lnTo>
                    <a:lnTo>
                      <a:pt x="141" y="168"/>
                    </a:lnTo>
                    <a:lnTo>
                      <a:pt x="134" y="167"/>
                    </a:lnTo>
                    <a:lnTo>
                      <a:pt x="122" y="155"/>
                    </a:lnTo>
                    <a:lnTo>
                      <a:pt x="114" y="133"/>
                    </a:lnTo>
                    <a:lnTo>
                      <a:pt x="99" y="115"/>
                    </a:lnTo>
                    <a:lnTo>
                      <a:pt x="89" y="116"/>
                    </a:lnTo>
                    <a:lnTo>
                      <a:pt x="70" y="119"/>
                    </a:lnTo>
                    <a:lnTo>
                      <a:pt x="65" y="111"/>
                    </a:lnTo>
                    <a:lnTo>
                      <a:pt x="59" y="98"/>
                    </a:lnTo>
                    <a:lnTo>
                      <a:pt x="50" y="84"/>
                    </a:lnTo>
                    <a:lnTo>
                      <a:pt x="40" y="77"/>
                    </a:lnTo>
                    <a:lnTo>
                      <a:pt x="27" y="74"/>
                    </a:lnTo>
                    <a:lnTo>
                      <a:pt x="31" y="56"/>
                    </a:lnTo>
                    <a:lnTo>
                      <a:pt x="22" y="49"/>
                    </a:lnTo>
                    <a:lnTo>
                      <a:pt x="9" y="50"/>
                    </a:lnTo>
                    <a:lnTo>
                      <a:pt x="5" y="39"/>
                    </a:lnTo>
                    <a:lnTo>
                      <a:pt x="7" y="23"/>
                    </a:lnTo>
                    <a:lnTo>
                      <a:pt x="0" y="8"/>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74" name="Freeform 12"/>
              <p:cNvSpPr>
                <a:spLocks noChangeAspect="1"/>
              </p:cNvSpPr>
              <p:nvPr/>
            </p:nvSpPr>
            <p:spPr bwMode="auto">
              <a:xfrm>
                <a:off x="5122079" y="3427496"/>
                <a:ext cx="652684" cy="583460"/>
              </a:xfrm>
              <a:custGeom>
                <a:avLst/>
                <a:gdLst>
                  <a:gd name="T0" fmla="*/ 17 w 444"/>
                  <a:gd name="T1" fmla="*/ 465 h 397"/>
                  <a:gd name="T2" fmla="*/ 26 w 444"/>
                  <a:gd name="T3" fmla="*/ 421 h 397"/>
                  <a:gd name="T4" fmla="*/ 0 w 444"/>
                  <a:gd name="T5" fmla="*/ 401 h 397"/>
                  <a:gd name="T6" fmla="*/ 26 w 444"/>
                  <a:gd name="T7" fmla="*/ 346 h 397"/>
                  <a:gd name="T8" fmla="*/ 34 w 444"/>
                  <a:gd name="T9" fmla="*/ 309 h 397"/>
                  <a:gd name="T10" fmla="*/ 19 w 444"/>
                  <a:gd name="T11" fmla="*/ 271 h 397"/>
                  <a:gd name="T12" fmla="*/ 12 w 444"/>
                  <a:gd name="T13" fmla="*/ 240 h 397"/>
                  <a:gd name="T14" fmla="*/ 20 w 444"/>
                  <a:gd name="T15" fmla="*/ 227 h 397"/>
                  <a:gd name="T16" fmla="*/ 52 w 444"/>
                  <a:gd name="T17" fmla="*/ 239 h 397"/>
                  <a:gd name="T18" fmla="*/ 73 w 444"/>
                  <a:gd name="T19" fmla="*/ 235 h 397"/>
                  <a:gd name="T20" fmla="*/ 89 w 444"/>
                  <a:gd name="T21" fmla="*/ 222 h 397"/>
                  <a:gd name="T22" fmla="*/ 103 w 444"/>
                  <a:gd name="T23" fmla="*/ 208 h 397"/>
                  <a:gd name="T24" fmla="*/ 124 w 444"/>
                  <a:gd name="T25" fmla="*/ 207 h 397"/>
                  <a:gd name="T26" fmla="*/ 138 w 444"/>
                  <a:gd name="T27" fmla="*/ 197 h 397"/>
                  <a:gd name="T28" fmla="*/ 139 w 444"/>
                  <a:gd name="T29" fmla="*/ 174 h 397"/>
                  <a:gd name="T30" fmla="*/ 137 w 444"/>
                  <a:gd name="T31" fmla="*/ 144 h 397"/>
                  <a:gd name="T32" fmla="*/ 166 w 444"/>
                  <a:gd name="T33" fmla="*/ 122 h 397"/>
                  <a:gd name="T34" fmla="*/ 191 w 444"/>
                  <a:gd name="T35" fmla="*/ 99 h 397"/>
                  <a:gd name="T36" fmla="*/ 170 w 444"/>
                  <a:gd name="T37" fmla="*/ 77 h 397"/>
                  <a:gd name="T38" fmla="*/ 183 w 444"/>
                  <a:gd name="T39" fmla="*/ 44 h 397"/>
                  <a:gd name="T40" fmla="*/ 212 w 444"/>
                  <a:gd name="T41" fmla="*/ 30 h 397"/>
                  <a:gd name="T42" fmla="*/ 238 w 444"/>
                  <a:gd name="T43" fmla="*/ 10 h 397"/>
                  <a:gd name="T44" fmla="*/ 259 w 444"/>
                  <a:gd name="T45" fmla="*/ 5 h 397"/>
                  <a:gd name="T46" fmla="*/ 314 w 444"/>
                  <a:gd name="T47" fmla="*/ 23 h 397"/>
                  <a:gd name="T48" fmla="*/ 358 w 444"/>
                  <a:gd name="T49" fmla="*/ 18 h 397"/>
                  <a:gd name="T50" fmla="*/ 406 w 444"/>
                  <a:gd name="T51" fmla="*/ 54 h 397"/>
                  <a:gd name="T52" fmla="*/ 420 w 444"/>
                  <a:gd name="T53" fmla="*/ 100 h 397"/>
                  <a:gd name="T54" fmla="*/ 422 w 444"/>
                  <a:gd name="T55" fmla="*/ 152 h 397"/>
                  <a:gd name="T56" fmla="*/ 460 w 444"/>
                  <a:gd name="T57" fmla="*/ 183 h 397"/>
                  <a:gd name="T58" fmla="*/ 492 w 444"/>
                  <a:gd name="T59" fmla="*/ 209 h 397"/>
                  <a:gd name="T60" fmla="*/ 515 w 444"/>
                  <a:gd name="T61" fmla="*/ 227 h 397"/>
                  <a:gd name="T62" fmla="*/ 503 w 444"/>
                  <a:gd name="T63" fmla="*/ 281 h 397"/>
                  <a:gd name="T64" fmla="*/ 461 w 444"/>
                  <a:gd name="T65" fmla="*/ 284 h 397"/>
                  <a:gd name="T66" fmla="*/ 470 w 444"/>
                  <a:gd name="T67" fmla="*/ 316 h 397"/>
                  <a:gd name="T68" fmla="*/ 484 w 444"/>
                  <a:gd name="T69" fmla="*/ 365 h 397"/>
                  <a:gd name="T70" fmla="*/ 472 w 444"/>
                  <a:gd name="T71" fmla="*/ 384 h 397"/>
                  <a:gd name="T72" fmla="*/ 440 w 444"/>
                  <a:gd name="T73" fmla="*/ 418 h 397"/>
                  <a:gd name="T74" fmla="*/ 409 w 444"/>
                  <a:gd name="T75" fmla="*/ 465 h 397"/>
                  <a:gd name="T76" fmla="*/ 366 w 444"/>
                  <a:gd name="T77" fmla="*/ 440 h 397"/>
                  <a:gd name="T78" fmla="*/ 303 w 444"/>
                  <a:gd name="T79" fmla="*/ 449 h 397"/>
                  <a:gd name="T80" fmla="*/ 271 w 444"/>
                  <a:gd name="T81" fmla="*/ 472 h 397"/>
                  <a:gd name="T82" fmla="*/ 230 w 444"/>
                  <a:gd name="T83" fmla="*/ 435 h 397"/>
                  <a:gd name="T84" fmla="*/ 180 w 444"/>
                  <a:gd name="T85" fmla="*/ 438 h 397"/>
                  <a:gd name="T86" fmla="*/ 142 w 444"/>
                  <a:gd name="T87" fmla="*/ 429 h 397"/>
                  <a:gd name="T88" fmla="*/ 98 w 444"/>
                  <a:gd name="T89" fmla="*/ 427 h 397"/>
                  <a:gd name="T90" fmla="*/ 68 w 444"/>
                  <a:gd name="T91" fmla="*/ 436 h 397"/>
                  <a:gd name="T92" fmla="*/ 29 w 444"/>
                  <a:gd name="T93" fmla="*/ 467 h 3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44"/>
                  <a:gd name="T142" fmla="*/ 0 h 397"/>
                  <a:gd name="T143" fmla="*/ 444 w 444"/>
                  <a:gd name="T144" fmla="*/ 397 h 39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44" h="397">
                    <a:moveTo>
                      <a:pt x="24" y="393"/>
                    </a:moveTo>
                    <a:lnTo>
                      <a:pt x="14" y="391"/>
                    </a:lnTo>
                    <a:lnTo>
                      <a:pt x="22" y="368"/>
                    </a:lnTo>
                    <a:lnTo>
                      <a:pt x="22" y="354"/>
                    </a:lnTo>
                    <a:lnTo>
                      <a:pt x="24" y="334"/>
                    </a:lnTo>
                    <a:lnTo>
                      <a:pt x="0" y="337"/>
                    </a:lnTo>
                    <a:lnTo>
                      <a:pt x="12" y="315"/>
                    </a:lnTo>
                    <a:lnTo>
                      <a:pt x="22" y="291"/>
                    </a:lnTo>
                    <a:lnTo>
                      <a:pt x="35" y="275"/>
                    </a:lnTo>
                    <a:lnTo>
                      <a:pt x="29" y="260"/>
                    </a:lnTo>
                    <a:lnTo>
                      <a:pt x="24" y="241"/>
                    </a:lnTo>
                    <a:lnTo>
                      <a:pt x="16" y="228"/>
                    </a:lnTo>
                    <a:lnTo>
                      <a:pt x="10" y="217"/>
                    </a:lnTo>
                    <a:lnTo>
                      <a:pt x="10" y="202"/>
                    </a:lnTo>
                    <a:lnTo>
                      <a:pt x="15" y="198"/>
                    </a:lnTo>
                    <a:lnTo>
                      <a:pt x="17" y="191"/>
                    </a:lnTo>
                    <a:lnTo>
                      <a:pt x="33" y="195"/>
                    </a:lnTo>
                    <a:lnTo>
                      <a:pt x="44" y="201"/>
                    </a:lnTo>
                    <a:lnTo>
                      <a:pt x="54" y="207"/>
                    </a:lnTo>
                    <a:lnTo>
                      <a:pt x="61" y="198"/>
                    </a:lnTo>
                    <a:lnTo>
                      <a:pt x="67" y="189"/>
                    </a:lnTo>
                    <a:lnTo>
                      <a:pt x="75" y="187"/>
                    </a:lnTo>
                    <a:lnTo>
                      <a:pt x="81" y="181"/>
                    </a:lnTo>
                    <a:lnTo>
                      <a:pt x="87" y="175"/>
                    </a:lnTo>
                    <a:lnTo>
                      <a:pt x="94" y="170"/>
                    </a:lnTo>
                    <a:lnTo>
                      <a:pt x="104" y="174"/>
                    </a:lnTo>
                    <a:lnTo>
                      <a:pt x="113" y="178"/>
                    </a:lnTo>
                    <a:lnTo>
                      <a:pt x="116" y="166"/>
                    </a:lnTo>
                    <a:lnTo>
                      <a:pt x="113" y="159"/>
                    </a:lnTo>
                    <a:lnTo>
                      <a:pt x="117" y="146"/>
                    </a:lnTo>
                    <a:lnTo>
                      <a:pt x="117" y="137"/>
                    </a:lnTo>
                    <a:lnTo>
                      <a:pt x="115" y="121"/>
                    </a:lnTo>
                    <a:lnTo>
                      <a:pt x="132" y="112"/>
                    </a:lnTo>
                    <a:lnTo>
                      <a:pt x="140" y="103"/>
                    </a:lnTo>
                    <a:lnTo>
                      <a:pt x="154" y="94"/>
                    </a:lnTo>
                    <a:lnTo>
                      <a:pt x="161" y="83"/>
                    </a:lnTo>
                    <a:lnTo>
                      <a:pt x="150" y="76"/>
                    </a:lnTo>
                    <a:lnTo>
                      <a:pt x="143" y="65"/>
                    </a:lnTo>
                    <a:lnTo>
                      <a:pt x="146" y="51"/>
                    </a:lnTo>
                    <a:lnTo>
                      <a:pt x="154" y="37"/>
                    </a:lnTo>
                    <a:lnTo>
                      <a:pt x="164" y="24"/>
                    </a:lnTo>
                    <a:lnTo>
                      <a:pt x="178" y="25"/>
                    </a:lnTo>
                    <a:lnTo>
                      <a:pt x="189" y="20"/>
                    </a:lnTo>
                    <a:lnTo>
                      <a:pt x="200" y="8"/>
                    </a:lnTo>
                    <a:lnTo>
                      <a:pt x="207" y="0"/>
                    </a:lnTo>
                    <a:lnTo>
                      <a:pt x="218" y="4"/>
                    </a:lnTo>
                    <a:lnTo>
                      <a:pt x="238" y="12"/>
                    </a:lnTo>
                    <a:lnTo>
                      <a:pt x="264" y="19"/>
                    </a:lnTo>
                    <a:lnTo>
                      <a:pt x="271" y="41"/>
                    </a:lnTo>
                    <a:lnTo>
                      <a:pt x="301" y="15"/>
                    </a:lnTo>
                    <a:lnTo>
                      <a:pt x="320" y="28"/>
                    </a:lnTo>
                    <a:lnTo>
                      <a:pt x="341" y="45"/>
                    </a:lnTo>
                    <a:lnTo>
                      <a:pt x="347" y="62"/>
                    </a:lnTo>
                    <a:lnTo>
                      <a:pt x="353" y="84"/>
                    </a:lnTo>
                    <a:lnTo>
                      <a:pt x="342" y="104"/>
                    </a:lnTo>
                    <a:lnTo>
                      <a:pt x="355" y="128"/>
                    </a:lnTo>
                    <a:lnTo>
                      <a:pt x="373" y="140"/>
                    </a:lnTo>
                    <a:lnTo>
                      <a:pt x="387" y="154"/>
                    </a:lnTo>
                    <a:lnTo>
                      <a:pt x="406" y="158"/>
                    </a:lnTo>
                    <a:lnTo>
                      <a:pt x="414" y="176"/>
                    </a:lnTo>
                    <a:lnTo>
                      <a:pt x="420" y="188"/>
                    </a:lnTo>
                    <a:lnTo>
                      <a:pt x="433" y="191"/>
                    </a:lnTo>
                    <a:lnTo>
                      <a:pt x="444" y="221"/>
                    </a:lnTo>
                    <a:lnTo>
                      <a:pt x="423" y="236"/>
                    </a:lnTo>
                    <a:lnTo>
                      <a:pt x="404" y="251"/>
                    </a:lnTo>
                    <a:lnTo>
                      <a:pt x="388" y="239"/>
                    </a:lnTo>
                    <a:lnTo>
                      <a:pt x="379" y="255"/>
                    </a:lnTo>
                    <a:lnTo>
                      <a:pt x="395" y="266"/>
                    </a:lnTo>
                    <a:lnTo>
                      <a:pt x="404" y="283"/>
                    </a:lnTo>
                    <a:lnTo>
                      <a:pt x="407" y="307"/>
                    </a:lnTo>
                    <a:lnTo>
                      <a:pt x="413" y="325"/>
                    </a:lnTo>
                    <a:lnTo>
                      <a:pt x="397" y="323"/>
                    </a:lnTo>
                    <a:lnTo>
                      <a:pt x="370" y="328"/>
                    </a:lnTo>
                    <a:lnTo>
                      <a:pt x="370" y="352"/>
                    </a:lnTo>
                    <a:lnTo>
                      <a:pt x="362" y="378"/>
                    </a:lnTo>
                    <a:lnTo>
                      <a:pt x="344" y="391"/>
                    </a:lnTo>
                    <a:lnTo>
                      <a:pt x="329" y="389"/>
                    </a:lnTo>
                    <a:lnTo>
                      <a:pt x="308" y="370"/>
                    </a:lnTo>
                    <a:lnTo>
                      <a:pt x="268" y="376"/>
                    </a:lnTo>
                    <a:lnTo>
                      <a:pt x="255" y="378"/>
                    </a:lnTo>
                    <a:lnTo>
                      <a:pt x="236" y="384"/>
                    </a:lnTo>
                    <a:lnTo>
                      <a:pt x="228" y="397"/>
                    </a:lnTo>
                    <a:lnTo>
                      <a:pt x="209" y="379"/>
                    </a:lnTo>
                    <a:lnTo>
                      <a:pt x="193" y="366"/>
                    </a:lnTo>
                    <a:lnTo>
                      <a:pt x="179" y="366"/>
                    </a:lnTo>
                    <a:lnTo>
                      <a:pt x="151" y="368"/>
                    </a:lnTo>
                    <a:lnTo>
                      <a:pt x="139" y="354"/>
                    </a:lnTo>
                    <a:lnTo>
                      <a:pt x="119" y="361"/>
                    </a:lnTo>
                    <a:lnTo>
                      <a:pt x="96" y="359"/>
                    </a:lnTo>
                    <a:lnTo>
                      <a:pt x="82" y="359"/>
                    </a:lnTo>
                    <a:lnTo>
                      <a:pt x="64" y="360"/>
                    </a:lnTo>
                    <a:lnTo>
                      <a:pt x="57" y="367"/>
                    </a:lnTo>
                    <a:lnTo>
                      <a:pt x="55" y="386"/>
                    </a:lnTo>
                    <a:lnTo>
                      <a:pt x="24" y="393"/>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75" name="Freeform 13"/>
              <p:cNvSpPr>
                <a:spLocks noChangeAspect="1"/>
              </p:cNvSpPr>
              <p:nvPr/>
            </p:nvSpPr>
            <p:spPr bwMode="auto">
              <a:xfrm>
                <a:off x="4557161" y="4711849"/>
                <a:ext cx="315217" cy="320161"/>
              </a:xfrm>
              <a:custGeom>
                <a:avLst/>
                <a:gdLst>
                  <a:gd name="T0" fmla="*/ 146 w 215"/>
                  <a:gd name="T1" fmla="*/ 259 h 218"/>
                  <a:gd name="T2" fmla="*/ 116 w 215"/>
                  <a:gd name="T3" fmla="*/ 213 h 218"/>
                  <a:gd name="T4" fmla="*/ 115 w 215"/>
                  <a:gd name="T5" fmla="*/ 202 h 218"/>
                  <a:gd name="T6" fmla="*/ 107 w 215"/>
                  <a:gd name="T7" fmla="*/ 188 h 218"/>
                  <a:gd name="T8" fmla="*/ 96 w 215"/>
                  <a:gd name="T9" fmla="*/ 173 h 218"/>
                  <a:gd name="T10" fmla="*/ 89 w 215"/>
                  <a:gd name="T11" fmla="*/ 164 h 218"/>
                  <a:gd name="T12" fmla="*/ 75 w 215"/>
                  <a:gd name="T13" fmla="*/ 150 h 218"/>
                  <a:gd name="T14" fmla="*/ 58 w 215"/>
                  <a:gd name="T15" fmla="*/ 134 h 218"/>
                  <a:gd name="T16" fmla="*/ 44 w 215"/>
                  <a:gd name="T17" fmla="*/ 126 h 218"/>
                  <a:gd name="T18" fmla="*/ 42 w 215"/>
                  <a:gd name="T19" fmla="*/ 116 h 218"/>
                  <a:gd name="T20" fmla="*/ 34 w 215"/>
                  <a:gd name="T21" fmla="*/ 102 h 218"/>
                  <a:gd name="T22" fmla="*/ 26 w 215"/>
                  <a:gd name="T23" fmla="*/ 89 h 218"/>
                  <a:gd name="T24" fmla="*/ 15 w 215"/>
                  <a:gd name="T25" fmla="*/ 81 h 218"/>
                  <a:gd name="T26" fmla="*/ 12 w 215"/>
                  <a:gd name="T27" fmla="*/ 64 h 218"/>
                  <a:gd name="T28" fmla="*/ 7 w 215"/>
                  <a:gd name="T29" fmla="*/ 49 h 218"/>
                  <a:gd name="T30" fmla="*/ 0 w 215"/>
                  <a:gd name="T31" fmla="*/ 36 h 218"/>
                  <a:gd name="T32" fmla="*/ 1 w 215"/>
                  <a:gd name="T33" fmla="*/ 19 h 218"/>
                  <a:gd name="T34" fmla="*/ 1 w 215"/>
                  <a:gd name="T35" fmla="*/ 0 h 218"/>
                  <a:gd name="T36" fmla="*/ 13 w 215"/>
                  <a:gd name="T37" fmla="*/ 5 h 218"/>
                  <a:gd name="T38" fmla="*/ 25 w 215"/>
                  <a:gd name="T39" fmla="*/ 11 h 218"/>
                  <a:gd name="T40" fmla="*/ 36 w 215"/>
                  <a:gd name="T41" fmla="*/ 14 h 218"/>
                  <a:gd name="T42" fmla="*/ 44 w 215"/>
                  <a:gd name="T43" fmla="*/ 12 h 218"/>
                  <a:gd name="T44" fmla="*/ 64 w 215"/>
                  <a:gd name="T45" fmla="*/ 12 h 218"/>
                  <a:gd name="T46" fmla="*/ 85 w 215"/>
                  <a:gd name="T47" fmla="*/ 13 h 218"/>
                  <a:gd name="T48" fmla="*/ 98 w 215"/>
                  <a:gd name="T49" fmla="*/ 17 h 218"/>
                  <a:gd name="T50" fmla="*/ 116 w 215"/>
                  <a:gd name="T51" fmla="*/ 20 h 218"/>
                  <a:gd name="T52" fmla="*/ 120 w 215"/>
                  <a:gd name="T53" fmla="*/ 39 h 218"/>
                  <a:gd name="T54" fmla="*/ 129 w 215"/>
                  <a:gd name="T55" fmla="*/ 44 h 218"/>
                  <a:gd name="T56" fmla="*/ 140 w 215"/>
                  <a:gd name="T57" fmla="*/ 24 h 218"/>
                  <a:gd name="T58" fmla="*/ 155 w 215"/>
                  <a:gd name="T59" fmla="*/ 24 h 218"/>
                  <a:gd name="T60" fmla="*/ 168 w 215"/>
                  <a:gd name="T61" fmla="*/ 31 h 218"/>
                  <a:gd name="T62" fmla="*/ 189 w 215"/>
                  <a:gd name="T63" fmla="*/ 40 h 218"/>
                  <a:gd name="T64" fmla="*/ 203 w 215"/>
                  <a:gd name="T65" fmla="*/ 44 h 218"/>
                  <a:gd name="T66" fmla="*/ 217 w 215"/>
                  <a:gd name="T67" fmla="*/ 53 h 218"/>
                  <a:gd name="T68" fmla="*/ 228 w 215"/>
                  <a:gd name="T69" fmla="*/ 59 h 218"/>
                  <a:gd name="T70" fmla="*/ 228 w 215"/>
                  <a:gd name="T71" fmla="*/ 71 h 218"/>
                  <a:gd name="T72" fmla="*/ 229 w 215"/>
                  <a:gd name="T73" fmla="*/ 82 h 218"/>
                  <a:gd name="T74" fmla="*/ 223 w 215"/>
                  <a:gd name="T75" fmla="*/ 95 h 218"/>
                  <a:gd name="T76" fmla="*/ 222 w 215"/>
                  <a:gd name="T77" fmla="*/ 107 h 218"/>
                  <a:gd name="T78" fmla="*/ 238 w 215"/>
                  <a:gd name="T79" fmla="*/ 115 h 218"/>
                  <a:gd name="T80" fmla="*/ 249 w 215"/>
                  <a:gd name="T81" fmla="*/ 130 h 218"/>
                  <a:gd name="T82" fmla="*/ 255 w 215"/>
                  <a:gd name="T83" fmla="*/ 144 h 218"/>
                  <a:gd name="T84" fmla="*/ 251 w 215"/>
                  <a:gd name="T85" fmla="*/ 150 h 218"/>
                  <a:gd name="T86" fmla="*/ 241 w 215"/>
                  <a:gd name="T87" fmla="*/ 147 h 218"/>
                  <a:gd name="T88" fmla="*/ 232 w 215"/>
                  <a:gd name="T89" fmla="*/ 157 h 218"/>
                  <a:gd name="T90" fmla="*/ 230 w 215"/>
                  <a:gd name="T91" fmla="*/ 165 h 218"/>
                  <a:gd name="T92" fmla="*/ 229 w 215"/>
                  <a:gd name="T93" fmla="*/ 178 h 218"/>
                  <a:gd name="T94" fmla="*/ 217 w 215"/>
                  <a:gd name="T95" fmla="*/ 183 h 218"/>
                  <a:gd name="T96" fmla="*/ 205 w 215"/>
                  <a:gd name="T97" fmla="*/ 182 h 218"/>
                  <a:gd name="T98" fmla="*/ 199 w 215"/>
                  <a:gd name="T99" fmla="*/ 172 h 218"/>
                  <a:gd name="T100" fmla="*/ 186 w 215"/>
                  <a:gd name="T101" fmla="*/ 168 h 218"/>
                  <a:gd name="T102" fmla="*/ 168 w 215"/>
                  <a:gd name="T103" fmla="*/ 168 h 218"/>
                  <a:gd name="T104" fmla="*/ 170 w 215"/>
                  <a:gd name="T105" fmla="*/ 184 h 218"/>
                  <a:gd name="T106" fmla="*/ 167 w 215"/>
                  <a:gd name="T107" fmla="*/ 197 h 218"/>
                  <a:gd name="T108" fmla="*/ 161 w 215"/>
                  <a:gd name="T109" fmla="*/ 206 h 218"/>
                  <a:gd name="T110" fmla="*/ 155 w 215"/>
                  <a:gd name="T111" fmla="*/ 210 h 218"/>
                  <a:gd name="T112" fmla="*/ 158 w 215"/>
                  <a:gd name="T113" fmla="*/ 225 h 218"/>
                  <a:gd name="T114" fmla="*/ 158 w 215"/>
                  <a:gd name="T115" fmla="*/ 238 h 218"/>
                  <a:gd name="T116" fmla="*/ 146 w 215"/>
                  <a:gd name="T117" fmla="*/ 259 h 2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5"/>
                  <a:gd name="T178" fmla="*/ 0 h 218"/>
                  <a:gd name="T179" fmla="*/ 215 w 215"/>
                  <a:gd name="T180" fmla="*/ 218 h 2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5" h="218">
                    <a:moveTo>
                      <a:pt x="123" y="218"/>
                    </a:moveTo>
                    <a:lnTo>
                      <a:pt x="98" y="179"/>
                    </a:lnTo>
                    <a:lnTo>
                      <a:pt x="97" y="170"/>
                    </a:lnTo>
                    <a:lnTo>
                      <a:pt x="90" y="158"/>
                    </a:lnTo>
                    <a:lnTo>
                      <a:pt x="81" y="146"/>
                    </a:lnTo>
                    <a:lnTo>
                      <a:pt x="75" y="138"/>
                    </a:lnTo>
                    <a:lnTo>
                      <a:pt x="63" y="126"/>
                    </a:lnTo>
                    <a:lnTo>
                      <a:pt x="49" y="113"/>
                    </a:lnTo>
                    <a:lnTo>
                      <a:pt x="37" y="106"/>
                    </a:lnTo>
                    <a:lnTo>
                      <a:pt x="35" y="98"/>
                    </a:lnTo>
                    <a:lnTo>
                      <a:pt x="29" y="86"/>
                    </a:lnTo>
                    <a:lnTo>
                      <a:pt x="22" y="75"/>
                    </a:lnTo>
                    <a:lnTo>
                      <a:pt x="13" y="68"/>
                    </a:lnTo>
                    <a:lnTo>
                      <a:pt x="10" y="54"/>
                    </a:lnTo>
                    <a:lnTo>
                      <a:pt x="6" y="41"/>
                    </a:lnTo>
                    <a:lnTo>
                      <a:pt x="0" y="30"/>
                    </a:lnTo>
                    <a:lnTo>
                      <a:pt x="1" y="16"/>
                    </a:lnTo>
                    <a:lnTo>
                      <a:pt x="1" y="0"/>
                    </a:lnTo>
                    <a:lnTo>
                      <a:pt x="11" y="4"/>
                    </a:lnTo>
                    <a:lnTo>
                      <a:pt x="21" y="9"/>
                    </a:lnTo>
                    <a:lnTo>
                      <a:pt x="30" y="12"/>
                    </a:lnTo>
                    <a:lnTo>
                      <a:pt x="37" y="10"/>
                    </a:lnTo>
                    <a:lnTo>
                      <a:pt x="54" y="10"/>
                    </a:lnTo>
                    <a:lnTo>
                      <a:pt x="72" y="11"/>
                    </a:lnTo>
                    <a:lnTo>
                      <a:pt x="83" y="14"/>
                    </a:lnTo>
                    <a:lnTo>
                      <a:pt x="98" y="17"/>
                    </a:lnTo>
                    <a:lnTo>
                      <a:pt x="101" y="33"/>
                    </a:lnTo>
                    <a:lnTo>
                      <a:pt x="109" y="37"/>
                    </a:lnTo>
                    <a:lnTo>
                      <a:pt x="118" y="20"/>
                    </a:lnTo>
                    <a:lnTo>
                      <a:pt x="131" y="20"/>
                    </a:lnTo>
                    <a:lnTo>
                      <a:pt x="142" y="26"/>
                    </a:lnTo>
                    <a:lnTo>
                      <a:pt x="159" y="34"/>
                    </a:lnTo>
                    <a:lnTo>
                      <a:pt x="171" y="37"/>
                    </a:lnTo>
                    <a:lnTo>
                      <a:pt x="183" y="45"/>
                    </a:lnTo>
                    <a:lnTo>
                      <a:pt x="192" y="50"/>
                    </a:lnTo>
                    <a:lnTo>
                      <a:pt x="192" y="60"/>
                    </a:lnTo>
                    <a:lnTo>
                      <a:pt x="193" y="69"/>
                    </a:lnTo>
                    <a:lnTo>
                      <a:pt x="188" y="80"/>
                    </a:lnTo>
                    <a:lnTo>
                      <a:pt x="187" y="90"/>
                    </a:lnTo>
                    <a:lnTo>
                      <a:pt x="201" y="97"/>
                    </a:lnTo>
                    <a:lnTo>
                      <a:pt x="210" y="109"/>
                    </a:lnTo>
                    <a:lnTo>
                      <a:pt x="215" y="121"/>
                    </a:lnTo>
                    <a:lnTo>
                      <a:pt x="212" y="126"/>
                    </a:lnTo>
                    <a:lnTo>
                      <a:pt x="203" y="124"/>
                    </a:lnTo>
                    <a:lnTo>
                      <a:pt x="196" y="132"/>
                    </a:lnTo>
                    <a:lnTo>
                      <a:pt x="194" y="139"/>
                    </a:lnTo>
                    <a:lnTo>
                      <a:pt x="193" y="150"/>
                    </a:lnTo>
                    <a:lnTo>
                      <a:pt x="183" y="154"/>
                    </a:lnTo>
                    <a:lnTo>
                      <a:pt x="173" y="153"/>
                    </a:lnTo>
                    <a:lnTo>
                      <a:pt x="168" y="145"/>
                    </a:lnTo>
                    <a:lnTo>
                      <a:pt x="157" y="141"/>
                    </a:lnTo>
                    <a:lnTo>
                      <a:pt x="142" y="141"/>
                    </a:lnTo>
                    <a:lnTo>
                      <a:pt x="143" y="155"/>
                    </a:lnTo>
                    <a:lnTo>
                      <a:pt x="141" y="166"/>
                    </a:lnTo>
                    <a:lnTo>
                      <a:pt x="136" y="173"/>
                    </a:lnTo>
                    <a:lnTo>
                      <a:pt x="131" y="177"/>
                    </a:lnTo>
                    <a:lnTo>
                      <a:pt x="133" y="189"/>
                    </a:lnTo>
                    <a:lnTo>
                      <a:pt x="133" y="200"/>
                    </a:lnTo>
                    <a:lnTo>
                      <a:pt x="123" y="218"/>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76" name="Freeform 14"/>
              <p:cNvSpPr>
                <a:spLocks noChangeAspect="1"/>
              </p:cNvSpPr>
              <p:nvPr/>
            </p:nvSpPr>
            <p:spPr bwMode="auto">
              <a:xfrm>
                <a:off x="5066453" y="4851534"/>
                <a:ext cx="520417" cy="332523"/>
              </a:xfrm>
              <a:custGeom>
                <a:avLst/>
                <a:gdLst>
                  <a:gd name="T0" fmla="*/ 419 w 354"/>
                  <a:gd name="T1" fmla="*/ 69 h 226"/>
                  <a:gd name="T2" fmla="*/ 373 w 354"/>
                  <a:gd name="T3" fmla="*/ 126 h 226"/>
                  <a:gd name="T4" fmla="*/ 348 w 354"/>
                  <a:gd name="T5" fmla="*/ 171 h 226"/>
                  <a:gd name="T6" fmla="*/ 373 w 354"/>
                  <a:gd name="T7" fmla="*/ 207 h 226"/>
                  <a:gd name="T8" fmla="*/ 347 w 354"/>
                  <a:gd name="T9" fmla="*/ 202 h 226"/>
                  <a:gd name="T10" fmla="*/ 320 w 354"/>
                  <a:gd name="T11" fmla="*/ 204 h 226"/>
                  <a:gd name="T12" fmla="*/ 293 w 354"/>
                  <a:gd name="T13" fmla="*/ 221 h 226"/>
                  <a:gd name="T14" fmla="*/ 259 w 354"/>
                  <a:gd name="T15" fmla="*/ 248 h 226"/>
                  <a:gd name="T16" fmla="*/ 243 w 354"/>
                  <a:gd name="T17" fmla="*/ 267 h 226"/>
                  <a:gd name="T18" fmla="*/ 205 w 354"/>
                  <a:gd name="T19" fmla="*/ 263 h 226"/>
                  <a:gd name="T20" fmla="*/ 174 w 354"/>
                  <a:gd name="T21" fmla="*/ 243 h 226"/>
                  <a:gd name="T22" fmla="*/ 136 w 354"/>
                  <a:gd name="T23" fmla="*/ 254 h 226"/>
                  <a:gd name="T24" fmla="*/ 100 w 354"/>
                  <a:gd name="T25" fmla="*/ 258 h 226"/>
                  <a:gd name="T26" fmla="*/ 74 w 354"/>
                  <a:gd name="T27" fmla="*/ 256 h 226"/>
                  <a:gd name="T28" fmla="*/ 63 w 354"/>
                  <a:gd name="T29" fmla="*/ 237 h 226"/>
                  <a:gd name="T30" fmla="*/ 43 w 354"/>
                  <a:gd name="T31" fmla="*/ 204 h 226"/>
                  <a:gd name="T32" fmla="*/ 17 w 354"/>
                  <a:gd name="T33" fmla="*/ 177 h 226"/>
                  <a:gd name="T34" fmla="*/ 8 w 354"/>
                  <a:gd name="T35" fmla="*/ 146 h 226"/>
                  <a:gd name="T36" fmla="*/ 34 w 354"/>
                  <a:gd name="T37" fmla="*/ 114 h 226"/>
                  <a:gd name="T38" fmla="*/ 31 w 354"/>
                  <a:gd name="T39" fmla="*/ 83 h 226"/>
                  <a:gd name="T40" fmla="*/ 0 w 354"/>
                  <a:gd name="T41" fmla="*/ 43 h 226"/>
                  <a:gd name="T42" fmla="*/ 20 w 354"/>
                  <a:gd name="T43" fmla="*/ 6 h 226"/>
                  <a:gd name="T44" fmla="*/ 49 w 354"/>
                  <a:gd name="T45" fmla="*/ 10 h 226"/>
                  <a:gd name="T46" fmla="*/ 43 w 354"/>
                  <a:gd name="T47" fmla="*/ 46 h 226"/>
                  <a:gd name="T48" fmla="*/ 63 w 354"/>
                  <a:gd name="T49" fmla="*/ 55 h 226"/>
                  <a:gd name="T50" fmla="*/ 101 w 354"/>
                  <a:gd name="T51" fmla="*/ 61 h 226"/>
                  <a:gd name="T52" fmla="*/ 127 w 354"/>
                  <a:gd name="T53" fmla="*/ 63 h 226"/>
                  <a:gd name="T54" fmla="*/ 174 w 354"/>
                  <a:gd name="T55" fmla="*/ 61 h 226"/>
                  <a:gd name="T56" fmla="*/ 216 w 354"/>
                  <a:gd name="T57" fmla="*/ 62 h 226"/>
                  <a:gd name="T58" fmla="*/ 251 w 354"/>
                  <a:gd name="T59" fmla="*/ 42 h 226"/>
                  <a:gd name="T60" fmla="*/ 285 w 354"/>
                  <a:gd name="T61" fmla="*/ 7 h 226"/>
                  <a:gd name="T62" fmla="*/ 312 w 354"/>
                  <a:gd name="T63" fmla="*/ 4 h 226"/>
                  <a:gd name="T64" fmla="*/ 341 w 354"/>
                  <a:gd name="T65" fmla="*/ 4 h 226"/>
                  <a:gd name="T66" fmla="*/ 364 w 354"/>
                  <a:gd name="T67" fmla="*/ 17 h 226"/>
                  <a:gd name="T68" fmla="*/ 394 w 354"/>
                  <a:gd name="T69" fmla="*/ 31 h 2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226"/>
                  <a:gd name="T107" fmla="*/ 354 w 354"/>
                  <a:gd name="T108" fmla="*/ 226 h 2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226">
                    <a:moveTo>
                      <a:pt x="354" y="34"/>
                    </a:moveTo>
                    <a:lnTo>
                      <a:pt x="352" y="58"/>
                    </a:lnTo>
                    <a:lnTo>
                      <a:pt x="329" y="70"/>
                    </a:lnTo>
                    <a:lnTo>
                      <a:pt x="314" y="106"/>
                    </a:lnTo>
                    <a:lnTo>
                      <a:pt x="329" y="125"/>
                    </a:lnTo>
                    <a:lnTo>
                      <a:pt x="293" y="144"/>
                    </a:lnTo>
                    <a:lnTo>
                      <a:pt x="322" y="166"/>
                    </a:lnTo>
                    <a:lnTo>
                      <a:pt x="314" y="174"/>
                    </a:lnTo>
                    <a:lnTo>
                      <a:pt x="304" y="171"/>
                    </a:lnTo>
                    <a:lnTo>
                      <a:pt x="292" y="170"/>
                    </a:lnTo>
                    <a:lnTo>
                      <a:pt x="281" y="170"/>
                    </a:lnTo>
                    <a:lnTo>
                      <a:pt x="269" y="171"/>
                    </a:lnTo>
                    <a:lnTo>
                      <a:pt x="254" y="171"/>
                    </a:lnTo>
                    <a:lnTo>
                      <a:pt x="246" y="186"/>
                    </a:lnTo>
                    <a:lnTo>
                      <a:pt x="230" y="187"/>
                    </a:lnTo>
                    <a:lnTo>
                      <a:pt x="218" y="208"/>
                    </a:lnTo>
                    <a:lnTo>
                      <a:pt x="215" y="226"/>
                    </a:lnTo>
                    <a:lnTo>
                      <a:pt x="204" y="224"/>
                    </a:lnTo>
                    <a:lnTo>
                      <a:pt x="187" y="221"/>
                    </a:lnTo>
                    <a:lnTo>
                      <a:pt x="172" y="221"/>
                    </a:lnTo>
                    <a:lnTo>
                      <a:pt x="156" y="217"/>
                    </a:lnTo>
                    <a:lnTo>
                      <a:pt x="146" y="204"/>
                    </a:lnTo>
                    <a:lnTo>
                      <a:pt x="130" y="209"/>
                    </a:lnTo>
                    <a:lnTo>
                      <a:pt x="114" y="213"/>
                    </a:lnTo>
                    <a:lnTo>
                      <a:pt x="100" y="216"/>
                    </a:lnTo>
                    <a:lnTo>
                      <a:pt x="84" y="217"/>
                    </a:lnTo>
                    <a:lnTo>
                      <a:pt x="67" y="225"/>
                    </a:lnTo>
                    <a:lnTo>
                      <a:pt x="62" y="215"/>
                    </a:lnTo>
                    <a:lnTo>
                      <a:pt x="57" y="219"/>
                    </a:lnTo>
                    <a:lnTo>
                      <a:pt x="53" y="199"/>
                    </a:lnTo>
                    <a:lnTo>
                      <a:pt x="45" y="183"/>
                    </a:lnTo>
                    <a:lnTo>
                      <a:pt x="36" y="171"/>
                    </a:lnTo>
                    <a:lnTo>
                      <a:pt x="23" y="156"/>
                    </a:lnTo>
                    <a:lnTo>
                      <a:pt x="14" y="149"/>
                    </a:lnTo>
                    <a:lnTo>
                      <a:pt x="7" y="135"/>
                    </a:lnTo>
                    <a:lnTo>
                      <a:pt x="7" y="123"/>
                    </a:lnTo>
                    <a:lnTo>
                      <a:pt x="16" y="110"/>
                    </a:lnTo>
                    <a:lnTo>
                      <a:pt x="29" y="96"/>
                    </a:lnTo>
                    <a:lnTo>
                      <a:pt x="37" y="84"/>
                    </a:lnTo>
                    <a:lnTo>
                      <a:pt x="26" y="70"/>
                    </a:lnTo>
                    <a:lnTo>
                      <a:pt x="6" y="54"/>
                    </a:lnTo>
                    <a:lnTo>
                      <a:pt x="0" y="36"/>
                    </a:lnTo>
                    <a:lnTo>
                      <a:pt x="9" y="15"/>
                    </a:lnTo>
                    <a:lnTo>
                      <a:pt x="17" y="5"/>
                    </a:lnTo>
                    <a:lnTo>
                      <a:pt x="29" y="2"/>
                    </a:lnTo>
                    <a:lnTo>
                      <a:pt x="41" y="8"/>
                    </a:lnTo>
                    <a:lnTo>
                      <a:pt x="45" y="21"/>
                    </a:lnTo>
                    <a:lnTo>
                      <a:pt x="36" y="39"/>
                    </a:lnTo>
                    <a:lnTo>
                      <a:pt x="40" y="46"/>
                    </a:lnTo>
                    <a:lnTo>
                      <a:pt x="53" y="46"/>
                    </a:lnTo>
                    <a:lnTo>
                      <a:pt x="71" y="48"/>
                    </a:lnTo>
                    <a:lnTo>
                      <a:pt x="85" y="51"/>
                    </a:lnTo>
                    <a:lnTo>
                      <a:pt x="98" y="59"/>
                    </a:lnTo>
                    <a:lnTo>
                      <a:pt x="107" y="53"/>
                    </a:lnTo>
                    <a:lnTo>
                      <a:pt x="125" y="51"/>
                    </a:lnTo>
                    <a:lnTo>
                      <a:pt x="146" y="51"/>
                    </a:lnTo>
                    <a:lnTo>
                      <a:pt x="166" y="51"/>
                    </a:lnTo>
                    <a:lnTo>
                      <a:pt x="182" y="52"/>
                    </a:lnTo>
                    <a:lnTo>
                      <a:pt x="201" y="44"/>
                    </a:lnTo>
                    <a:lnTo>
                      <a:pt x="211" y="35"/>
                    </a:lnTo>
                    <a:lnTo>
                      <a:pt x="227" y="19"/>
                    </a:lnTo>
                    <a:lnTo>
                      <a:pt x="240" y="6"/>
                    </a:lnTo>
                    <a:lnTo>
                      <a:pt x="247" y="0"/>
                    </a:lnTo>
                    <a:lnTo>
                      <a:pt x="262" y="3"/>
                    </a:lnTo>
                    <a:lnTo>
                      <a:pt x="273" y="2"/>
                    </a:lnTo>
                    <a:lnTo>
                      <a:pt x="287" y="3"/>
                    </a:lnTo>
                    <a:lnTo>
                      <a:pt x="294" y="2"/>
                    </a:lnTo>
                    <a:lnTo>
                      <a:pt x="306" y="14"/>
                    </a:lnTo>
                    <a:lnTo>
                      <a:pt x="318" y="21"/>
                    </a:lnTo>
                    <a:lnTo>
                      <a:pt x="331" y="26"/>
                    </a:lnTo>
                    <a:lnTo>
                      <a:pt x="354" y="34"/>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77" name="Freeform 15"/>
              <p:cNvSpPr>
                <a:spLocks noChangeAspect="1"/>
              </p:cNvSpPr>
              <p:nvPr/>
            </p:nvSpPr>
            <p:spPr bwMode="auto">
              <a:xfrm>
                <a:off x="4360615" y="4572165"/>
                <a:ext cx="491985" cy="402983"/>
              </a:xfrm>
              <a:custGeom>
                <a:avLst/>
                <a:gdLst>
                  <a:gd name="T0" fmla="*/ 234 w 335"/>
                  <a:gd name="T1" fmla="*/ 301 h 274"/>
                  <a:gd name="T2" fmla="*/ 177 w 335"/>
                  <a:gd name="T3" fmla="*/ 288 h 274"/>
                  <a:gd name="T4" fmla="*/ 112 w 335"/>
                  <a:gd name="T5" fmla="*/ 213 h 274"/>
                  <a:gd name="T6" fmla="*/ 100 w 335"/>
                  <a:gd name="T7" fmla="*/ 169 h 274"/>
                  <a:gd name="T8" fmla="*/ 87 w 335"/>
                  <a:gd name="T9" fmla="*/ 104 h 274"/>
                  <a:gd name="T10" fmla="*/ 46 w 335"/>
                  <a:gd name="T11" fmla="*/ 143 h 274"/>
                  <a:gd name="T12" fmla="*/ 0 w 335"/>
                  <a:gd name="T13" fmla="*/ 114 h 274"/>
                  <a:gd name="T14" fmla="*/ 40 w 335"/>
                  <a:gd name="T15" fmla="*/ 76 h 274"/>
                  <a:gd name="T16" fmla="*/ 71 w 335"/>
                  <a:gd name="T17" fmla="*/ 68 h 274"/>
                  <a:gd name="T18" fmla="*/ 90 w 335"/>
                  <a:gd name="T19" fmla="*/ 75 h 274"/>
                  <a:gd name="T20" fmla="*/ 124 w 335"/>
                  <a:gd name="T21" fmla="*/ 70 h 274"/>
                  <a:gd name="T22" fmla="*/ 154 w 335"/>
                  <a:gd name="T23" fmla="*/ 50 h 274"/>
                  <a:gd name="T24" fmla="*/ 191 w 335"/>
                  <a:gd name="T25" fmla="*/ 20 h 274"/>
                  <a:gd name="T26" fmla="*/ 217 w 335"/>
                  <a:gd name="T27" fmla="*/ 0 h 274"/>
                  <a:gd name="T28" fmla="*/ 254 w 335"/>
                  <a:gd name="T29" fmla="*/ 29 h 274"/>
                  <a:gd name="T30" fmla="*/ 277 w 335"/>
                  <a:gd name="T31" fmla="*/ 63 h 274"/>
                  <a:gd name="T32" fmla="*/ 304 w 335"/>
                  <a:gd name="T33" fmla="*/ 87 h 274"/>
                  <a:gd name="T34" fmla="*/ 349 w 335"/>
                  <a:gd name="T35" fmla="*/ 71 h 274"/>
                  <a:gd name="T36" fmla="*/ 356 w 335"/>
                  <a:gd name="T37" fmla="*/ 100 h 274"/>
                  <a:gd name="T38" fmla="*/ 386 w 335"/>
                  <a:gd name="T39" fmla="*/ 117 h 274"/>
                  <a:gd name="T40" fmla="*/ 394 w 335"/>
                  <a:gd name="T41" fmla="*/ 146 h 274"/>
                  <a:gd name="T42" fmla="*/ 377 w 335"/>
                  <a:gd name="T43" fmla="*/ 167 h 274"/>
                  <a:gd name="T44" fmla="*/ 348 w 335"/>
                  <a:gd name="T45" fmla="*/ 153 h 274"/>
                  <a:gd name="T46" fmla="*/ 315 w 335"/>
                  <a:gd name="T47" fmla="*/ 137 h 274"/>
                  <a:gd name="T48" fmla="*/ 289 w 335"/>
                  <a:gd name="T49" fmla="*/ 157 h 274"/>
                  <a:gd name="T50" fmla="*/ 276 w 335"/>
                  <a:gd name="T51" fmla="*/ 133 h 274"/>
                  <a:gd name="T52" fmla="*/ 245 w 335"/>
                  <a:gd name="T53" fmla="*/ 126 h 274"/>
                  <a:gd name="T54" fmla="*/ 203 w 335"/>
                  <a:gd name="T55" fmla="*/ 125 h 274"/>
                  <a:gd name="T56" fmla="*/ 184 w 335"/>
                  <a:gd name="T57" fmla="*/ 124 h 274"/>
                  <a:gd name="T58" fmla="*/ 160 w 335"/>
                  <a:gd name="T59" fmla="*/ 113 h 274"/>
                  <a:gd name="T60" fmla="*/ 159 w 335"/>
                  <a:gd name="T61" fmla="*/ 149 h 274"/>
                  <a:gd name="T62" fmla="*/ 171 w 335"/>
                  <a:gd name="T63" fmla="*/ 177 h 274"/>
                  <a:gd name="T64" fmla="*/ 185 w 335"/>
                  <a:gd name="T65" fmla="*/ 202 h 274"/>
                  <a:gd name="T66" fmla="*/ 201 w 335"/>
                  <a:gd name="T67" fmla="*/ 230 h 274"/>
                  <a:gd name="T68" fmla="*/ 217 w 335"/>
                  <a:gd name="T69" fmla="*/ 247 h 274"/>
                  <a:gd name="T70" fmla="*/ 248 w 335"/>
                  <a:gd name="T71" fmla="*/ 277 h 274"/>
                  <a:gd name="T72" fmla="*/ 266 w 335"/>
                  <a:gd name="T73" fmla="*/ 301 h 274"/>
                  <a:gd name="T74" fmla="*/ 276 w 335"/>
                  <a:gd name="T75" fmla="*/ 326 h 27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35"/>
                  <a:gd name="T115" fmla="*/ 0 h 274"/>
                  <a:gd name="T116" fmla="*/ 335 w 335"/>
                  <a:gd name="T117" fmla="*/ 274 h 27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35" h="274">
                    <a:moveTo>
                      <a:pt x="232" y="274"/>
                    </a:moveTo>
                    <a:lnTo>
                      <a:pt x="197" y="253"/>
                    </a:lnTo>
                    <a:lnTo>
                      <a:pt x="167" y="241"/>
                    </a:lnTo>
                    <a:lnTo>
                      <a:pt x="149" y="242"/>
                    </a:lnTo>
                    <a:lnTo>
                      <a:pt x="116" y="200"/>
                    </a:lnTo>
                    <a:lnTo>
                      <a:pt x="94" y="179"/>
                    </a:lnTo>
                    <a:lnTo>
                      <a:pt x="109" y="166"/>
                    </a:lnTo>
                    <a:lnTo>
                      <a:pt x="84" y="142"/>
                    </a:lnTo>
                    <a:lnTo>
                      <a:pt x="84" y="108"/>
                    </a:lnTo>
                    <a:lnTo>
                      <a:pt x="73" y="87"/>
                    </a:lnTo>
                    <a:lnTo>
                      <a:pt x="55" y="87"/>
                    </a:lnTo>
                    <a:lnTo>
                      <a:pt x="39" y="120"/>
                    </a:lnTo>
                    <a:lnTo>
                      <a:pt x="19" y="106"/>
                    </a:lnTo>
                    <a:lnTo>
                      <a:pt x="0" y="96"/>
                    </a:lnTo>
                    <a:lnTo>
                      <a:pt x="12" y="70"/>
                    </a:lnTo>
                    <a:lnTo>
                      <a:pt x="34" y="64"/>
                    </a:lnTo>
                    <a:lnTo>
                      <a:pt x="41" y="63"/>
                    </a:lnTo>
                    <a:lnTo>
                      <a:pt x="60" y="57"/>
                    </a:lnTo>
                    <a:lnTo>
                      <a:pt x="69" y="60"/>
                    </a:lnTo>
                    <a:lnTo>
                      <a:pt x="76" y="63"/>
                    </a:lnTo>
                    <a:lnTo>
                      <a:pt x="87" y="62"/>
                    </a:lnTo>
                    <a:lnTo>
                      <a:pt x="104" y="59"/>
                    </a:lnTo>
                    <a:lnTo>
                      <a:pt x="123" y="53"/>
                    </a:lnTo>
                    <a:lnTo>
                      <a:pt x="130" y="42"/>
                    </a:lnTo>
                    <a:lnTo>
                      <a:pt x="147" y="32"/>
                    </a:lnTo>
                    <a:lnTo>
                      <a:pt x="161" y="17"/>
                    </a:lnTo>
                    <a:lnTo>
                      <a:pt x="171" y="9"/>
                    </a:lnTo>
                    <a:lnTo>
                      <a:pt x="183" y="0"/>
                    </a:lnTo>
                    <a:lnTo>
                      <a:pt x="204" y="15"/>
                    </a:lnTo>
                    <a:lnTo>
                      <a:pt x="214" y="24"/>
                    </a:lnTo>
                    <a:lnTo>
                      <a:pt x="221" y="38"/>
                    </a:lnTo>
                    <a:lnTo>
                      <a:pt x="233" y="53"/>
                    </a:lnTo>
                    <a:lnTo>
                      <a:pt x="245" y="62"/>
                    </a:lnTo>
                    <a:lnTo>
                      <a:pt x="256" y="73"/>
                    </a:lnTo>
                    <a:lnTo>
                      <a:pt x="282" y="71"/>
                    </a:lnTo>
                    <a:lnTo>
                      <a:pt x="294" y="60"/>
                    </a:lnTo>
                    <a:lnTo>
                      <a:pt x="298" y="75"/>
                    </a:lnTo>
                    <a:lnTo>
                      <a:pt x="300" y="84"/>
                    </a:lnTo>
                    <a:lnTo>
                      <a:pt x="312" y="90"/>
                    </a:lnTo>
                    <a:lnTo>
                      <a:pt x="325" y="98"/>
                    </a:lnTo>
                    <a:lnTo>
                      <a:pt x="335" y="111"/>
                    </a:lnTo>
                    <a:lnTo>
                      <a:pt x="332" y="123"/>
                    </a:lnTo>
                    <a:lnTo>
                      <a:pt x="327" y="130"/>
                    </a:lnTo>
                    <a:lnTo>
                      <a:pt x="317" y="140"/>
                    </a:lnTo>
                    <a:lnTo>
                      <a:pt x="305" y="132"/>
                    </a:lnTo>
                    <a:lnTo>
                      <a:pt x="293" y="129"/>
                    </a:lnTo>
                    <a:lnTo>
                      <a:pt x="276" y="121"/>
                    </a:lnTo>
                    <a:lnTo>
                      <a:pt x="265" y="115"/>
                    </a:lnTo>
                    <a:lnTo>
                      <a:pt x="252" y="115"/>
                    </a:lnTo>
                    <a:lnTo>
                      <a:pt x="243" y="132"/>
                    </a:lnTo>
                    <a:lnTo>
                      <a:pt x="235" y="128"/>
                    </a:lnTo>
                    <a:lnTo>
                      <a:pt x="232" y="112"/>
                    </a:lnTo>
                    <a:lnTo>
                      <a:pt x="217" y="109"/>
                    </a:lnTo>
                    <a:lnTo>
                      <a:pt x="206" y="106"/>
                    </a:lnTo>
                    <a:lnTo>
                      <a:pt x="188" y="105"/>
                    </a:lnTo>
                    <a:lnTo>
                      <a:pt x="171" y="105"/>
                    </a:lnTo>
                    <a:lnTo>
                      <a:pt x="164" y="107"/>
                    </a:lnTo>
                    <a:lnTo>
                      <a:pt x="155" y="104"/>
                    </a:lnTo>
                    <a:lnTo>
                      <a:pt x="145" y="99"/>
                    </a:lnTo>
                    <a:lnTo>
                      <a:pt x="135" y="95"/>
                    </a:lnTo>
                    <a:lnTo>
                      <a:pt x="135" y="111"/>
                    </a:lnTo>
                    <a:lnTo>
                      <a:pt x="134" y="125"/>
                    </a:lnTo>
                    <a:lnTo>
                      <a:pt x="140" y="136"/>
                    </a:lnTo>
                    <a:lnTo>
                      <a:pt x="144" y="149"/>
                    </a:lnTo>
                    <a:lnTo>
                      <a:pt x="147" y="163"/>
                    </a:lnTo>
                    <a:lnTo>
                      <a:pt x="156" y="170"/>
                    </a:lnTo>
                    <a:lnTo>
                      <a:pt x="163" y="181"/>
                    </a:lnTo>
                    <a:lnTo>
                      <a:pt x="169" y="193"/>
                    </a:lnTo>
                    <a:lnTo>
                      <a:pt x="171" y="201"/>
                    </a:lnTo>
                    <a:lnTo>
                      <a:pt x="183" y="208"/>
                    </a:lnTo>
                    <a:lnTo>
                      <a:pt x="197" y="221"/>
                    </a:lnTo>
                    <a:lnTo>
                      <a:pt x="209" y="233"/>
                    </a:lnTo>
                    <a:lnTo>
                      <a:pt x="215" y="241"/>
                    </a:lnTo>
                    <a:lnTo>
                      <a:pt x="224" y="253"/>
                    </a:lnTo>
                    <a:lnTo>
                      <a:pt x="231" y="265"/>
                    </a:lnTo>
                    <a:lnTo>
                      <a:pt x="232" y="274"/>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78" name="Freeform 16"/>
              <p:cNvSpPr>
                <a:spLocks noChangeAspect="1" noEditPoints="1"/>
              </p:cNvSpPr>
              <p:nvPr/>
            </p:nvSpPr>
            <p:spPr bwMode="auto">
              <a:xfrm>
                <a:off x="4103497" y="3206226"/>
                <a:ext cx="375788" cy="445012"/>
              </a:xfrm>
              <a:custGeom>
                <a:avLst/>
                <a:gdLst>
                  <a:gd name="T0" fmla="*/ 31 w 256"/>
                  <a:gd name="T1" fmla="*/ 215 h 303"/>
                  <a:gd name="T2" fmla="*/ 23 w 256"/>
                  <a:gd name="T3" fmla="*/ 154 h 303"/>
                  <a:gd name="T4" fmla="*/ 53 w 256"/>
                  <a:gd name="T5" fmla="*/ 78 h 303"/>
                  <a:gd name="T6" fmla="*/ 105 w 256"/>
                  <a:gd name="T7" fmla="*/ 52 h 303"/>
                  <a:gd name="T8" fmla="*/ 170 w 256"/>
                  <a:gd name="T9" fmla="*/ 0 h 303"/>
                  <a:gd name="T10" fmla="*/ 163 w 256"/>
                  <a:gd name="T11" fmla="*/ 43 h 303"/>
                  <a:gd name="T12" fmla="*/ 153 w 256"/>
                  <a:gd name="T13" fmla="*/ 83 h 303"/>
                  <a:gd name="T14" fmla="*/ 154 w 256"/>
                  <a:gd name="T15" fmla="*/ 120 h 303"/>
                  <a:gd name="T16" fmla="*/ 151 w 256"/>
                  <a:gd name="T17" fmla="*/ 160 h 303"/>
                  <a:gd name="T18" fmla="*/ 126 w 256"/>
                  <a:gd name="T19" fmla="*/ 176 h 303"/>
                  <a:gd name="T20" fmla="*/ 97 w 256"/>
                  <a:gd name="T21" fmla="*/ 201 h 303"/>
                  <a:gd name="T22" fmla="*/ 83 w 256"/>
                  <a:gd name="T23" fmla="*/ 260 h 303"/>
                  <a:gd name="T24" fmla="*/ 56 w 256"/>
                  <a:gd name="T25" fmla="*/ 284 h 303"/>
                  <a:gd name="T26" fmla="*/ 37 w 256"/>
                  <a:gd name="T27" fmla="*/ 265 h 303"/>
                  <a:gd name="T28" fmla="*/ 118 w 256"/>
                  <a:gd name="T29" fmla="*/ 252 h 303"/>
                  <a:gd name="T30" fmla="*/ 134 w 256"/>
                  <a:gd name="T31" fmla="*/ 230 h 303"/>
                  <a:gd name="T32" fmla="*/ 148 w 256"/>
                  <a:gd name="T33" fmla="*/ 192 h 303"/>
                  <a:gd name="T34" fmla="*/ 160 w 256"/>
                  <a:gd name="T35" fmla="*/ 216 h 303"/>
                  <a:gd name="T36" fmla="*/ 151 w 256"/>
                  <a:gd name="T37" fmla="*/ 253 h 303"/>
                  <a:gd name="T38" fmla="*/ 143 w 256"/>
                  <a:gd name="T39" fmla="*/ 269 h 303"/>
                  <a:gd name="T40" fmla="*/ 114 w 256"/>
                  <a:gd name="T41" fmla="*/ 260 h 303"/>
                  <a:gd name="T42" fmla="*/ 172 w 256"/>
                  <a:gd name="T43" fmla="*/ 292 h 303"/>
                  <a:gd name="T44" fmla="*/ 177 w 256"/>
                  <a:gd name="T45" fmla="*/ 282 h 303"/>
                  <a:gd name="T46" fmla="*/ 200 w 256"/>
                  <a:gd name="T47" fmla="*/ 303 h 303"/>
                  <a:gd name="T48" fmla="*/ 190 w 256"/>
                  <a:gd name="T49" fmla="*/ 317 h 303"/>
                  <a:gd name="T50" fmla="*/ 163 w 256"/>
                  <a:gd name="T51" fmla="*/ 311 h 303"/>
                  <a:gd name="T52" fmla="*/ 222 w 256"/>
                  <a:gd name="T53" fmla="*/ 274 h 303"/>
                  <a:gd name="T54" fmla="*/ 234 w 256"/>
                  <a:gd name="T55" fmla="*/ 247 h 303"/>
                  <a:gd name="T56" fmla="*/ 252 w 256"/>
                  <a:gd name="T57" fmla="*/ 223 h 303"/>
                  <a:gd name="T58" fmla="*/ 248 w 256"/>
                  <a:gd name="T59" fmla="*/ 185 h 303"/>
                  <a:gd name="T60" fmla="*/ 220 w 256"/>
                  <a:gd name="T61" fmla="*/ 185 h 303"/>
                  <a:gd name="T62" fmla="*/ 202 w 256"/>
                  <a:gd name="T63" fmla="*/ 206 h 303"/>
                  <a:gd name="T64" fmla="*/ 191 w 256"/>
                  <a:gd name="T65" fmla="*/ 179 h 303"/>
                  <a:gd name="T66" fmla="*/ 191 w 256"/>
                  <a:gd name="T67" fmla="*/ 206 h 303"/>
                  <a:gd name="T68" fmla="*/ 185 w 256"/>
                  <a:gd name="T69" fmla="*/ 240 h 303"/>
                  <a:gd name="T70" fmla="*/ 196 w 256"/>
                  <a:gd name="T71" fmla="*/ 264 h 303"/>
                  <a:gd name="T72" fmla="*/ 222 w 256"/>
                  <a:gd name="T73" fmla="*/ 274 h 303"/>
                  <a:gd name="T74" fmla="*/ 302 w 256"/>
                  <a:gd name="T75" fmla="*/ 334 h 303"/>
                  <a:gd name="T76" fmla="*/ 299 w 256"/>
                  <a:gd name="T77" fmla="*/ 354 h 303"/>
                  <a:gd name="T78" fmla="*/ 280 w 256"/>
                  <a:gd name="T79" fmla="*/ 352 h 303"/>
                  <a:gd name="T80" fmla="*/ 271 w 256"/>
                  <a:gd name="T81" fmla="*/ 329 h 30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6"/>
                  <a:gd name="T124" fmla="*/ 0 h 303"/>
                  <a:gd name="T125" fmla="*/ 256 w 256"/>
                  <a:gd name="T126" fmla="*/ 303 h 30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6" h="303">
                    <a:moveTo>
                      <a:pt x="31" y="223"/>
                    </a:moveTo>
                    <a:lnTo>
                      <a:pt x="26" y="181"/>
                    </a:lnTo>
                    <a:lnTo>
                      <a:pt x="0" y="174"/>
                    </a:lnTo>
                    <a:lnTo>
                      <a:pt x="19" y="130"/>
                    </a:lnTo>
                    <a:lnTo>
                      <a:pt x="21" y="93"/>
                    </a:lnTo>
                    <a:lnTo>
                      <a:pt x="45" y="66"/>
                    </a:lnTo>
                    <a:lnTo>
                      <a:pt x="60" y="43"/>
                    </a:lnTo>
                    <a:lnTo>
                      <a:pt x="88" y="44"/>
                    </a:lnTo>
                    <a:lnTo>
                      <a:pt x="116" y="23"/>
                    </a:lnTo>
                    <a:lnTo>
                      <a:pt x="143" y="0"/>
                    </a:lnTo>
                    <a:lnTo>
                      <a:pt x="154" y="12"/>
                    </a:lnTo>
                    <a:lnTo>
                      <a:pt x="137" y="36"/>
                    </a:lnTo>
                    <a:lnTo>
                      <a:pt x="144" y="46"/>
                    </a:lnTo>
                    <a:lnTo>
                      <a:pt x="129" y="70"/>
                    </a:lnTo>
                    <a:lnTo>
                      <a:pt x="121" y="86"/>
                    </a:lnTo>
                    <a:lnTo>
                      <a:pt x="130" y="101"/>
                    </a:lnTo>
                    <a:lnTo>
                      <a:pt x="143" y="113"/>
                    </a:lnTo>
                    <a:lnTo>
                      <a:pt x="127" y="135"/>
                    </a:lnTo>
                    <a:lnTo>
                      <a:pt x="111" y="132"/>
                    </a:lnTo>
                    <a:lnTo>
                      <a:pt x="106" y="148"/>
                    </a:lnTo>
                    <a:lnTo>
                      <a:pt x="98" y="158"/>
                    </a:lnTo>
                    <a:lnTo>
                      <a:pt x="82" y="169"/>
                    </a:lnTo>
                    <a:lnTo>
                      <a:pt x="76" y="199"/>
                    </a:lnTo>
                    <a:lnTo>
                      <a:pt x="70" y="219"/>
                    </a:lnTo>
                    <a:lnTo>
                      <a:pt x="62" y="241"/>
                    </a:lnTo>
                    <a:lnTo>
                      <a:pt x="47" y="239"/>
                    </a:lnTo>
                    <a:lnTo>
                      <a:pt x="38" y="226"/>
                    </a:lnTo>
                    <a:lnTo>
                      <a:pt x="31" y="223"/>
                    </a:lnTo>
                    <a:close/>
                    <a:moveTo>
                      <a:pt x="96" y="219"/>
                    </a:moveTo>
                    <a:lnTo>
                      <a:pt x="99" y="212"/>
                    </a:lnTo>
                    <a:lnTo>
                      <a:pt x="99" y="200"/>
                    </a:lnTo>
                    <a:lnTo>
                      <a:pt x="113" y="194"/>
                    </a:lnTo>
                    <a:lnTo>
                      <a:pt x="117" y="173"/>
                    </a:lnTo>
                    <a:lnTo>
                      <a:pt x="125" y="162"/>
                    </a:lnTo>
                    <a:lnTo>
                      <a:pt x="132" y="170"/>
                    </a:lnTo>
                    <a:lnTo>
                      <a:pt x="135" y="182"/>
                    </a:lnTo>
                    <a:lnTo>
                      <a:pt x="132" y="200"/>
                    </a:lnTo>
                    <a:lnTo>
                      <a:pt x="127" y="213"/>
                    </a:lnTo>
                    <a:lnTo>
                      <a:pt x="131" y="221"/>
                    </a:lnTo>
                    <a:lnTo>
                      <a:pt x="120" y="226"/>
                    </a:lnTo>
                    <a:lnTo>
                      <a:pt x="106" y="219"/>
                    </a:lnTo>
                    <a:lnTo>
                      <a:pt x="96" y="219"/>
                    </a:lnTo>
                    <a:close/>
                    <a:moveTo>
                      <a:pt x="137" y="252"/>
                    </a:moveTo>
                    <a:lnTo>
                      <a:pt x="145" y="246"/>
                    </a:lnTo>
                    <a:lnTo>
                      <a:pt x="144" y="238"/>
                    </a:lnTo>
                    <a:lnTo>
                      <a:pt x="149" y="237"/>
                    </a:lnTo>
                    <a:lnTo>
                      <a:pt x="160" y="246"/>
                    </a:lnTo>
                    <a:lnTo>
                      <a:pt x="168" y="255"/>
                    </a:lnTo>
                    <a:lnTo>
                      <a:pt x="168" y="267"/>
                    </a:lnTo>
                    <a:lnTo>
                      <a:pt x="160" y="267"/>
                    </a:lnTo>
                    <a:lnTo>
                      <a:pt x="149" y="276"/>
                    </a:lnTo>
                    <a:lnTo>
                      <a:pt x="137" y="262"/>
                    </a:lnTo>
                    <a:lnTo>
                      <a:pt x="137" y="252"/>
                    </a:lnTo>
                    <a:close/>
                    <a:moveTo>
                      <a:pt x="187" y="231"/>
                    </a:moveTo>
                    <a:lnTo>
                      <a:pt x="197" y="217"/>
                    </a:lnTo>
                    <a:lnTo>
                      <a:pt x="197" y="208"/>
                    </a:lnTo>
                    <a:lnTo>
                      <a:pt x="205" y="199"/>
                    </a:lnTo>
                    <a:lnTo>
                      <a:pt x="212" y="188"/>
                    </a:lnTo>
                    <a:lnTo>
                      <a:pt x="211" y="170"/>
                    </a:lnTo>
                    <a:lnTo>
                      <a:pt x="209" y="156"/>
                    </a:lnTo>
                    <a:lnTo>
                      <a:pt x="200" y="147"/>
                    </a:lnTo>
                    <a:lnTo>
                      <a:pt x="185" y="156"/>
                    </a:lnTo>
                    <a:lnTo>
                      <a:pt x="180" y="171"/>
                    </a:lnTo>
                    <a:lnTo>
                      <a:pt x="170" y="173"/>
                    </a:lnTo>
                    <a:lnTo>
                      <a:pt x="170" y="153"/>
                    </a:lnTo>
                    <a:lnTo>
                      <a:pt x="161" y="151"/>
                    </a:lnTo>
                    <a:lnTo>
                      <a:pt x="161" y="160"/>
                    </a:lnTo>
                    <a:lnTo>
                      <a:pt x="161" y="173"/>
                    </a:lnTo>
                    <a:lnTo>
                      <a:pt x="156" y="185"/>
                    </a:lnTo>
                    <a:lnTo>
                      <a:pt x="156" y="202"/>
                    </a:lnTo>
                    <a:lnTo>
                      <a:pt x="156" y="216"/>
                    </a:lnTo>
                    <a:lnTo>
                      <a:pt x="165" y="222"/>
                    </a:lnTo>
                    <a:lnTo>
                      <a:pt x="172" y="231"/>
                    </a:lnTo>
                    <a:lnTo>
                      <a:pt x="187" y="231"/>
                    </a:lnTo>
                    <a:close/>
                    <a:moveTo>
                      <a:pt x="246" y="273"/>
                    </a:moveTo>
                    <a:lnTo>
                      <a:pt x="254" y="281"/>
                    </a:lnTo>
                    <a:lnTo>
                      <a:pt x="256" y="290"/>
                    </a:lnTo>
                    <a:lnTo>
                      <a:pt x="252" y="298"/>
                    </a:lnTo>
                    <a:lnTo>
                      <a:pt x="245" y="303"/>
                    </a:lnTo>
                    <a:lnTo>
                      <a:pt x="236" y="296"/>
                    </a:lnTo>
                    <a:lnTo>
                      <a:pt x="228" y="292"/>
                    </a:lnTo>
                    <a:lnTo>
                      <a:pt x="228" y="277"/>
                    </a:lnTo>
                    <a:lnTo>
                      <a:pt x="246" y="273"/>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79" name="Freeform 17"/>
              <p:cNvSpPr>
                <a:spLocks noChangeAspect="1" noEditPoints="1"/>
              </p:cNvSpPr>
              <p:nvPr/>
            </p:nvSpPr>
            <p:spPr bwMode="auto">
              <a:xfrm>
                <a:off x="2402563" y="4547442"/>
                <a:ext cx="1117474" cy="934525"/>
              </a:xfrm>
              <a:custGeom>
                <a:avLst/>
                <a:gdLst>
                  <a:gd name="T0" fmla="*/ 852 w 760"/>
                  <a:gd name="T1" fmla="*/ 317 h 636"/>
                  <a:gd name="T2" fmla="*/ 802 w 760"/>
                  <a:gd name="T3" fmla="*/ 374 h 636"/>
                  <a:gd name="T4" fmla="*/ 678 w 760"/>
                  <a:gd name="T5" fmla="*/ 402 h 636"/>
                  <a:gd name="T6" fmla="*/ 590 w 760"/>
                  <a:gd name="T7" fmla="*/ 489 h 636"/>
                  <a:gd name="T8" fmla="*/ 566 w 760"/>
                  <a:gd name="T9" fmla="*/ 563 h 636"/>
                  <a:gd name="T10" fmla="*/ 561 w 760"/>
                  <a:gd name="T11" fmla="*/ 620 h 636"/>
                  <a:gd name="T12" fmla="*/ 502 w 760"/>
                  <a:gd name="T13" fmla="*/ 651 h 636"/>
                  <a:gd name="T14" fmla="*/ 485 w 760"/>
                  <a:gd name="T15" fmla="*/ 697 h 636"/>
                  <a:gd name="T16" fmla="*/ 421 w 760"/>
                  <a:gd name="T17" fmla="*/ 707 h 636"/>
                  <a:gd name="T18" fmla="*/ 378 w 760"/>
                  <a:gd name="T19" fmla="*/ 751 h 636"/>
                  <a:gd name="T20" fmla="*/ 305 w 760"/>
                  <a:gd name="T21" fmla="*/ 737 h 636"/>
                  <a:gd name="T22" fmla="*/ 228 w 760"/>
                  <a:gd name="T23" fmla="*/ 725 h 636"/>
                  <a:gd name="T24" fmla="*/ 176 w 760"/>
                  <a:gd name="T25" fmla="*/ 732 h 636"/>
                  <a:gd name="T26" fmla="*/ 114 w 760"/>
                  <a:gd name="T27" fmla="*/ 737 h 636"/>
                  <a:gd name="T28" fmla="*/ 61 w 760"/>
                  <a:gd name="T29" fmla="*/ 714 h 636"/>
                  <a:gd name="T30" fmla="*/ 21 w 760"/>
                  <a:gd name="T31" fmla="*/ 616 h 636"/>
                  <a:gd name="T32" fmla="*/ 30 w 760"/>
                  <a:gd name="T33" fmla="*/ 550 h 636"/>
                  <a:gd name="T34" fmla="*/ 44 w 760"/>
                  <a:gd name="T35" fmla="*/ 500 h 636"/>
                  <a:gd name="T36" fmla="*/ 83 w 760"/>
                  <a:gd name="T37" fmla="*/ 436 h 636"/>
                  <a:gd name="T38" fmla="*/ 76 w 760"/>
                  <a:gd name="T39" fmla="*/ 399 h 636"/>
                  <a:gd name="T40" fmla="*/ 125 w 760"/>
                  <a:gd name="T41" fmla="*/ 353 h 636"/>
                  <a:gd name="T42" fmla="*/ 178 w 760"/>
                  <a:gd name="T43" fmla="*/ 301 h 636"/>
                  <a:gd name="T44" fmla="*/ 187 w 760"/>
                  <a:gd name="T45" fmla="*/ 245 h 636"/>
                  <a:gd name="T46" fmla="*/ 150 w 760"/>
                  <a:gd name="T47" fmla="*/ 209 h 636"/>
                  <a:gd name="T48" fmla="*/ 111 w 760"/>
                  <a:gd name="T49" fmla="*/ 197 h 636"/>
                  <a:gd name="T50" fmla="*/ 73 w 760"/>
                  <a:gd name="T51" fmla="*/ 174 h 636"/>
                  <a:gd name="T52" fmla="*/ 15 w 760"/>
                  <a:gd name="T53" fmla="*/ 139 h 636"/>
                  <a:gd name="T54" fmla="*/ 21 w 760"/>
                  <a:gd name="T55" fmla="*/ 57 h 636"/>
                  <a:gd name="T56" fmla="*/ 108 w 760"/>
                  <a:gd name="T57" fmla="*/ 18 h 636"/>
                  <a:gd name="T58" fmla="*/ 177 w 760"/>
                  <a:gd name="T59" fmla="*/ 32 h 636"/>
                  <a:gd name="T60" fmla="*/ 277 w 760"/>
                  <a:gd name="T61" fmla="*/ 40 h 636"/>
                  <a:gd name="T62" fmla="*/ 383 w 760"/>
                  <a:gd name="T63" fmla="*/ 89 h 636"/>
                  <a:gd name="T64" fmla="*/ 484 w 760"/>
                  <a:gd name="T65" fmla="*/ 116 h 636"/>
                  <a:gd name="T66" fmla="*/ 545 w 760"/>
                  <a:gd name="T67" fmla="*/ 138 h 636"/>
                  <a:gd name="T68" fmla="*/ 592 w 760"/>
                  <a:gd name="T69" fmla="*/ 202 h 636"/>
                  <a:gd name="T70" fmla="*/ 660 w 760"/>
                  <a:gd name="T71" fmla="*/ 228 h 636"/>
                  <a:gd name="T72" fmla="*/ 710 w 760"/>
                  <a:gd name="T73" fmla="*/ 229 h 636"/>
                  <a:gd name="T74" fmla="*/ 793 w 760"/>
                  <a:gd name="T75" fmla="*/ 277 h 636"/>
                  <a:gd name="T76" fmla="*/ 858 w 760"/>
                  <a:gd name="T77" fmla="*/ 297 h 636"/>
                  <a:gd name="T78" fmla="*/ 887 w 760"/>
                  <a:gd name="T79" fmla="*/ 506 h 636"/>
                  <a:gd name="T80" fmla="*/ 859 w 760"/>
                  <a:gd name="T81" fmla="*/ 525 h 636"/>
                  <a:gd name="T82" fmla="*/ 899 w 760"/>
                  <a:gd name="T83" fmla="*/ 542 h 636"/>
                  <a:gd name="T84" fmla="*/ 829 w 760"/>
                  <a:gd name="T85" fmla="*/ 529 h 636"/>
                  <a:gd name="T86" fmla="*/ 793 w 760"/>
                  <a:gd name="T87" fmla="*/ 517 h 636"/>
                  <a:gd name="T88" fmla="*/ 746 w 760"/>
                  <a:gd name="T89" fmla="*/ 541 h 636"/>
                  <a:gd name="T90" fmla="*/ 779 w 760"/>
                  <a:gd name="T91" fmla="*/ 557 h 636"/>
                  <a:gd name="T92" fmla="*/ 812 w 760"/>
                  <a:gd name="T93" fmla="*/ 569 h 636"/>
                  <a:gd name="T94" fmla="*/ 678 w 760"/>
                  <a:gd name="T95" fmla="*/ 609 h 636"/>
                  <a:gd name="T96" fmla="*/ 679 w 760"/>
                  <a:gd name="T97" fmla="*/ 563 h 636"/>
                  <a:gd name="T98" fmla="*/ 660 w 760"/>
                  <a:gd name="T99" fmla="*/ 606 h 6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0"/>
                  <a:gd name="T151" fmla="*/ 0 h 636"/>
                  <a:gd name="T152" fmla="*/ 760 w 760"/>
                  <a:gd name="T153" fmla="*/ 636 h 6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0" h="636">
                    <a:moveTo>
                      <a:pt x="721" y="250"/>
                    </a:moveTo>
                    <a:lnTo>
                      <a:pt x="730" y="258"/>
                    </a:lnTo>
                    <a:lnTo>
                      <a:pt x="716" y="267"/>
                    </a:lnTo>
                    <a:lnTo>
                      <a:pt x="722" y="274"/>
                    </a:lnTo>
                    <a:lnTo>
                      <a:pt x="700" y="296"/>
                    </a:lnTo>
                    <a:lnTo>
                      <a:pt x="674" y="315"/>
                    </a:lnTo>
                    <a:lnTo>
                      <a:pt x="640" y="322"/>
                    </a:lnTo>
                    <a:lnTo>
                      <a:pt x="605" y="329"/>
                    </a:lnTo>
                    <a:lnTo>
                      <a:pt x="570" y="338"/>
                    </a:lnTo>
                    <a:lnTo>
                      <a:pt x="538" y="368"/>
                    </a:lnTo>
                    <a:lnTo>
                      <a:pt x="512" y="387"/>
                    </a:lnTo>
                    <a:lnTo>
                      <a:pt x="496" y="411"/>
                    </a:lnTo>
                    <a:lnTo>
                      <a:pt x="481" y="431"/>
                    </a:lnTo>
                    <a:lnTo>
                      <a:pt x="465" y="453"/>
                    </a:lnTo>
                    <a:lnTo>
                      <a:pt x="476" y="474"/>
                    </a:lnTo>
                    <a:lnTo>
                      <a:pt x="490" y="487"/>
                    </a:lnTo>
                    <a:lnTo>
                      <a:pt x="487" y="509"/>
                    </a:lnTo>
                    <a:lnTo>
                      <a:pt x="472" y="522"/>
                    </a:lnTo>
                    <a:lnTo>
                      <a:pt x="451" y="523"/>
                    </a:lnTo>
                    <a:lnTo>
                      <a:pt x="436" y="532"/>
                    </a:lnTo>
                    <a:lnTo>
                      <a:pt x="422" y="548"/>
                    </a:lnTo>
                    <a:lnTo>
                      <a:pt x="408" y="558"/>
                    </a:lnTo>
                    <a:lnTo>
                      <a:pt x="402" y="568"/>
                    </a:lnTo>
                    <a:lnTo>
                      <a:pt x="408" y="586"/>
                    </a:lnTo>
                    <a:lnTo>
                      <a:pt x="396" y="592"/>
                    </a:lnTo>
                    <a:lnTo>
                      <a:pt x="373" y="580"/>
                    </a:lnTo>
                    <a:lnTo>
                      <a:pt x="354" y="595"/>
                    </a:lnTo>
                    <a:lnTo>
                      <a:pt x="342" y="603"/>
                    </a:lnTo>
                    <a:lnTo>
                      <a:pt x="329" y="613"/>
                    </a:lnTo>
                    <a:lnTo>
                      <a:pt x="318" y="632"/>
                    </a:lnTo>
                    <a:lnTo>
                      <a:pt x="311" y="636"/>
                    </a:lnTo>
                    <a:lnTo>
                      <a:pt x="293" y="623"/>
                    </a:lnTo>
                    <a:lnTo>
                      <a:pt x="256" y="620"/>
                    </a:lnTo>
                    <a:lnTo>
                      <a:pt x="229" y="622"/>
                    </a:lnTo>
                    <a:lnTo>
                      <a:pt x="206" y="620"/>
                    </a:lnTo>
                    <a:lnTo>
                      <a:pt x="192" y="610"/>
                    </a:lnTo>
                    <a:lnTo>
                      <a:pt x="174" y="604"/>
                    </a:lnTo>
                    <a:lnTo>
                      <a:pt x="154" y="604"/>
                    </a:lnTo>
                    <a:lnTo>
                      <a:pt x="148" y="616"/>
                    </a:lnTo>
                    <a:lnTo>
                      <a:pt x="136" y="615"/>
                    </a:lnTo>
                    <a:lnTo>
                      <a:pt x="105" y="612"/>
                    </a:lnTo>
                    <a:lnTo>
                      <a:pt x="96" y="620"/>
                    </a:lnTo>
                    <a:lnTo>
                      <a:pt x="88" y="631"/>
                    </a:lnTo>
                    <a:lnTo>
                      <a:pt x="64" y="625"/>
                    </a:lnTo>
                    <a:lnTo>
                      <a:pt x="51" y="601"/>
                    </a:lnTo>
                    <a:lnTo>
                      <a:pt x="41" y="575"/>
                    </a:lnTo>
                    <a:lnTo>
                      <a:pt x="40" y="542"/>
                    </a:lnTo>
                    <a:lnTo>
                      <a:pt x="18" y="518"/>
                    </a:lnTo>
                    <a:lnTo>
                      <a:pt x="0" y="509"/>
                    </a:lnTo>
                    <a:lnTo>
                      <a:pt x="9" y="483"/>
                    </a:lnTo>
                    <a:lnTo>
                      <a:pt x="25" y="463"/>
                    </a:lnTo>
                    <a:lnTo>
                      <a:pt x="43" y="451"/>
                    </a:lnTo>
                    <a:lnTo>
                      <a:pt x="28" y="439"/>
                    </a:lnTo>
                    <a:lnTo>
                      <a:pt x="37" y="421"/>
                    </a:lnTo>
                    <a:lnTo>
                      <a:pt x="49" y="395"/>
                    </a:lnTo>
                    <a:lnTo>
                      <a:pt x="60" y="377"/>
                    </a:lnTo>
                    <a:lnTo>
                      <a:pt x="70" y="367"/>
                    </a:lnTo>
                    <a:lnTo>
                      <a:pt x="60" y="352"/>
                    </a:lnTo>
                    <a:lnTo>
                      <a:pt x="53" y="342"/>
                    </a:lnTo>
                    <a:lnTo>
                      <a:pt x="64" y="336"/>
                    </a:lnTo>
                    <a:lnTo>
                      <a:pt x="84" y="332"/>
                    </a:lnTo>
                    <a:lnTo>
                      <a:pt x="96" y="313"/>
                    </a:lnTo>
                    <a:lnTo>
                      <a:pt x="105" y="297"/>
                    </a:lnTo>
                    <a:lnTo>
                      <a:pt x="113" y="284"/>
                    </a:lnTo>
                    <a:lnTo>
                      <a:pt x="133" y="253"/>
                    </a:lnTo>
                    <a:lnTo>
                      <a:pt x="150" y="253"/>
                    </a:lnTo>
                    <a:lnTo>
                      <a:pt x="160" y="235"/>
                    </a:lnTo>
                    <a:lnTo>
                      <a:pt x="162" y="217"/>
                    </a:lnTo>
                    <a:lnTo>
                      <a:pt x="157" y="206"/>
                    </a:lnTo>
                    <a:lnTo>
                      <a:pt x="157" y="195"/>
                    </a:lnTo>
                    <a:lnTo>
                      <a:pt x="146" y="180"/>
                    </a:lnTo>
                    <a:lnTo>
                      <a:pt x="126" y="176"/>
                    </a:lnTo>
                    <a:lnTo>
                      <a:pt x="97" y="179"/>
                    </a:lnTo>
                    <a:lnTo>
                      <a:pt x="92" y="183"/>
                    </a:lnTo>
                    <a:lnTo>
                      <a:pt x="93" y="166"/>
                    </a:lnTo>
                    <a:lnTo>
                      <a:pt x="90" y="152"/>
                    </a:lnTo>
                    <a:lnTo>
                      <a:pt x="79" y="149"/>
                    </a:lnTo>
                    <a:lnTo>
                      <a:pt x="61" y="146"/>
                    </a:lnTo>
                    <a:lnTo>
                      <a:pt x="52" y="131"/>
                    </a:lnTo>
                    <a:lnTo>
                      <a:pt x="35" y="126"/>
                    </a:lnTo>
                    <a:lnTo>
                      <a:pt x="13" y="117"/>
                    </a:lnTo>
                    <a:lnTo>
                      <a:pt x="18" y="106"/>
                    </a:lnTo>
                    <a:lnTo>
                      <a:pt x="30" y="58"/>
                    </a:lnTo>
                    <a:lnTo>
                      <a:pt x="18" y="48"/>
                    </a:lnTo>
                    <a:lnTo>
                      <a:pt x="17" y="24"/>
                    </a:lnTo>
                    <a:lnTo>
                      <a:pt x="46" y="17"/>
                    </a:lnTo>
                    <a:lnTo>
                      <a:pt x="91" y="15"/>
                    </a:lnTo>
                    <a:lnTo>
                      <a:pt x="97" y="0"/>
                    </a:lnTo>
                    <a:lnTo>
                      <a:pt x="133" y="0"/>
                    </a:lnTo>
                    <a:lnTo>
                      <a:pt x="149" y="27"/>
                    </a:lnTo>
                    <a:lnTo>
                      <a:pt x="183" y="29"/>
                    </a:lnTo>
                    <a:lnTo>
                      <a:pt x="217" y="37"/>
                    </a:lnTo>
                    <a:lnTo>
                      <a:pt x="233" y="34"/>
                    </a:lnTo>
                    <a:lnTo>
                      <a:pt x="243" y="53"/>
                    </a:lnTo>
                    <a:lnTo>
                      <a:pt x="280" y="69"/>
                    </a:lnTo>
                    <a:lnTo>
                      <a:pt x="322" y="75"/>
                    </a:lnTo>
                    <a:lnTo>
                      <a:pt x="347" y="79"/>
                    </a:lnTo>
                    <a:lnTo>
                      <a:pt x="374" y="97"/>
                    </a:lnTo>
                    <a:lnTo>
                      <a:pt x="407" y="98"/>
                    </a:lnTo>
                    <a:lnTo>
                      <a:pt x="434" y="113"/>
                    </a:lnTo>
                    <a:lnTo>
                      <a:pt x="443" y="121"/>
                    </a:lnTo>
                    <a:lnTo>
                      <a:pt x="458" y="116"/>
                    </a:lnTo>
                    <a:lnTo>
                      <a:pt x="474" y="136"/>
                    </a:lnTo>
                    <a:lnTo>
                      <a:pt x="469" y="154"/>
                    </a:lnTo>
                    <a:lnTo>
                      <a:pt x="498" y="170"/>
                    </a:lnTo>
                    <a:lnTo>
                      <a:pt x="520" y="183"/>
                    </a:lnTo>
                    <a:lnTo>
                      <a:pt x="527" y="183"/>
                    </a:lnTo>
                    <a:lnTo>
                      <a:pt x="555" y="192"/>
                    </a:lnTo>
                    <a:lnTo>
                      <a:pt x="575" y="203"/>
                    </a:lnTo>
                    <a:lnTo>
                      <a:pt x="587" y="212"/>
                    </a:lnTo>
                    <a:lnTo>
                      <a:pt x="597" y="193"/>
                    </a:lnTo>
                    <a:lnTo>
                      <a:pt x="620" y="214"/>
                    </a:lnTo>
                    <a:lnTo>
                      <a:pt x="632" y="234"/>
                    </a:lnTo>
                    <a:lnTo>
                      <a:pt x="667" y="233"/>
                    </a:lnTo>
                    <a:lnTo>
                      <a:pt x="686" y="245"/>
                    </a:lnTo>
                    <a:lnTo>
                      <a:pt x="704" y="253"/>
                    </a:lnTo>
                    <a:lnTo>
                      <a:pt x="721" y="250"/>
                    </a:lnTo>
                    <a:close/>
                    <a:moveTo>
                      <a:pt x="760" y="447"/>
                    </a:moveTo>
                    <a:lnTo>
                      <a:pt x="756" y="437"/>
                    </a:lnTo>
                    <a:lnTo>
                      <a:pt x="746" y="426"/>
                    </a:lnTo>
                    <a:lnTo>
                      <a:pt x="733" y="421"/>
                    </a:lnTo>
                    <a:lnTo>
                      <a:pt x="717" y="431"/>
                    </a:lnTo>
                    <a:lnTo>
                      <a:pt x="722" y="442"/>
                    </a:lnTo>
                    <a:lnTo>
                      <a:pt x="734" y="447"/>
                    </a:lnTo>
                    <a:lnTo>
                      <a:pt x="744" y="457"/>
                    </a:lnTo>
                    <a:lnTo>
                      <a:pt x="756" y="456"/>
                    </a:lnTo>
                    <a:lnTo>
                      <a:pt x="760" y="447"/>
                    </a:lnTo>
                    <a:close/>
                    <a:moveTo>
                      <a:pt x="704" y="462"/>
                    </a:moveTo>
                    <a:lnTo>
                      <a:pt x="697" y="445"/>
                    </a:lnTo>
                    <a:lnTo>
                      <a:pt x="686" y="447"/>
                    </a:lnTo>
                    <a:lnTo>
                      <a:pt x="679" y="435"/>
                    </a:lnTo>
                    <a:lnTo>
                      <a:pt x="667" y="435"/>
                    </a:lnTo>
                    <a:lnTo>
                      <a:pt x="654" y="438"/>
                    </a:lnTo>
                    <a:lnTo>
                      <a:pt x="640" y="443"/>
                    </a:lnTo>
                    <a:lnTo>
                      <a:pt x="627" y="455"/>
                    </a:lnTo>
                    <a:lnTo>
                      <a:pt x="626" y="467"/>
                    </a:lnTo>
                    <a:lnTo>
                      <a:pt x="638" y="464"/>
                    </a:lnTo>
                    <a:lnTo>
                      <a:pt x="655" y="469"/>
                    </a:lnTo>
                    <a:lnTo>
                      <a:pt x="662" y="481"/>
                    </a:lnTo>
                    <a:lnTo>
                      <a:pt x="675" y="490"/>
                    </a:lnTo>
                    <a:lnTo>
                      <a:pt x="683" y="479"/>
                    </a:lnTo>
                    <a:lnTo>
                      <a:pt x="696" y="469"/>
                    </a:lnTo>
                    <a:lnTo>
                      <a:pt x="704" y="462"/>
                    </a:lnTo>
                    <a:close/>
                    <a:moveTo>
                      <a:pt x="570" y="512"/>
                    </a:moveTo>
                    <a:lnTo>
                      <a:pt x="578" y="500"/>
                    </a:lnTo>
                    <a:lnTo>
                      <a:pt x="585" y="483"/>
                    </a:lnTo>
                    <a:lnTo>
                      <a:pt x="571" y="474"/>
                    </a:lnTo>
                    <a:lnTo>
                      <a:pt x="554" y="488"/>
                    </a:lnTo>
                    <a:lnTo>
                      <a:pt x="544" y="502"/>
                    </a:lnTo>
                    <a:lnTo>
                      <a:pt x="555" y="510"/>
                    </a:lnTo>
                    <a:lnTo>
                      <a:pt x="570" y="512"/>
                    </a:lnTo>
                    <a:close/>
                  </a:path>
                </a:pathLst>
              </a:custGeom>
              <a:pattFill prst="wdDnDiag">
                <a:fgClr>
                  <a:srgbClr val="1D8C9B"/>
                </a:fgClr>
                <a:bgClr>
                  <a:srgbClr val="DCDCDC"/>
                </a:bgClr>
              </a:patt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80" name="Freeform 18"/>
              <p:cNvSpPr>
                <a:spLocks noChangeAspect="1" noEditPoints="1"/>
              </p:cNvSpPr>
              <p:nvPr/>
            </p:nvSpPr>
            <p:spPr bwMode="auto">
              <a:xfrm>
                <a:off x="5035549" y="3017096"/>
                <a:ext cx="362190" cy="249701"/>
              </a:xfrm>
              <a:custGeom>
                <a:avLst/>
                <a:gdLst>
                  <a:gd name="T0" fmla="*/ 129 w 246"/>
                  <a:gd name="T1" fmla="*/ 156 h 170"/>
                  <a:gd name="T2" fmla="*/ 138 w 246"/>
                  <a:gd name="T3" fmla="*/ 141 h 170"/>
                  <a:gd name="T4" fmla="*/ 129 w 246"/>
                  <a:gd name="T5" fmla="*/ 119 h 170"/>
                  <a:gd name="T6" fmla="*/ 111 w 246"/>
                  <a:gd name="T7" fmla="*/ 122 h 170"/>
                  <a:gd name="T8" fmla="*/ 106 w 246"/>
                  <a:gd name="T9" fmla="*/ 130 h 170"/>
                  <a:gd name="T10" fmla="*/ 106 w 246"/>
                  <a:gd name="T11" fmla="*/ 109 h 170"/>
                  <a:gd name="T12" fmla="*/ 96 w 246"/>
                  <a:gd name="T13" fmla="*/ 112 h 170"/>
                  <a:gd name="T14" fmla="*/ 85 w 246"/>
                  <a:gd name="T15" fmla="*/ 112 h 170"/>
                  <a:gd name="T16" fmla="*/ 91 w 246"/>
                  <a:gd name="T17" fmla="*/ 86 h 170"/>
                  <a:gd name="T18" fmla="*/ 77 w 246"/>
                  <a:gd name="T19" fmla="*/ 74 h 170"/>
                  <a:gd name="T20" fmla="*/ 93 w 246"/>
                  <a:gd name="T21" fmla="*/ 46 h 170"/>
                  <a:gd name="T22" fmla="*/ 111 w 246"/>
                  <a:gd name="T23" fmla="*/ 46 h 170"/>
                  <a:gd name="T24" fmla="*/ 118 w 246"/>
                  <a:gd name="T25" fmla="*/ 18 h 170"/>
                  <a:gd name="T26" fmla="*/ 131 w 246"/>
                  <a:gd name="T27" fmla="*/ 15 h 170"/>
                  <a:gd name="T28" fmla="*/ 151 w 246"/>
                  <a:gd name="T29" fmla="*/ 29 h 170"/>
                  <a:gd name="T30" fmla="*/ 170 w 246"/>
                  <a:gd name="T31" fmla="*/ 6 h 170"/>
                  <a:gd name="T32" fmla="*/ 197 w 246"/>
                  <a:gd name="T33" fmla="*/ 0 h 170"/>
                  <a:gd name="T34" fmla="*/ 218 w 246"/>
                  <a:gd name="T35" fmla="*/ 4 h 170"/>
                  <a:gd name="T36" fmla="*/ 242 w 246"/>
                  <a:gd name="T37" fmla="*/ 10 h 170"/>
                  <a:gd name="T38" fmla="*/ 266 w 246"/>
                  <a:gd name="T39" fmla="*/ 13 h 170"/>
                  <a:gd name="T40" fmla="*/ 279 w 246"/>
                  <a:gd name="T41" fmla="*/ 15 h 170"/>
                  <a:gd name="T42" fmla="*/ 293 w 246"/>
                  <a:gd name="T43" fmla="*/ 25 h 170"/>
                  <a:gd name="T44" fmla="*/ 285 w 246"/>
                  <a:gd name="T45" fmla="*/ 39 h 170"/>
                  <a:gd name="T46" fmla="*/ 291 w 246"/>
                  <a:gd name="T47" fmla="*/ 44 h 170"/>
                  <a:gd name="T48" fmla="*/ 274 w 246"/>
                  <a:gd name="T49" fmla="*/ 48 h 170"/>
                  <a:gd name="T50" fmla="*/ 266 w 246"/>
                  <a:gd name="T51" fmla="*/ 57 h 170"/>
                  <a:gd name="T52" fmla="*/ 254 w 246"/>
                  <a:gd name="T53" fmla="*/ 77 h 170"/>
                  <a:gd name="T54" fmla="*/ 255 w 246"/>
                  <a:gd name="T55" fmla="*/ 93 h 170"/>
                  <a:gd name="T56" fmla="*/ 264 w 246"/>
                  <a:gd name="T57" fmla="*/ 124 h 170"/>
                  <a:gd name="T58" fmla="*/ 272 w 246"/>
                  <a:gd name="T59" fmla="*/ 137 h 170"/>
                  <a:gd name="T60" fmla="*/ 283 w 246"/>
                  <a:gd name="T61" fmla="*/ 175 h 170"/>
                  <a:gd name="T62" fmla="*/ 279 w 246"/>
                  <a:gd name="T63" fmla="*/ 181 h 170"/>
                  <a:gd name="T64" fmla="*/ 273 w 246"/>
                  <a:gd name="T65" fmla="*/ 191 h 170"/>
                  <a:gd name="T66" fmla="*/ 270 w 246"/>
                  <a:gd name="T67" fmla="*/ 197 h 170"/>
                  <a:gd name="T68" fmla="*/ 257 w 246"/>
                  <a:gd name="T69" fmla="*/ 197 h 170"/>
                  <a:gd name="T70" fmla="*/ 249 w 246"/>
                  <a:gd name="T71" fmla="*/ 198 h 170"/>
                  <a:gd name="T72" fmla="*/ 236 w 246"/>
                  <a:gd name="T73" fmla="*/ 202 h 170"/>
                  <a:gd name="T74" fmla="*/ 223 w 246"/>
                  <a:gd name="T75" fmla="*/ 195 h 170"/>
                  <a:gd name="T76" fmla="*/ 205 w 246"/>
                  <a:gd name="T77" fmla="*/ 184 h 170"/>
                  <a:gd name="T78" fmla="*/ 187 w 246"/>
                  <a:gd name="T79" fmla="*/ 175 h 170"/>
                  <a:gd name="T80" fmla="*/ 174 w 246"/>
                  <a:gd name="T81" fmla="*/ 166 h 170"/>
                  <a:gd name="T82" fmla="*/ 162 w 246"/>
                  <a:gd name="T83" fmla="*/ 154 h 170"/>
                  <a:gd name="T84" fmla="*/ 147 w 246"/>
                  <a:gd name="T85" fmla="*/ 168 h 170"/>
                  <a:gd name="T86" fmla="*/ 129 w 246"/>
                  <a:gd name="T87" fmla="*/ 156 h 170"/>
                  <a:gd name="T88" fmla="*/ 15 w 246"/>
                  <a:gd name="T89" fmla="*/ 152 h 170"/>
                  <a:gd name="T90" fmla="*/ 31 w 246"/>
                  <a:gd name="T91" fmla="*/ 140 h 170"/>
                  <a:gd name="T92" fmla="*/ 54 w 246"/>
                  <a:gd name="T93" fmla="*/ 131 h 170"/>
                  <a:gd name="T94" fmla="*/ 61 w 246"/>
                  <a:gd name="T95" fmla="*/ 115 h 170"/>
                  <a:gd name="T96" fmla="*/ 51 w 246"/>
                  <a:gd name="T97" fmla="*/ 103 h 170"/>
                  <a:gd name="T98" fmla="*/ 25 w 246"/>
                  <a:gd name="T99" fmla="*/ 111 h 170"/>
                  <a:gd name="T100" fmla="*/ 5 w 246"/>
                  <a:gd name="T101" fmla="*/ 119 h 170"/>
                  <a:gd name="T102" fmla="*/ 0 w 246"/>
                  <a:gd name="T103" fmla="*/ 140 h 170"/>
                  <a:gd name="T104" fmla="*/ 15 w 246"/>
                  <a:gd name="T105" fmla="*/ 152 h 170"/>
                  <a:gd name="T106" fmla="*/ 23 w 246"/>
                  <a:gd name="T107" fmla="*/ 67 h 170"/>
                  <a:gd name="T108" fmla="*/ 18 w 246"/>
                  <a:gd name="T109" fmla="*/ 56 h 170"/>
                  <a:gd name="T110" fmla="*/ 5 w 246"/>
                  <a:gd name="T111" fmla="*/ 45 h 170"/>
                  <a:gd name="T112" fmla="*/ 12 w 246"/>
                  <a:gd name="T113" fmla="*/ 32 h 170"/>
                  <a:gd name="T114" fmla="*/ 27 w 246"/>
                  <a:gd name="T115" fmla="*/ 37 h 170"/>
                  <a:gd name="T116" fmla="*/ 42 w 246"/>
                  <a:gd name="T117" fmla="*/ 37 h 170"/>
                  <a:gd name="T118" fmla="*/ 44 w 246"/>
                  <a:gd name="T119" fmla="*/ 50 h 170"/>
                  <a:gd name="T120" fmla="*/ 48 w 246"/>
                  <a:gd name="T121" fmla="*/ 70 h 170"/>
                  <a:gd name="T122" fmla="*/ 23 w 246"/>
                  <a:gd name="T123" fmla="*/ 67 h 17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170"/>
                  <a:gd name="T188" fmla="*/ 246 w 246"/>
                  <a:gd name="T189" fmla="*/ 170 h 17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170">
                    <a:moveTo>
                      <a:pt x="108" y="131"/>
                    </a:moveTo>
                    <a:lnTo>
                      <a:pt x="116" y="119"/>
                    </a:lnTo>
                    <a:lnTo>
                      <a:pt x="108" y="100"/>
                    </a:lnTo>
                    <a:lnTo>
                      <a:pt x="93" y="103"/>
                    </a:lnTo>
                    <a:lnTo>
                      <a:pt x="89" y="109"/>
                    </a:lnTo>
                    <a:lnTo>
                      <a:pt x="89" y="92"/>
                    </a:lnTo>
                    <a:lnTo>
                      <a:pt x="81" y="94"/>
                    </a:lnTo>
                    <a:lnTo>
                      <a:pt x="71" y="94"/>
                    </a:lnTo>
                    <a:lnTo>
                      <a:pt x="76" y="72"/>
                    </a:lnTo>
                    <a:lnTo>
                      <a:pt x="65" y="62"/>
                    </a:lnTo>
                    <a:lnTo>
                      <a:pt x="78" y="39"/>
                    </a:lnTo>
                    <a:lnTo>
                      <a:pt x="93" y="39"/>
                    </a:lnTo>
                    <a:lnTo>
                      <a:pt x="99" y="15"/>
                    </a:lnTo>
                    <a:lnTo>
                      <a:pt x="110" y="13"/>
                    </a:lnTo>
                    <a:lnTo>
                      <a:pt x="127" y="24"/>
                    </a:lnTo>
                    <a:lnTo>
                      <a:pt x="143" y="5"/>
                    </a:lnTo>
                    <a:lnTo>
                      <a:pt x="165" y="0"/>
                    </a:lnTo>
                    <a:lnTo>
                      <a:pt x="183" y="3"/>
                    </a:lnTo>
                    <a:lnTo>
                      <a:pt x="203" y="8"/>
                    </a:lnTo>
                    <a:lnTo>
                      <a:pt x="223" y="11"/>
                    </a:lnTo>
                    <a:lnTo>
                      <a:pt x="234" y="13"/>
                    </a:lnTo>
                    <a:lnTo>
                      <a:pt x="246" y="21"/>
                    </a:lnTo>
                    <a:lnTo>
                      <a:pt x="239" y="33"/>
                    </a:lnTo>
                    <a:lnTo>
                      <a:pt x="244" y="37"/>
                    </a:lnTo>
                    <a:lnTo>
                      <a:pt x="230" y="40"/>
                    </a:lnTo>
                    <a:lnTo>
                      <a:pt x="223" y="48"/>
                    </a:lnTo>
                    <a:lnTo>
                      <a:pt x="213" y="65"/>
                    </a:lnTo>
                    <a:lnTo>
                      <a:pt x="214" y="78"/>
                    </a:lnTo>
                    <a:lnTo>
                      <a:pt x="222" y="104"/>
                    </a:lnTo>
                    <a:lnTo>
                      <a:pt x="228" y="115"/>
                    </a:lnTo>
                    <a:lnTo>
                      <a:pt x="238" y="147"/>
                    </a:lnTo>
                    <a:lnTo>
                      <a:pt x="234" y="152"/>
                    </a:lnTo>
                    <a:lnTo>
                      <a:pt x="229" y="161"/>
                    </a:lnTo>
                    <a:lnTo>
                      <a:pt x="227" y="166"/>
                    </a:lnTo>
                    <a:lnTo>
                      <a:pt x="216" y="166"/>
                    </a:lnTo>
                    <a:lnTo>
                      <a:pt x="209" y="167"/>
                    </a:lnTo>
                    <a:lnTo>
                      <a:pt x="198" y="170"/>
                    </a:lnTo>
                    <a:lnTo>
                      <a:pt x="187" y="164"/>
                    </a:lnTo>
                    <a:lnTo>
                      <a:pt x="172" y="155"/>
                    </a:lnTo>
                    <a:lnTo>
                      <a:pt x="157" y="147"/>
                    </a:lnTo>
                    <a:lnTo>
                      <a:pt x="146" y="140"/>
                    </a:lnTo>
                    <a:lnTo>
                      <a:pt x="136" y="130"/>
                    </a:lnTo>
                    <a:lnTo>
                      <a:pt x="123" y="141"/>
                    </a:lnTo>
                    <a:lnTo>
                      <a:pt x="108" y="131"/>
                    </a:lnTo>
                    <a:close/>
                    <a:moveTo>
                      <a:pt x="13" y="128"/>
                    </a:moveTo>
                    <a:lnTo>
                      <a:pt x="26" y="118"/>
                    </a:lnTo>
                    <a:lnTo>
                      <a:pt x="45" y="110"/>
                    </a:lnTo>
                    <a:lnTo>
                      <a:pt x="51" y="97"/>
                    </a:lnTo>
                    <a:lnTo>
                      <a:pt x="43" y="87"/>
                    </a:lnTo>
                    <a:lnTo>
                      <a:pt x="21" y="93"/>
                    </a:lnTo>
                    <a:lnTo>
                      <a:pt x="4" y="100"/>
                    </a:lnTo>
                    <a:lnTo>
                      <a:pt x="0" y="118"/>
                    </a:lnTo>
                    <a:lnTo>
                      <a:pt x="13" y="128"/>
                    </a:lnTo>
                    <a:close/>
                    <a:moveTo>
                      <a:pt x="19" y="56"/>
                    </a:moveTo>
                    <a:lnTo>
                      <a:pt x="15" y="47"/>
                    </a:lnTo>
                    <a:lnTo>
                      <a:pt x="4" y="38"/>
                    </a:lnTo>
                    <a:lnTo>
                      <a:pt x="10" y="27"/>
                    </a:lnTo>
                    <a:lnTo>
                      <a:pt x="23" y="31"/>
                    </a:lnTo>
                    <a:lnTo>
                      <a:pt x="35" y="31"/>
                    </a:lnTo>
                    <a:lnTo>
                      <a:pt x="37" y="42"/>
                    </a:lnTo>
                    <a:lnTo>
                      <a:pt x="40" y="59"/>
                    </a:lnTo>
                    <a:lnTo>
                      <a:pt x="19" y="56"/>
                    </a:lnTo>
                    <a:close/>
                  </a:path>
                </a:pathLst>
              </a:custGeom>
              <a:no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81" name="Freeform 19"/>
              <p:cNvSpPr>
                <a:spLocks noChangeAspect="1" noEditPoints="1"/>
              </p:cNvSpPr>
              <p:nvPr/>
            </p:nvSpPr>
            <p:spPr bwMode="auto">
              <a:xfrm>
                <a:off x="2971189" y="3919481"/>
                <a:ext cx="1033416" cy="1176809"/>
              </a:xfrm>
              <a:custGeom>
                <a:avLst/>
                <a:gdLst>
                  <a:gd name="T0" fmla="*/ 660 w 703"/>
                  <a:gd name="T1" fmla="*/ 757 h 801"/>
                  <a:gd name="T2" fmla="*/ 576 w 703"/>
                  <a:gd name="T3" fmla="*/ 751 h 801"/>
                  <a:gd name="T4" fmla="*/ 507 w 703"/>
                  <a:gd name="T5" fmla="*/ 725 h 801"/>
                  <a:gd name="T6" fmla="*/ 422 w 703"/>
                  <a:gd name="T7" fmla="*/ 729 h 801"/>
                  <a:gd name="T8" fmla="*/ 377 w 703"/>
                  <a:gd name="T9" fmla="*/ 808 h 801"/>
                  <a:gd name="T10" fmla="*/ 291 w 703"/>
                  <a:gd name="T11" fmla="*/ 786 h 801"/>
                  <a:gd name="T12" fmla="*/ 291 w 703"/>
                  <a:gd name="T13" fmla="*/ 762 h 801"/>
                  <a:gd name="T14" fmla="*/ 238 w 703"/>
                  <a:gd name="T15" fmla="*/ 759 h 801"/>
                  <a:gd name="T16" fmla="*/ 166 w 703"/>
                  <a:gd name="T17" fmla="*/ 725 h 801"/>
                  <a:gd name="T18" fmla="*/ 98 w 703"/>
                  <a:gd name="T19" fmla="*/ 691 h 801"/>
                  <a:gd name="T20" fmla="*/ 113 w 703"/>
                  <a:gd name="T21" fmla="*/ 610 h 801"/>
                  <a:gd name="T22" fmla="*/ 163 w 703"/>
                  <a:gd name="T23" fmla="*/ 486 h 801"/>
                  <a:gd name="T24" fmla="*/ 197 w 703"/>
                  <a:gd name="T25" fmla="*/ 480 h 801"/>
                  <a:gd name="T26" fmla="*/ 175 w 703"/>
                  <a:gd name="T27" fmla="*/ 402 h 801"/>
                  <a:gd name="T28" fmla="*/ 132 w 703"/>
                  <a:gd name="T29" fmla="*/ 326 h 801"/>
                  <a:gd name="T30" fmla="*/ 130 w 703"/>
                  <a:gd name="T31" fmla="*/ 251 h 801"/>
                  <a:gd name="T32" fmla="*/ 70 w 703"/>
                  <a:gd name="T33" fmla="*/ 209 h 801"/>
                  <a:gd name="T34" fmla="*/ 21 w 703"/>
                  <a:gd name="T35" fmla="*/ 202 h 801"/>
                  <a:gd name="T36" fmla="*/ 18 w 703"/>
                  <a:gd name="T37" fmla="*/ 168 h 801"/>
                  <a:gd name="T38" fmla="*/ 20 w 703"/>
                  <a:gd name="T39" fmla="*/ 147 h 801"/>
                  <a:gd name="T40" fmla="*/ 32 w 703"/>
                  <a:gd name="T41" fmla="*/ 131 h 801"/>
                  <a:gd name="T42" fmla="*/ 10 w 703"/>
                  <a:gd name="T43" fmla="*/ 114 h 801"/>
                  <a:gd name="T44" fmla="*/ 52 w 703"/>
                  <a:gd name="T45" fmla="*/ 109 h 801"/>
                  <a:gd name="T46" fmla="*/ 109 w 703"/>
                  <a:gd name="T47" fmla="*/ 111 h 801"/>
                  <a:gd name="T48" fmla="*/ 155 w 703"/>
                  <a:gd name="T49" fmla="*/ 137 h 801"/>
                  <a:gd name="T50" fmla="*/ 232 w 703"/>
                  <a:gd name="T51" fmla="*/ 157 h 801"/>
                  <a:gd name="T52" fmla="*/ 219 w 703"/>
                  <a:gd name="T53" fmla="*/ 86 h 801"/>
                  <a:gd name="T54" fmla="*/ 252 w 703"/>
                  <a:gd name="T55" fmla="*/ 74 h 801"/>
                  <a:gd name="T56" fmla="*/ 270 w 703"/>
                  <a:gd name="T57" fmla="*/ 112 h 801"/>
                  <a:gd name="T58" fmla="*/ 352 w 703"/>
                  <a:gd name="T59" fmla="*/ 94 h 801"/>
                  <a:gd name="T60" fmla="*/ 450 w 703"/>
                  <a:gd name="T61" fmla="*/ 20 h 801"/>
                  <a:gd name="T62" fmla="*/ 518 w 703"/>
                  <a:gd name="T63" fmla="*/ 0 h 801"/>
                  <a:gd name="T64" fmla="*/ 529 w 703"/>
                  <a:gd name="T65" fmla="*/ 50 h 801"/>
                  <a:gd name="T66" fmla="*/ 551 w 703"/>
                  <a:gd name="T67" fmla="*/ 78 h 801"/>
                  <a:gd name="T68" fmla="*/ 589 w 703"/>
                  <a:gd name="T69" fmla="*/ 107 h 801"/>
                  <a:gd name="T70" fmla="*/ 624 w 703"/>
                  <a:gd name="T71" fmla="*/ 128 h 801"/>
                  <a:gd name="T72" fmla="*/ 664 w 703"/>
                  <a:gd name="T73" fmla="*/ 175 h 801"/>
                  <a:gd name="T74" fmla="*/ 698 w 703"/>
                  <a:gd name="T75" fmla="*/ 194 h 801"/>
                  <a:gd name="T76" fmla="*/ 748 w 703"/>
                  <a:gd name="T77" fmla="*/ 222 h 801"/>
                  <a:gd name="T78" fmla="*/ 810 w 703"/>
                  <a:gd name="T79" fmla="*/ 250 h 801"/>
                  <a:gd name="T80" fmla="*/ 802 w 703"/>
                  <a:gd name="T81" fmla="*/ 305 h 801"/>
                  <a:gd name="T82" fmla="*/ 778 w 703"/>
                  <a:gd name="T83" fmla="*/ 342 h 801"/>
                  <a:gd name="T84" fmla="*/ 759 w 703"/>
                  <a:gd name="T85" fmla="*/ 396 h 801"/>
                  <a:gd name="T86" fmla="*/ 722 w 703"/>
                  <a:gd name="T87" fmla="*/ 399 h 801"/>
                  <a:gd name="T88" fmla="*/ 690 w 703"/>
                  <a:gd name="T89" fmla="*/ 434 h 801"/>
                  <a:gd name="T90" fmla="*/ 655 w 703"/>
                  <a:gd name="T91" fmla="*/ 479 h 801"/>
                  <a:gd name="T92" fmla="*/ 686 w 703"/>
                  <a:gd name="T93" fmla="*/ 477 h 801"/>
                  <a:gd name="T94" fmla="*/ 709 w 703"/>
                  <a:gd name="T95" fmla="*/ 505 h 801"/>
                  <a:gd name="T96" fmla="*/ 702 w 703"/>
                  <a:gd name="T97" fmla="*/ 531 h 801"/>
                  <a:gd name="T98" fmla="*/ 709 w 703"/>
                  <a:gd name="T99" fmla="*/ 588 h 801"/>
                  <a:gd name="T100" fmla="*/ 673 w 703"/>
                  <a:gd name="T101" fmla="*/ 617 h 801"/>
                  <a:gd name="T102" fmla="*/ 690 w 703"/>
                  <a:gd name="T103" fmla="*/ 660 h 801"/>
                  <a:gd name="T104" fmla="*/ 712 w 703"/>
                  <a:gd name="T105" fmla="*/ 704 h 801"/>
                  <a:gd name="T106" fmla="*/ 723 w 703"/>
                  <a:gd name="T107" fmla="*/ 711 h 801"/>
                  <a:gd name="T108" fmla="*/ 802 w 703"/>
                  <a:gd name="T109" fmla="*/ 940 h 801"/>
                  <a:gd name="T110" fmla="*/ 824 w 703"/>
                  <a:gd name="T111" fmla="*/ 897 h 801"/>
                  <a:gd name="T112" fmla="*/ 831 w 703"/>
                  <a:gd name="T113" fmla="*/ 838 h 801"/>
                  <a:gd name="T114" fmla="*/ 819 w 703"/>
                  <a:gd name="T115" fmla="*/ 808 h 801"/>
                  <a:gd name="T116" fmla="*/ 796 w 703"/>
                  <a:gd name="T117" fmla="*/ 845 h 801"/>
                  <a:gd name="T118" fmla="*/ 767 w 703"/>
                  <a:gd name="T119" fmla="*/ 865 h 801"/>
                  <a:gd name="T120" fmla="*/ 766 w 703"/>
                  <a:gd name="T121" fmla="*/ 904 h 801"/>
                  <a:gd name="T122" fmla="*/ 773 w 703"/>
                  <a:gd name="T123" fmla="*/ 928 h 801"/>
                  <a:gd name="T124" fmla="*/ 798 w 703"/>
                  <a:gd name="T125" fmla="*/ 952 h 8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
                  <a:gd name="T190" fmla="*/ 0 h 801"/>
                  <a:gd name="T191" fmla="*/ 703 w 703"/>
                  <a:gd name="T192" fmla="*/ 801 h 80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 h="801">
                    <a:moveTo>
                      <a:pt x="599" y="608"/>
                    </a:moveTo>
                    <a:lnTo>
                      <a:pt x="578" y="625"/>
                    </a:lnTo>
                    <a:lnTo>
                      <a:pt x="555" y="637"/>
                    </a:lnTo>
                    <a:lnTo>
                      <a:pt x="531" y="653"/>
                    </a:lnTo>
                    <a:lnTo>
                      <a:pt x="524" y="662"/>
                    </a:lnTo>
                    <a:lnTo>
                      <a:pt x="484" y="632"/>
                    </a:lnTo>
                    <a:lnTo>
                      <a:pt x="452" y="612"/>
                    </a:lnTo>
                    <a:lnTo>
                      <a:pt x="441" y="622"/>
                    </a:lnTo>
                    <a:lnTo>
                      <a:pt x="426" y="610"/>
                    </a:lnTo>
                    <a:lnTo>
                      <a:pt x="404" y="608"/>
                    </a:lnTo>
                    <a:lnTo>
                      <a:pt x="375" y="612"/>
                    </a:lnTo>
                    <a:lnTo>
                      <a:pt x="355" y="613"/>
                    </a:lnTo>
                    <a:lnTo>
                      <a:pt x="339" y="651"/>
                    </a:lnTo>
                    <a:lnTo>
                      <a:pt x="334" y="677"/>
                    </a:lnTo>
                    <a:lnTo>
                      <a:pt x="317" y="680"/>
                    </a:lnTo>
                    <a:lnTo>
                      <a:pt x="299" y="672"/>
                    </a:lnTo>
                    <a:lnTo>
                      <a:pt x="280" y="660"/>
                    </a:lnTo>
                    <a:lnTo>
                      <a:pt x="245" y="661"/>
                    </a:lnTo>
                    <a:lnTo>
                      <a:pt x="253" y="650"/>
                    </a:lnTo>
                    <a:lnTo>
                      <a:pt x="252" y="644"/>
                    </a:lnTo>
                    <a:lnTo>
                      <a:pt x="245" y="641"/>
                    </a:lnTo>
                    <a:lnTo>
                      <a:pt x="233" y="641"/>
                    </a:lnTo>
                    <a:lnTo>
                      <a:pt x="210" y="620"/>
                    </a:lnTo>
                    <a:lnTo>
                      <a:pt x="200" y="639"/>
                    </a:lnTo>
                    <a:lnTo>
                      <a:pt x="188" y="630"/>
                    </a:lnTo>
                    <a:lnTo>
                      <a:pt x="168" y="619"/>
                    </a:lnTo>
                    <a:lnTo>
                      <a:pt x="140" y="610"/>
                    </a:lnTo>
                    <a:lnTo>
                      <a:pt x="133" y="610"/>
                    </a:lnTo>
                    <a:lnTo>
                      <a:pt x="111" y="597"/>
                    </a:lnTo>
                    <a:lnTo>
                      <a:pt x="82" y="581"/>
                    </a:lnTo>
                    <a:lnTo>
                      <a:pt x="87" y="563"/>
                    </a:lnTo>
                    <a:lnTo>
                      <a:pt x="71" y="543"/>
                    </a:lnTo>
                    <a:lnTo>
                      <a:pt x="95" y="513"/>
                    </a:lnTo>
                    <a:lnTo>
                      <a:pt x="115" y="481"/>
                    </a:lnTo>
                    <a:lnTo>
                      <a:pt x="131" y="437"/>
                    </a:lnTo>
                    <a:lnTo>
                      <a:pt x="137" y="409"/>
                    </a:lnTo>
                    <a:lnTo>
                      <a:pt x="142" y="388"/>
                    </a:lnTo>
                    <a:lnTo>
                      <a:pt x="156" y="432"/>
                    </a:lnTo>
                    <a:lnTo>
                      <a:pt x="166" y="404"/>
                    </a:lnTo>
                    <a:lnTo>
                      <a:pt x="157" y="379"/>
                    </a:lnTo>
                    <a:lnTo>
                      <a:pt x="143" y="363"/>
                    </a:lnTo>
                    <a:lnTo>
                      <a:pt x="147" y="338"/>
                    </a:lnTo>
                    <a:lnTo>
                      <a:pt x="135" y="309"/>
                    </a:lnTo>
                    <a:lnTo>
                      <a:pt x="121" y="286"/>
                    </a:lnTo>
                    <a:lnTo>
                      <a:pt x="111" y="274"/>
                    </a:lnTo>
                    <a:lnTo>
                      <a:pt x="127" y="244"/>
                    </a:lnTo>
                    <a:lnTo>
                      <a:pt x="109" y="239"/>
                    </a:lnTo>
                    <a:lnTo>
                      <a:pt x="109" y="211"/>
                    </a:lnTo>
                    <a:lnTo>
                      <a:pt x="90" y="200"/>
                    </a:lnTo>
                    <a:lnTo>
                      <a:pt x="80" y="190"/>
                    </a:lnTo>
                    <a:lnTo>
                      <a:pt x="59" y="176"/>
                    </a:lnTo>
                    <a:lnTo>
                      <a:pt x="41" y="166"/>
                    </a:lnTo>
                    <a:lnTo>
                      <a:pt x="26" y="166"/>
                    </a:lnTo>
                    <a:lnTo>
                      <a:pt x="18" y="170"/>
                    </a:lnTo>
                    <a:lnTo>
                      <a:pt x="7" y="154"/>
                    </a:lnTo>
                    <a:lnTo>
                      <a:pt x="0" y="146"/>
                    </a:lnTo>
                    <a:lnTo>
                      <a:pt x="15" y="141"/>
                    </a:lnTo>
                    <a:lnTo>
                      <a:pt x="26" y="141"/>
                    </a:lnTo>
                    <a:lnTo>
                      <a:pt x="26" y="129"/>
                    </a:lnTo>
                    <a:lnTo>
                      <a:pt x="17" y="124"/>
                    </a:lnTo>
                    <a:lnTo>
                      <a:pt x="19" y="118"/>
                    </a:lnTo>
                    <a:lnTo>
                      <a:pt x="26" y="121"/>
                    </a:lnTo>
                    <a:lnTo>
                      <a:pt x="27" y="110"/>
                    </a:lnTo>
                    <a:lnTo>
                      <a:pt x="20" y="106"/>
                    </a:lnTo>
                    <a:lnTo>
                      <a:pt x="7" y="105"/>
                    </a:lnTo>
                    <a:lnTo>
                      <a:pt x="8" y="96"/>
                    </a:lnTo>
                    <a:lnTo>
                      <a:pt x="20" y="93"/>
                    </a:lnTo>
                    <a:lnTo>
                      <a:pt x="31" y="93"/>
                    </a:lnTo>
                    <a:lnTo>
                      <a:pt x="44" y="92"/>
                    </a:lnTo>
                    <a:lnTo>
                      <a:pt x="51" y="101"/>
                    </a:lnTo>
                    <a:lnTo>
                      <a:pt x="68" y="92"/>
                    </a:lnTo>
                    <a:lnTo>
                      <a:pt x="92" y="93"/>
                    </a:lnTo>
                    <a:lnTo>
                      <a:pt x="107" y="105"/>
                    </a:lnTo>
                    <a:lnTo>
                      <a:pt x="115" y="117"/>
                    </a:lnTo>
                    <a:lnTo>
                      <a:pt x="130" y="115"/>
                    </a:lnTo>
                    <a:lnTo>
                      <a:pt x="153" y="122"/>
                    </a:lnTo>
                    <a:lnTo>
                      <a:pt x="178" y="126"/>
                    </a:lnTo>
                    <a:lnTo>
                      <a:pt x="195" y="132"/>
                    </a:lnTo>
                    <a:lnTo>
                      <a:pt x="193" y="102"/>
                    </a:lnTo>
                    <a:lnTo>
                      <a:pt x="193" y="80"/>
                    </a:lnTo>
                    <a:lnTo>
                      <a:pt x="184" y="72"/>
                    </a:lnTo>
                    <a:lnTo>
                      <a:pt x="183" y="55"/>
                    </a:lnTo>
                    <a:lnTo>
                      <a:pt x="197" y="61"/>
                    </a:lnTo>
                    <a:lnTo>
                      <a:pt x="212" y="62"/>
                    </a:lnTo>
                    <a:lnTo>
                      <a:pt x="209" y="77"/>
                    </a:lnTo>
                    <a:lnTo>
                      <a:pt x="217" y="88"/>
                    </a:lnTo>
                    <a:lnTo>
                      <a:pt x="227" y="94"/>
                    </a:lnTo>
                    <a:lnTo>
                      <a:pt x="253" y="96"/>
                    </a:lnTo>
                    <a:lnTo>
                      <a:pt x="285" y="101"/>
                    </a:lnTo>
                    <a:lnTo>
                      <a:pt x="296" y="79"/>
                    </a:lnTo>
                    <a:lnTo>
                      <a:pt x="325" y="72"/>
                    </a:lnTo>
                    <a:lnTo>
                      <a:pt x="373" y="62"/>
                    </a:lnTo>
                    <a:lnTo>
                      <a:pt x="378" y="17"/>
                    </a:lnTo>
                    <a:lnTo>
                      <a:pt x="391" y="7"/>
                    </a:lnTo>
                    <a:lnTo>
                      <a:pt x="413" y="2"/>
                    </a:lnTo>
                    <a:lnTo>
                      <a:pt x="436" y="0"/>
                    </a:lnTo>
                    <a:lnTo>
                      <a:pt x="443" y="15"/>
                    </a:lnTo>
                    <a:lnTo>
                      <a:pt x="441" y="31"/>
                    </a:lnTo>
                    <a:lnTo>
                      <a:pt x="445" y="42"/>
                    </a:lnTo>
                    <a:lnTo>
                      <a:pt x="458" y="41"/>
                    </a:lnTo>
                    <a:lnTo>
                      <a:pt x="467" y="48"/>
                    </a:lnTo>
                    <a:lnTo>
                      <a:pt x="463" y="66"/>
                    </a:lnTo>
                    <a:lnTo>
                      <a:pt x="476" y="69"/>
                    </a:lnTo>
                    <a:lnTo>
                      <a:pt x="486" y="76"/>
                    </a:lnTo>
                    <a:lnTo>
                      <a:pt x="495" y="90"/>
                    </a:lnTo>
                    <a:lnTo>
                      <a:pt x="501" y="103"/>
                    </a:lnTo>
                    <a:lnTo>
                      <a:pt x="506" y="111"/>
                    </a:lnTo>
                    <a:lnTo>
                      <a:pt x="525" y="108"/>
                    </a:lnTo>
                    <a:lnTo>
                      <a:pt x="535" y="107"/>
                    </a:lnTo>
                    <a:lnTo>
                      <a:pt x="550" y="125"/>
                    </a:lnTo>
                    <a:lnTo>
                      <a:pt x="558" y="147"/>
                    </a:lnTo>
                    <a:lnTo>
                      <a:pt x="570" y="159"/>
                    </a:lnTo>
                    <a:lnTo>
                      <a:pt x="577" y="160"/>
                    </a:lnTo>
                    <a:lnTo>
                      <a:pt x="587" y="163"/>
                    </a:lnTo>
                    <a:lnTo>
                      <a:pt x="604" y="163"/>
                    </a:lnTo>
                    <a:lnTo>
                      <a:pt x="616" y="175"/>
                    </a:lnTo>
                    <a:lnTo>
                      <a:pt x="629" y="187"/>
                    </a:lnTo>
                    <a:lnTo>
                      <a:pt x="649" y="198"/>
                    </a:lnTo>
                    <a:lnTo>
                      <a:pt x="664" y="204"/>
                    </a:lnTo>
                    <a:lnTo>
                      <a:pt x="681" y="210"/>
                    </a:lnTo>
                    <a:lnTo>
                      <a:pt x="700" y="216"/>
                    </a:lnTo>
                    <a:lnTo>
                      <a:pt x="678" y="245"/>
                    </a:lnTo>
                    <a:lnTo>
                      <a:pt x="674" y="257"/>
                    </a:lnTo>
                    <a:lnTo>
                      <a:pt x="669" y="267"/>
                    </a:lnTo>
                    <a:lnTo>
                      <a:pt x="659" y="279"/>
                    </a:lnTo>
                    <a:lnTo>
                      <a:pt x="654" y="288"/>
                    </a:lnTo>
                    <a:lnTo>
                      <a:pt x="644" y="307"/>
                    </a:lnTo>
                    <a:lnTo>
                      <a:pt x="644" y="327"/>
                    </a:lnTo>
                    <a:lnTo>
                      <a:pt x="638" y="333"/>
                    </a:lnTo>
                    <a:lnTo>
                      <a:pt x="631" y="332"/>
                    </a:lnTo>
                    <a:lnTo>
                      <a:pt x="623" y="329"/>
                    </a:lnTo>
                    <a:lnTo>
                      <a:pt x="607" y="336"/>
                    </a:lnTo>
                    <a:lnTo>
                      <a:pt x="594" y="344"/>
                    </a:lnTo>
                    <a:lnTo>
                      <a:pt x="584" y="355"/>
                    </a:lnTo>
                    <a:lnTo>
                      <a:pt x="580" y="365"/>
                    </a:lnTo>
                    <a:lnTo>
                      <a:pt x="573" y="381"/>
                    </a:lnTo>
                    <a:lnTo>
                      <a:pt x="561" y="389"/>
                    </a:lnTo>
                    <a:lnTo>
                      <a:pt x="551" y="403"/>
                    </a:lnTo>
                    <a:lnTo>
                      <a:pt x="551" y="415"/>
                    </a:lnTo>
                    <a:lnTo>
                      <a:pt x="559" y="415"/>
                    </a:lnTo>
                    <a:lnTo>
                      <a:pt x="577" y="401"/>
                    </a:lnTo>
                    <a:lnTo>
                      <a:pt x="585" y="401"/>
                    </a:lnTo>
                    <a:lnTo>
                      <a:pt x="592" y="415"/>
                    </a:lnTo>
                    <a:lnTo>
                      <a:pt x="596" y="425"/>
                    </a:lnTo>
                    <a:lnTo>
                      <a:pt x="599" y="438"/>
                    </a:lnTo>
                    <a:lnTo>
                      <a:pt x="604" y="446"/>
                    </a:lnTo>
                    <a:lnTo>
                      <a:pt x="590" y="447"/>
                    </a:lnTo>
                    <a:lnTo>
                      <a:pt x="592" y="464"/>
                    </a:lnTo>
                    <a:lnTo>
                      <a:pt x="595" y="476"/>
                    </a:lnTo>
                    <a:lnTo>
                      <a:pt x="596" y="495"/>
                    </a:lnTo>
                    <a:lnTo>
                      <a:pt x="586" y="497"/>
                    </a:lnTo>
                    <a:lnTo>
                      <a:pt x="576" y="511"/>
                    </a:lnTo>
                    <a:lnTo>
                      <a:pt x="566" y="519"/>
                    </a:lnTo>
                    <a:lnTo>
                      <a:pt x="573" y="527"/>
                    </a:lnTo>
                    <a:lnTo>
                      <a:pt x="580" y="541"/>
                    </a:lnTo>
                    <a:lnTo>
                      <a:pt x="580" y="555"/>
                    </a:lnTo>
                    <a:lnTo>
                      <a:pt x="575" y="581"/>
                    </a:lnTo>
                    <a:lnTo>
                      <a:pt x="586" y="591"/>
                    </a:lnTo>
                    <a:lnTo>
                      <a:pt x="599" y="592"/>
                    </a:lnTo>
                    <a:lnTo>
                      <a:pt x="614" y="596"/>
                    </a:lnTo>
                    <a:lnTo>
                      <a:pt x="613" y="609"/>
                    </a:lnTo>
                    <a:lnTo>
                      <a:pt x="608" y="598"/>
                    </a:lnTo>
                    <a:lnTo>
                      <a:pt x="599" y="599"/>
                    </a:lnTo>
                    <a:lnTo>
                      <a:pt x="599" y="608"/>
                    </a:lnTo>
                    <a:close/>
                    <a:moveTo>
                      <a:pt x="674" y="791"/>
                    </a:moveTo>
                    <a:lnTo>
                      <a:pt x="677" y="780"/>
                    </a:lnTo>
                    <a:lnTo>
                      <a:pt x="682" y="771"/>
                    </a:lnTo>
                    <a:lnTo>
                      <a:pt x="693" y="755"/>
                    </a:lnTo>
                    <a:lnTo>
                      <a:pt x="703" y="735"/>
                    </a:lnTo>
                    <a:lnTo>
                      <a:pt x="692" y="725"/>
                    </a:lnTo>
                    <a:lnTo>
                      <a:pt x="699" y="705"/>
                    </a:lnTo>
                    <a:lnTo>
                      <a:pt x="702" y="690"/>
                    </a:lnTo>
                    <a:lnTo>
                      <a:pt x="700" y="680"/>
                    </a:lnTo>
                    <a:lnTo>
                      <a:pt x="689" y="680"/>
                    </a:lnTo>
                    <a:lnTo>
                      <a:pt x="683" y="692"/>
                    </a:lnTo>
                    <a:lnTo>
                      <a:pt x="679" y="704"/>
                    </a:lnTo>
                    <a:lnTo>
                      <a:pt x="669" y="711"/>
                    </a:lnTo>
                    <a:lnTo>
                      <a:pt x="660" y="716"/>
                    </a:lnTo>
                    <a:lnTo>
                      <a:pt x="645" y="716"/>
                    </a:lnTo>
                    <a:lnTo>
                      <a:pt x="645" y="728"/>
                    </a:lnTo>
                    <a:lnTo>
                      <a:pt x="650" y="740"/>
                    </a:lnTo>
                    <a:lnTo>
                      <a:pt x="652" y="749"/>
                    </a:lnTo>
                    <a:lnTo>
                      <a:pt x="644" y="761"/>
                    </a:lnTo>
                    <a:lnTo>
                      <a:pt x="640" y="767"/>
                    </a:lnTo>
                    <a:lnTo>
                      <a:pt x="647" y="770"/>
                    </a:lnTo>
                    <a:lnTo>
                      <a:pt x="650" y="781"/>
                    </a:lnTo>
                    <a:lnTo>
                      <a:pt x="653" y="792"/>
                    </a:lnTo>
                    <a:lnTo>
                      <a:pt x="661" y="799"/>
                    </a:lnTo>
                    <a:lnTo>
                      <a:pt x="671" y="801"/>
                    </a:lnTo>
                    <a:lnTo>
                      <a:pt x="674" y="791"/>
                    </a:lnTo>
                    <a:close/>
                  </a:path>
                </a:pathLst>
              </a:custGeom>
              <a:pattFill prst="wdDnDiag">
                <a:fgClr>
                  <a:srgbClr val="1D8C9B"/>
                </a:fgClr>
                <a:bgClr>
                  <a:srgbClr val="DCDCDC"/>
                </a:bgClr>
              </a:patt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82" name="Freeform 20"/>
              <p:cNvSpPr>
                <a:spLocks noChangeAspect="1"/>
              </p:cNvSpPr>
              <p:nvPr/>
            </p:nvSpPr>
            <p:spPr bwMode="auto">
              <a:xfrm>
                <a:off x="6559714" y="4776129"/>
                <a:ext cx="598294" cy="253409"/>
              </a:xfrm>
              <a:custGeom>
                <a:avLst/>
                <a:gdLst>
                  <a:gd name="T0" fmla="*/ 137 w 407"/>
                  <a:gd name="T1" fmla="*/ 184 h 172"/>
                  <a:gd name="T2" fmla="*/ 149 w 407"/>
                  <a:gd name="T3" fmla="*/ 155 h 172"/>
                  <a:gd name="T4" fmla="*/ 112 w 407"/>
                  <a:gd name="T5" fmla="*/ 101 h 172"/>
                  <a:gd name="T6" fmla="*/ 75 w 407"/>
                  <a:gd name="T7" fmla="*/ 64 h 172"/>
                  <a:gd name="T8" fmla="*/ 57 w 407"/>
                  <a:gd name="T9" fmla="*/ 39 h 172"/>
                  <a:gd name="T10" fmla="*/ 42 w 407"/>
                  <a:gd name="T11" fmla="*/ 26 h 172"/>
                  <a:gd name="T12" fmla="*/ 0 w 407"/>
                  <a:gd name="T13" fmla="*/ 26 h 172"/>
                  <a:gd name="T14" fmla="*/ 23 w 407"/>
                  <a:gd name="T15" fmla="*/ 0 h 172"/>
                  <a:gd name="T16" fmla="*/ 49 w 407"/>
                  <a:gd name="T17" fmla="*/ 2 h 172"/>
                  <a:gd name="T18" fmla="*/ 74 w 407"/>
                  <a:gd name="T19" fmla="*/ 6 h 172"/>
                  <a:gd name="T20" fmla="*/ 106 w 407"/>
                  <a:gd name="T21" fmla="*/ 4 h 172"/>
                  <a:gd name="T22" fmla="*/ 134 w 407"/>
                  <a:gd name="T23" fmla="*/ 15 h 172"/>
                  <a:gd name="T24" fmla="*/ 177 w 407"/>
                  <a:gd name="T25" fmla="*/ 6 h 172"/>
                  <a:gd name="T26" fmla="*/ 191 w 407"/>
                  <a:gd name="T27" fmla="*/ 24 h 172"/>
                  <a:gd name="T28" fmla="*/ 220 w 407"/>
                  <a:gd name="T29" fmla="*/ 26 h 172"/>
                  <a:gd name="T30" fmla="*/ 249 w 407"/>
                  <a:gd name="T31" fmla="*/ 26 h 172"/>
                  <a:gd name="T32" fmla="*/ 254 w 407"/>
                  <a:gd name="T33" fmla="*/ 44 h 172"/>
                  <a:gd name="T34" fmla="*/ 290 w 407"/>
                  <a:gd name="T35" fmla="*/ 44 h 172"/>
                  <a:gd name="T36" fmla="*/ 327 w 407"/>
                  <a:gd name="T37" fmla="*/ 38 h 172"/>
                  <a:gd name="T38" fmla="*/ 357 w 407"/>
                  <a:gd name="T39" fmla="*/ 20 h 172"/>
                  <a:gd name="T40" fmla="*/ 391 w 407"/>
                  <a:gd name="T41" fmla="*/ 18 h 172"/>
                  <a:gd name="T42" fmla="*/ 408 w 407"/>
                  <a:gd name="T43" fmla="*/ 30 h 172"/>
                  <a:gd name="T44" fmla="*/ 396 w 407"/>
                  <a:gd name="T45" fmla="*/ 54 h 172"/>
                  <a:gd name="T46" fmla="*/ 426 w 407"/>
                  <a:gd name="T47" fmla="*/ 60 h 172"/>
                  <a:gd name="T48" fmla="*/ 457 w 407"/>
                  <a:gd name="T49" fmla="*/ 73 h 172"/>
                  <a:gd name="T50" fmla="*/ 452 w 407"/>
                  <a:gd name="T51" fmla="*/ 86 h 172"/>
                  <a:gd name="T52" fmla="*/ 444 w 407"/>
                  <a:gd name="T53" fmla="*/ 100 h 172"/>
                  <a:gd name="T54" fmla="*/ 463 w 407"/>
                  <a:gd name="T55" fmla="*/ 107 h 172"/>
                  <a:gd name="T56" fmla="*/ 483 w 407"/>
                  <a:gd name="T57" fmla="*/ 116 h 172"/>
                  <a:gd name="T58" fmla="*/ 484 w 407"/>
                  <a:gd name="T59" fmla="*/ 141 h 172"/>
                  <a:gd name="T60" fmla="*/ 463 w 407"/>
                  <a:gd name="T61" fmla="*/ 141 h 172"/>
                  <a:gd name="T62" fmla="*/ 455 w 407"/>
                  <a:gd name="T63" fmla="*/ 150 h 172"/>
                  <a:gd name="T64" fmla="*/ 429 w 407"/>
                  <a:gd name="T65" fmla="*/ 149 h 172"/>
                  <a:gd name="T66" fmla="*/ 401 w 407"/>
                  <a:gd name="T67" fmla="*/ 147 h 172"/>
                  <a:gd name="T68" fmla="*/ 391 w 407"/>
                  <a:gd name="T69" fmla="*/ 159 h 172"/>
                  <a:gd name="T70" fmla="*/ 372 w 407"/>
                  <a:gd name="T71" fmla="*/ 159 h 172"/>
                  <a:gd name="T72" fmla="*/ 350 w 407"/>
                  <a:gd name="T73" fmla="*/ 159 h 172"/>
                  <a:gd name="T74" fmla="*/ 322 w 407"/>
                  <a:gd name="T75" fmla="*/ 167 h 172"/>
                  <a:gd name="T76" fmla="*/ 309 w 407"/>
                  <a:gd name="T77" fmla="*/ 175 h 172"/>
                  <a:gd name="T78" fmla="*/ 291 w 407"/>
                  <a:gd name="T79" fmla="*/ 190 h 172"/>
                  <a:gd name="T80" fmla="*/ 281 w 407"/>
                  <a:gd name="T81" fmla="*/ 205 h 172"/>
                  <a:gd name="T82" fmla="*/ 266 w 407"/>
                  <a:gd name="T83" fmla="*/ 193 h 172"/>
                  <a:gd name="T84" fmla="*/ 252 w 407"/>
                  <a:gd name="T85" fmla="*/ 184 h 172"/>
                  <a:gd name="T86" fmla="*/ 232 w 407"/>
                  <a:gd name="T87" fmla="*/ 172 h 172"/>
                  <a:gd name="T88" fmla="*/ 213 w 407"/>
                  <a:gd name="T89" fmla="*/ 167 h 172"/>
                  <a:gd name="T90" fmla="*/ 200 w 407"/>
                  <a:gd name="T91" fmla="*/ 184 h 172"/>
                  <a:gd name="T92" fmla="*/ 188 w 407"/>
                  <a:gd name="T93" fmla="*/ 181 h 172"/>
                  <a:gd name="T94" fmla="*/ 166 w 407"/>
                  <a:gd name="T95" fmla="*/ 194 h 172"/>
                  <a:gd name="T96" fmla="*/ 151 w 407"/>
                  <a:gd name="T97" fmla="*/ 188 h 172"/>
                  <a:gd name="T98" fmla="*/ 137 w 407"/>
                  <a:gd name="T99" fmla="*/ 184 h 17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07"/>
                  <a:gd name="T151" fmla="*/ 0 h 172"/>
                  <a:gd name="T152" fmla="*/ 407 w 407"/>
                  <a:gd name="T153" fmla="*/ 172 h 17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07" h="172">
                    <a:moveTo>
                      <a:pt x="115" y="154"/>
                    </a:moveTo>
                    <a:lnTo>
                      <a:pt x="125" y="130"/>
                    </a:lnTo>
                    <a:lnTo>
                      <a:pt x="94" y="85"/>
                    </a:lnTo>
                    <a:lnTo>
                      <a:pt x="63" y="54"/>
                    </a:lnTo>
                    <a:lnTo>
                      <a:pt x="48" y="33"/>
                    </a:lnTo>
                    <a:lnTo>
                      <a:pt x="35" y="22"/>
                    </a:lnTo>
                    <a:lnTo>
                      <a:pt x="0" y="22"/>
                    </a:lnTo>
                    <a:lnTo>
                      <a:pt x="19" y="0"/>
                    </a:lnTo>
                    <a:lnTo>
                      <a:pt x="41" y="2"/>
                    </a:lnTo>
                    <a:lnTo>
                      <a:pt x="62" y="5"/>
                    </a:lnTo>
                    <a:lnTo>
                      <a:pt x="89" y="3"/>
                    </a:lnTo>
                    <a:lnTo>
                      <a:pt x="113" y="13"/>
                    </a:lnTo>
                    <a:lnTo>
                      <a:pt x="149" y="5"/>
                    </a:lnTo>
                    <a:lnTo>
                      <a:pt x="161" y="20"/>
                    </a:lnTo>
                    <a:lnTo>
                      <a:pt x="185" y="22"/>
                    </a:lnTo>
                    <a:lnTo>
                      <a:pt x="209" y="22"/>
                    </a:lnTo>
                    <a:lnTo>
                      <a:pt x="214" y="37"/>
                    </a:lnTo>
                    <a:lnTo>
                      <a:pt x="244" y="37"/>
                    </a:lnTo>
                    <a:lnTo>
                      <a:pt x="275" y="32"/>
                    </a:lnTo>
                    <a:lnTo>
                      <a:pt x="300" y="17"/>
                    </a:lnTo>
                    <a:lnTo>
                      <a:pt x="329" y="15"/>
                    </a:lnTo>
                    <a:lnTo>
                      <a:pt x="343" y="25"/>
                    </a:lnTo>
                    <a:lnTo>
                      <a:pt x="333" y="45"/>
                    </a:lnTo>
                    <a:lnTo>
                      <a:pt x="358" y="50"/>
                    </a:lnTo>
                    <a:lnTo>
                      <a:pt x="384" y="61"/>
                    </a:lnTo>
                    <a:lnTo>
                      <a:pt x="380" y="72"/>
                    </a:lnTo>
                    <a:lnTo>
                      <a:pt x="373" y="84"/>
                    </a:lnTo>
                    <a:lnTo>
                      <a:pt x="389" y="90"/>
                    </a:lnTo>
                    <a:lnTo>
                      <a:pt x="406" y="97"/>
                    </a:lnTo>
                    <a:lnTo>
                      <a:pt x="407" y="118"/>
                    </a:lnTo>
                    <a:lnTo>
                      <a:pt x="389" y="118"/>
                    </a:lnTo>
                    <a:lnTo>
                      <a:pt x="383" y="126"/>
                    </a:lnTo>
                    <a:lnTo>
                      <a:pt x="361" y="125"/>
                    </a:lnTo>
                    <a:lnTo>
                      <a:pt x="337" y="123"/>
                    </a:lnTo>
                    <a:lnTo>
                      <a:pt x="329" y="133"/>
                    </a:lnTo>
                    <a:lnTo>
                      <a:pt x="313" y="133"/>
                    </a:lnTo>
                    <a:lnTo>
                      <a:pt x="294" y="133"/>
                    </a:lnTo>
                    <a:lnTo>
                      <a:pt x="271" y="140"/>
                    </a:lnTo>
                    <a:lnTo>
                      <a:pt x="260" y="147"/>
                    </a:lnTo>
                    <a:lnTo>
                      <a:pt x="245" y="159"/>
                    </a:lnTo>
                    <a:lnTo>
                      <a:pt x="236" y="172"/>
                    </a:lnTo>
                    <a:lnTo>
                      <a:pt x="224" y="162"/>
                    </a:lnTo>
                    <a:lnTo>
                      <a:pt x="212" y="154"/>
                    </a:lnTo>
                    <a:lnTo>
                      <a:pt x="195" y="144"/>
                    </a:lnTo>
                    <a:lnTo>
                      <a:pt x="179" y="140"/>
                    </a:lnTo>
                    <a:lnTo>
                      <a:pt x="168" y="154"/>
                    </a:lnTo>
                    <a:lnTo>
                      <a:pt x="158" y="152"/>
                    </a:lnTo>
                    <a:lnTo>
                      <a:pt x="140" y="163"/>
                    </a:lnTo>
                    <a:lnTo>
                      <a:pt x="127" y="158"/>
                    </a:lnTo>
                    <a:lnTo>
                      <a:pt x="115" y="154"/>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83" name="Freeform 21"/>
              <p:cNvSpPr>
                <a:spLocks noChangeAspect="1" noEditPoints="1"/>
              </p:cNvSpPr>
              <p:nvPr/>
            </p:nvSpPr>
            <p:spPr bwMode="auto">
              <a:xfrm>
                <a:off x="4841474" y="5124721"/>
                <a:ext cx="599530" cy="771354"/>
              </a:xfrm>
              <a:custGeom>
                <a:avLst/>
                <a:gdLst>
                  <a:gd name="T0" fmla="*/ 428 w 408"/>
                  <a:gd name="T1" fmla="*/ 81 h 525"/>
                  <a:gd name="T2" fmla="*/ 316 w 408"/>
                  <a:gd name="T3" fmla="*/ 92 h 525"/>
                  <a:gd name="T4" fmla="*/ 325 w 408"/>
                  <a:gd name="T5" fmla="*/ 125 h 525"/>
                  <a:gd name="T6" fmla="*/ 301 w 408"/>
                  <a:gd name="T7" fmla="*/ 146 h 525"/>
                  <a:gd name="T8" fmla="*/ 304 w 408"/>
                  <a:gd name="T9" fmla="*/ 184 h 525"/>
                  <a:gd name="T10" fmla="*/ 276 w 408"/>
                  <a:gd name="T11" fmla="*/ 170 h 525"/>
                  <a:gd name="T12" fmla="*/ 229 w 408"/>
                  <a:gd name="T13" fmla="*/ 143 h 525"/>
                  <a:gd name="T14" fmla="*/ 199 w 408"/>
                  <a:gd name="T15" fmla="*/ 149 h 525"/>
                  <a:gd name="T16" fmla="*/ 253 w 408"/>
                  <a:gd name="T17" fmla="*/ 233 h 525"/>
                  <a:gd name="T18" fmla="*/ 219 w 408"/>
                  <a:gd name="T19" fmla="*/ 250 h 525"/>
                  <a:gd name="T20" fmla="*/ 239 w 408"/>
                  <a:gd name="T21" fmla="*/ 290 h 525"/>
                  <a:gd name="T22" fmla="*/ 310 w 408"/>
                  <a:gd name="T23" fmla="*/ 367 h 525"/>
                  <a:gd name="T24" fmla="*/ 254 w 408"/>
                  <a:gd name="T25" fmla="*/ 353 h 525"/>
                  <a:gd name="T26" fmla="*/ 277 w 408"/>
                  <a:gd name="T27" fmla="*/ 385 h 525"/>
                  <a:gd name="T28" fmla="*/ 225 w 408"/>
                  <a:gd name="T29" fmla="*/ 392 h 525"/>
                  <a:gd name="T30" fmla="*/ 256 w 408"/>
                  <a:gd name="T31" fmla="*/ 480 h 525"/>
                  <a:gd name="T32" fmla="*/ 218 w 408"/>
                  <a:gd name="T33" fmla="*/ 459 h 525"/>
                  <a:gd name="T34" fmla="*/ 202 w 408"/>
                  <a:gd name="T35" fmla="*/ 493 h 525"/>
                  <a:gd name="T36" fmla="*/ 169 w 408"/>
                  <a:gd name="T37" fmla="*/ 446 h 525"/>
                  <a:gd name="T38" fmla="*/ 137 w 408"/>
                  <a:gd name="T39" fmla="*/ 456 h 525"/>
                  <a:gd name="T40" fmla="*/ 133 w 408"/>
                  <a:gd name="T41" fmla="*/ 393 h 525"/>
                  <a:gd name="T42" fmla="*/ 102 w 408"/>
                  <a:gd name="T43" fmla="*/ 357 h 525"/>
                  <a:gd name="T44" fmla="*/ 182 w 408"/>
                  <a:gd name="T45" fmla="*/ 341 h 525"/>
                  <a:gd name="T46" fmla="*/ 238 w 408"/>
                  <a:gd name="T47" fmla="*/ 332 h 525"/>
                  <a:gd name="T48" fmla="*/ 185 w 408"/>
                  <a:gd name="T49" fmla="*/ 316 h 525"/>
                  <a:gd name="T50" fmla="*/ 107 w 408"/>
                  <a:gd name="T51" fmla="*/ 319 h 525"/>
                  <a:gd name="T52" fmla="*/ 105 w 408"/>
                  <a:gd name="T53" fmla="*/ 247 h 525"/>
                  <a:gd name="T54" fmla="*/ 39 w 408"/>
                  <a:gd name="T55" fmla="*/ 190 h 525"/>
                  <a:gd name="T56" fmla="*/ 69 w 408"/>
                  <a:gd name="T57" fmla="*/ 178 h 525"/>
                  <a:gd name="T58" fmla="*/ 89 w 408"/>
                  <a:gd name="T59" fmla="*/ 150 h 525"/>
                  <a:gd name="T60" fmla="*/ 105 w 408"/>
                  <a:gd name="T61" fmla="*/ 99 h 525"/>
                  <a:gd name="T62" fmla="*/ 151 w 408"/>
                  <a:gd name="T63" fmla="*/ 74 h 525"/>
                  <a:gd name="T64" fmla="*/ 212 w 408"/>
                  <a:gd name="T65" fmla="*/ 68 h 525"/>
                  <a:gd name="T66" fmla="*/ 256 w 408"/>
                  <a:gd name="T67" fmla="*/ 34 h 525"/>
                  <a:gd name="T68" fmla="*/ 301 w 408"/>
                  <a:gd name="T69" fmla="*/ 36 h 525"/>
                  <a:gd name="T70" fmla="*/ 355 w 408"/>
                  <a:gd name="T71" fmla="*/ 21 h 525"/>
                  <a:gd name="T72" fmla="*/ 404 w 408"/>
                  <a:gd name="T73" fmla="*/ 42 h 525"/>
                  <a:gd name="T74" fmla="*/ 441 w 408"/>
                  <a:gd name="T75" fmla="*/ 26 h 525"/>
                  <a:gd name="T76" fmla="*/ 480 w 408"/>
                  <a:gd name="T77" fmla="*/ 14 h 525"/>
                  <a:gd name="T78" fmla="*/ 467 w 408"/>
                  <a:gd name="T79" fmla="*/ 58 h 525"/>
                  <a:gd name="T80" fmla="*/ 21 w 408"/>
                  <a:gd name="T81" fmla="*/ 228 h 525"/>
                  <a:gd name="T82" fmla="*/ 20 w 408"/>
                  <a:gd name="T83" fmla="*/ 190 h 525"/>
                  <a:gd name="T84" fmla="*/ 12 w 408"/>
                  <a:gd name="T85" fmla="*/ 206 h 525"/>
                  <a:gd name="T86" fmla="*/ 75 w 408"/>
                  <a:gd name="T87" fmla="*/ 345 h 525"/>
                  <a:gd name="T88" fmla="*/ 70 w 408"/>
                  <a:gd name="T89" fmla="*/ 308 h 525"/>
                  <a:gd name="T90" fmla="*/ 86 w 408"/>
                  <a:gd name="T91" fmla="*/ 353 h 525"/>
                  <a:gd name="T92" fmla="*/ 278 w 408"/>
                  <a:gd name="T93" fmla="*/ 571 h 525"/>
                  <a:gd name="T94" fmla="*/ 321 w 408"/>
                  <a:gd name="T95" fmla="*/ 568 h 525"/>
                  <a:gd name="T96" fmla="*/ 390 w 408"/>
                  <a:gd name="T97" fmla="*/ 584 h 525"/>
                  <a:gd name="T98" fmla="*/ 428 w 408"/>
                  <a:gd name="T99" fmla="*/ 605 h 525"/>
                  <a:gd name="T100" fmla="*/ 485 w 408"/>
                  <a:gd name="T101" fmla="*/ 606 h 525"/>
                  <a:gd name="T102" fmla="*/ 433 w 408"/>
                  <a:gd name="T103" fmla="*/ 623 h 525"/>
                  <a:gd name="T104" fmla="*/ 379 w 408"/>
                  <a:gd name="T105" fmla="*/ 622 h 525"/>
                  <a:gd name="T106" fmla="*/ 325 w 408"/>
                  <a:gd name="T107" fmla="*/ 606 h 525"/>
                  <a:gd name="T108" fmla="*/ 277 w 408"/>
                  <a:gd name="T109" fmla="*/ 604 h 525"/>
                  <a:gd name="T110" fmla="*/ 322 w 408"/>
                  <a:gd name="T111" fmla="*/ 296 h 525"/>
                  <a:gd name="T112" fmla="*/ 348 w 408"/>
                  <a:gd name="T113" fmla="*/ 339 h 525"/>
                  <a:gd name="T114" fmla="*/ 327 w 408"/>
                  <a:gd name="T115" fmla="*/ 370 h 525"/>
                  <a:gd name="T116" fmla="*/ 292 w 408"/>
                  <a:gd name="T117" fmla="*/ 310 h 525"/>
                  <a:gd name="T118" fmla="*/ 238 w 408"/>
                  <a:gd name="T119" fmla="*/ 270 h 525"/>
                  <a:gd name="T120" fmla="*/ 275 w 408"/>
                  <a:gd name="T121" fmla="*/ 250 h 52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08"/>
                  <a:gd name="T184" fmla="*/ 0 h 525"/>
                  <a:gd name="T185" fmla="*/ 408 w 408"/>
                  <a:gd name="T186" fmla="*/ 525 h 52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08" h="525">
                    <a:moveTo>
                      <a:pt x="388" y="74"/>
                    </a:moveTo>
                    <a:lnTo>
                      <a:pt x="381" y="72"/>
                    </a:lnTo>
                    <a:lnTo>
                      <a:pt x="360" y="68"/>
                    </a:lnTo>
                    <a:lnTo>
                      <a:pt x="322" y="64"/>
                    </a:lnTo>
                    <a:lnTo>
                      <a:pt x="275" y="62"/>
                    </a:lnTo>
                    <a:lnTo>
                      <a:pt x="266" y="77"/>
                    </a:lnTo>
                    <a:lnTo>
                      <a:pt x="247" y="80"/>
                    </a:lnTo>
                    <a:lnTo>
                      <a:pt x="256" y="98"/>
                    </a:lnTo>
                    <a:lnTo>
                      <a:pt x="273" y="105"/>
                    </a:lnTo>
                    <a:lnTo>
                      <a:pt x="278" y="125"/>
                    </a:lnTo>
                    <a:lnTo>
                      <a:pt x="272" y="132"/>
                    </a:lnTo>
                    <a:lnTo>
                      <a:pt x="253" y="123"/>
                    </a:lnTo>
                    <a:lnTo>
                      <a:pt x="243" y="119"/>
                    </a:lnTo>
                    <a:lnTo>
                      <a:pt x="262" y="145"/>
                    </a:lnTo>
                    <a:lnTo>
                      <a:pt x="256" y="155"/>
                    </a:lnTo>
                    <a:lnTo>
                      <a:pt x="237" y="124"/>
                    </a:lnTo>
                    <a:lnTo>
                      <a:pt x="228" y="124"/>
                    </a:lnTo>
                    <a:lnTo>
                      <a:pt x="232" y="143"/>
                    </a:lnTo>
                    <a:lnTo>
                      <a:pt x="227" y="151"/>
                    </a:lnTo>
                    <a:lnTo>
                      <a:pt x="199" y="127"/>
                    </a:lnTo>
                    <a:lnTo>
                      <a:pt x="193" y="120"/>
                    </a:lnTo>
                    <a:lnTo>
                      <a:pt x="210" y="83"/>
                    </a:lnTo>
                    <a:lnTo>
                      <a:pt x="192" y="78"/>
                    </a:lnTo>
                    <a:lnTo>
                      <a:pt x="167" y="125"/>
                    </a:lnTo>
                    <a:lnTo>
                      <a:pt x="182" y="154"/>
                    </a:lnTo>
                    <a:lnTo>
                      <a:pt x="198" y="177"/>
                    </a:lnTo>
                    <a:lnTo>
                      <a:pt x="213" y="196"/>
                    </a:lnTo>
                    <a:lnTo>
                      <a:pt x="197" y="210"/>
                    </a:lnTo>
                    <a:lnTo>
                      <a:pt x="189" y="207"/>
                    </a:lnTo>
                    <a:lnTo>
                      <a:pt x="184" y="210"/>
                    </a:lnTo>
                    <a:lnTo>
                      <a:pt x="174" y="223"/>
                    </a:lnTo>
                    <a:lnTo>
                      <a:pt x="184" y="237"/>
                    </a:lnTo>
                    <a:lnTo>
                      <a:pt x="201" y="244"/>
                    </a:lnTo>
                    <a:lnTo>
                      <a:pt x="234" y="256"/>
                    </a:lnTo>
                    <a:lnTo>
                      <a:pt x="253" y="277"/>
                    </a:lnTo>
                    <a:lnTo>
                      <a:pt x="261" y="309"/>
                    </a:lnTo>
                    <a:lnTo>
                      <a:pt x="251" y="314"/>
                    </a:lnTo>
                    <a:lnTo>
                      <a:pt x="235" y="304"/>
                    </a:lnTo>
                    <a:lnTo>
                      <a:pt x="214" y="297"/>
                    </a:lnTo>
                    <a:lnTo>
                      <a:pt x="207" y="307"/>
                    </a:lnTo>
                    <a:lnTo>
                      <a:pt x="222" y="315"/>
                    </a:lnTo>
                    <a:lnTo>
                      <a:pt x="233" y="324"/>
                    </a:lnTo>
                    <a:lnTo>
                      <a:pt x="225" y="342"/>
                    </a:lnTo>
                    <a:lnTo>
                      <a:pt x="201" y="334"/>
                    </a:lnTo>
                    <a:lnTo>
                      <a:pt x="189" y="330"/>
                    </a:lnTo>
                    <a:lnTo>
                      <a:pt x="198" y="352"/>
                    </a:lnTo>
                    <a:lnTo>
                      <a:pt x="208" y="372"/>
                    </a:lnTo>
                    <a:lnTo>
                      <a:pt x="215" y="404"/>
                    </a:lnTo>
                    <a:lnTo>
                      <a:pt x="199" y="411"/>
                    </a:lnTo>
                    <a:lnTo>
                      <a:pt x="191" y="393"/>
                    </a:lnTo>
                    <a:lnTo>
                      <a:pt x="183" y="386"/>
                    </a:lnTo>
                    <a:lnTo>
                      <a:pt x="177" y="391"/>
                    </a:lnTo>
                    <a:lnTo>
                      <a:pt x="177" y="411"/>
                    </a:lnTo>
                    <a:lnTo>
                      <a:pt x="170" y="415"/>
                    </a:lnTo>
                    <a:lnTo>
                      <a:pt x="161" y="394"/>
                    </a:lnTo>
                    <a:lnTo>
                      <a:pt x="152" y="380"/>
                    </a:lnTo>
                    <a:lnTo>
                      <a:pt x="142" y="375"/>
                    </a:lnTo>
                    <a:lnTo>
                      <a:pt x="143" y="385"/>
                    </a:lnTo>
                    <a:lnTo>
                      <a:pt x="129" y="391"/>
                    </a:lnTo>
                    <a:lnTo>
                      <a:pt x="115" y="384"/>
                    </a:lnTo>
                    <a:lnTo>
                      <a:pt x="112" y="369"/>
                    </a:lnTo>
                    <a:lnTo>
                      <a:pt x="117" y="351"/>
                    </a:lnTo>
                    <a:lnTo>
                      <a:pt x="112" y="331"/>
                    </a:lnTo>
                    <a:lnTo>
                      <a:pt x="106" y="324"/>
                    </a:lnTo>
                    <a:lnTo>
                      <a:pt x="84" y="314"/>
                    </a:lnTo>
                    <a:lnTo>
                      <a:pt x="86" y="300"/>
                    </a:lnTo>
                    <a:lnTo>
                      <a:pt x="101" y="294"/>
                    </a:lnTo>
                    <a:lnTo>
                      <a:pt x="123" y="280"/>
                    </a:lnTo>
                    <a:lnTo>
                      <a:pt x="153" y="287"/>
                    </a:lnTo>
                    <a:lnTo>
                      <a:pt x="179" y="297"/>
                    </a:lnTo>
                    <a:lnTo>
                      <a:pt x="188" y="302"/>
                    </a:lnTo>
                    <a:lnTo>
                      <a:pt x="200" y="279"/>
                    </a:lnTo>
                    <a:lnTo>
                      <a:pt x="189" y="268"/>
                    </a:lnTo>
                    <a:lnTo>
                      <a:pt x="172" y="255"/>
                    </a:lnTo>
                    <a:lnTo>
                      <a:pt x="156" y="266"/>
                    </a:lnTo>
                    <a:lnTo>
                      <a:pt x="141" y="254"/>
                    </a:lnTo>
                    <a:lnTo>
                      <a:pt x="113" y="260"/>
                    </a:lnTo>
                    <a:lnTo>
                      <a:pt x="90" y="268"/>
                    </a:lnTo>
                    <a:lnTo>
                      <a:pt x="80" y="249"/>
                    </a:lnTo>
                    <a:lnTo>
                      <a:pt x="98" y="227"/>
                    </a:lnTo>
                    <a:lnTo>
                      <a:pt x="88" y="208"/>
                    </a:lnTo>
                    <a:lnTo>
                      <a:pt x="66" y="212"/>
                    </a:lnTo>
                    <a:lnTo>
                      <a:pt x="47" y="175"/>
                    </a:lnTo>
                    <a:lnTo>
                      <a:pt x="33" y="160"/>
                    </a:lnTo>
                    <a:lnTo>
                      <a:pt x="39" y="150"/>
                    </a:lnTo>
                    <a:lnTo>
                      <a:pt x="50" y="154"/>
                    </a:lnTo>
                    <a:lnTo>
                      <a:pt x="58" y="150"/>
                    </a:lnTo>
                    <a:lnTo>
                      <a:pt x="65" y="143"/>
                    </a:lnTo>
                    <a:lnTo>
                      <a:pt x="71" y="134"/>
                    </a:lnTo>
                    <a:lnTo>
                      <a:pt x="75" y="126"/>
                    </a:lnTo>
                    <a:lnTo>
                      <a:pt x="81" y="114"/>
                    </a:lnTo>
                    <a:lnTo>
                      <a:pt x="81" y="100"/>
                    </a:lnTo>
                    <a:lnTo>
                      <a:pt x="88" y="83"/>
                    </a:lnTo>
                    <a:lnTo>
                      <a:pt x="95" y="81"/>
                    </a:lnTo>
                    <a:lnTo>
                      <a:pt x="112" y="83"/>
                    </a:lnTo>
                    <a:lnTo>
                      <a:pt x="127" y="62"/>
                    </a:lnTo>
                    <a:lnTo>
                      <a:pt x="146" y="58"/>
                    </a:lnTo>
                    <a:lnTo>
                      <a:pt x="163" y="61"/>
                    </a:lnTo>
                    <a:lnTo>
                      <a:pt x="178" y="57"/>
                    </a:lnTo>
                    <a:lnTo>
                      <a:pt x="194" y="38"/>
                    </a:lnTo>
                    <a:lnTo>
                      <a:pt x="210" y="33"/>
                    </a:lnTo>
                    <a:lnTo>
                      <a:pt x="215" y="29"/>
                    </a:lnTo>
                    <a:lnTo>
                      <a:pt x="220" y="39"/>
                    </a:lnTo>
                    <a:lnTo>
                      <a:pt x="237" y="31"/>
                    </a:lnTo>
                    <a:lnTo>
                      <a:pt x="253" y="30"/>
                    </a:lnTo>
                    <a:lnTo>
                      <a:pt x="267" y="27"/>
                    </a:lnTo>
                    <a:lnTo>
                      <a:pt x="283" y="23"/>
                    </a:lnTo>
                    <a:lnTo>
                      <a:pt x="299" y="18"/>
                    </a:lnTo>
                    <a:lnTo>
                      <a:pt x="309" y="31"/>
                    </a:lnTo>
                    <a:lnTo>
                      <a:pt x="325" y="35"/>
                    </a:lnTo>
                    <a:lnTo>
                      <a:pt x="340" y="35"/>
                    </a:lnTo>
                    <a:lnTo>
                      <a:pt x="357" y="38"/>
                    </a:lnTo>
                    <a:lnTo>
                      <a:pt x="368" y="40"/>
                    </a:lnTo>
                    <a:lnTo>
                      <a:pt x="371" y="22"/>
                    </a:lnTo>
                    <a:lnTo>
                      <a:pt x="383" y="1"/>
                    </a:lnTo>
                    <a:lnTo>
                      <a:pt x="399" y="0"/>
                    </a:lnTo>
                    <a:lnTo>
                      <a:pt x="404" y="12"/>
                    </a:lnTo>
                    <a:lnTo>
                      <a:pt x="403" y="27"/>
                    </a:lnTo>
                    <a:lnTo>
                      <a:pt x="397" y="40"/>
                    </a:lnTo>
                    <a:lnTo>
                      <a:pt x="393" y="49"/>
                    </a:lnTo>
                    <a:lnTo>
                      <a:pt x="385" y="62"/>
                    </a:lnTo>
                    <a:lnTo>
                      <a:pt x="388" y="74"/>
                    </a:lnTo>
                    <a:close/>
                    <a:moveTo>
                      <a:pt x="18" y="192"/>
                    </a:moveTo>
                    <a:lnTo>
                      <a:pt x="27" y="197"/>
                    </a:lnTo>
                    <a:lnTo>
                      <a:pt x="30" y="182"/>
                    </a:lnTo>
                    <a:lnTo>
                      <a:pt x="17" y="160"/>
                    </a:lnTo>
                    <a:lnTo>
                      <a:pt x="6" y="159"/>
                    </a:lnTo>
                    <a:lnTo>
                      <a:pt x="0" y="162"/>
                    </a:lnTo>
                    <a:lnTo>
                      <a:pt x="10" y="173"/>
                    </a:lnTo>
                    <a:lnTo>
                      <a:pt x="12" y="186"/>
                    </a:lnTo>
                    <a:lnTo>
                      <a:pt x="18" y="192"/>
                    </a:lnTo>
                    <a:close/>
                    <a:moveTo>
                      <a:pt x="63" y="290"/>
                    </a:moveTo>
                    <a:lnTo>
                      <a:pt x="55" y="283"/>
                    </a:lnTo>
                    <a:lnTo>
                      <a:pt x="49" y="269"/>
                    </a:lnTo>
                    <a:lnTo>
                      <a:pt x="59" y="259"/>
                    </a:lnTo>
                    <a:lnTo>
                      <a:pt x="67" y="270"/>
                    </a:lnTo>
                    <a:lnTo>
                      <a:pt x="72" y="281"/>
                    </a:lnTo>
                    <a:lnTo>
                      <a:pt x="72" y="297"/>
                    </a:lnTo>
                    <a:lnTo>
                      <a:pt x="63" y="290"/>
                    </a:lnTo>
                    <a:close/>
                    <a:moveTo>
                      <a:pt x="234" y="497"/>
                    </a:moveTo>
                    <a:lnTo>
                      <a:pt x="234" y="480"/>
                    </a:lnTo>
                    <a:lnTo>
                      <a:pt x="244" y="483"/>
                    </a:lnTo>
                    <a:lnTo>
                      <a:pt x="257" y="492"/>
                    </a:lnTo>
                    <a:lnTo>
                      <a:pt x="270" y="478"/>
                    </a:lnTo>
                    <a:lnTo>
                      <a:pt x="275" y="493"/>
                    </a:lnTo>
                    <a:lnTo>
                      <a:pt x="302" y="494"/>
                    </a:lnTo>
                    <a:lnTo>
                      <a:pt x="328" y="491"/>
                    </a:lnTo>
                    <a:lnTo>
                      <a:pt x="345" y="494"/>
                    </a:lnTo>
                    <a:lnTo>
                      <a:pt x="362" y="496"/>
                    </a:lnTo>
                    <a:lnTo>
                      <a:pt x="360" y="509"/>
                    </a:lnTo>
                    <a:lnTo>
                      <a:pt x="374" y="505"/>
                    </a:lnTo>
                    <a:lnTo>
                      <a:pt x="400" y="499"/>
                    </a:lnTo>
                    <a:lnTo>
                      <a:pt x="408" y="510"/>
                    </a:lnTo>
                    <a:lnTo>
                      <a:pt x="399" y="521"/>
                    </a:lnTo>
                    <a:lnTo>
                      <a:pt x="379" y="525"/>
                    </a:lnTo>
                    <a:lnTo>
                      <a:pt x="364" y="524"/>
                    </a:lnTo>
                    <a:lnTo>
                      <a:pt x="349" y="524"/>
                    </a:lnTo>
                    <a:lnTo>
                      <a:pt x="333" y="524"/>
                    </a:lnTo>
                    <a:lnTo>
                      <a:pt x="319" y="523"/>
                    </a:lnTo>
                    <a:lnTo>
                      <a:pt x="302" y="520"/>
                    </a:lnTo>
                    <a:lnTo>
                      <a:pt x="286" y="513"/>
                    </a:lnTo>
                    <a:lnTo>
                      <a:pt x="273" y="510"/>
                    </a:lnTo>
                    <a:lnTo>
                      <a:pt x="258" y="509"/>
                    </a:lnTo>
                    <a:lnTo>
                      <a:pt x="245" y="509"/>
                    </a:lnTo>
                    <a:lnTo>
                      <a:pt x="233" y="508"/>
                    </a:lnTo>
                    <a:lnTo>
                      <a:pt x="234" y="497"/>
                    </a:lnTo>
                    <a:close/>
                    <a:moveTo>
                      <a:pt x="260" y="235"/>
                    </a:moveTo>
                    <a:lnTo>
                      <a:pt x="271" y="249"/>
                    </a:lnTo>
                    <a:lnTo>
                      <a:pt x="276" y="256"/>
                    </a:lnTo>
                    <a:lnTo>
                      <a:pt x="281" y="268"/>
                    </a:lnTo>
                    <a:lnTo>
                      <a:pt x="293" y="285"/>
                    </a:lnTo>
                    <a:lnTo>
                      <a:pt x="299" y="304"/>
                    </a:lnTo>
                    <a:lnTo>
                      <a:pt x="292" y="314"/>
                    </a:lnTo>
                    <a:lnTo>
                      <a:pt x="275" y="311"/>
                    </a:lnTo>
                    <a:lnTo>
                      <a:pt x="271" y="299"/>
                    </a:lnTo>
                    <a:lnTo>
                      <a:pt x="258" y="278"/>
                    </a:lnTo>
                    <a:lnTo>
                      <a:pt x="246" y="261"/>
                    </a:lnTo>
                    <a:lnTo>
                      <a:pt x="229" y="245"/>
                    </a:lnTo>
                    <a:lnTo>
                      <a:pt x="217" y="241"/>
                    </a:lnTo>
                    <a:lnTo>
                      <a:pt x="200" y="227"/>
                    </a:lnTo>
                    <a:lnTo>
                      <a:pt x="208" y="221"/>
                    </a:lnTo>
                    <a:lnTo>
                      <a:pt x="220" y="215"/>
                    </a:lnTo>
                    <a:lnTo>
                      <a:pt x="231" y="210"/>
                    </a:lnTo>
                    <a:lnTo>
                      <a:pt x="252" y="223"/>
                    </a:lnTo>
                    <a:lnTo>
                      <a:pt x="260" y="235"/>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84" name="Freeform 22"/>
              <p:cNvSpPr>
                <a:spLocks noChangeAspect="1"/>
              </p:cNvSpPr>
              <p:nvPr/>
            </p:nvSpPr>
            <p:spPr bwMode="auto">
              <a:xfrm>
                <a:off x="2700473" y="3211171"/>
                <a:ext cx="363426" cy="425233"/>
              </a:xfrm>
              <a:custGeom>
                <a:avLst/>
                <a:gdLst>
                  <a:gd name="T0" fmla="*/ 214 w 247"/>
                  <a:gd name="T1" fmla="*/ 299 h 289"/>
                  <a:gd name="T2" fmla="*/ 143 w 247"/>
                  <a:gd name="T3" fmla="*/ 320 h 289"/>
                  <a:gd name="T4" fmla="*/ 70 w 247"/>
                  <a:gd name="T5" fmla="*/ 318 h 289"/>
                  <a:gd name="T6" fmla="*/ 40 w 247"/>
                  <a:gd name="T7" fmla="*/ 326 h 289"/>
                  <a:gd name="T8" fmla="*/ 31 w 247"/>
                  <a:gd name="T9" fmla="*/ 289 h 289"/>
                  <a:gd name="T10" fmla="*/ 0 w 247"/>
                  <a:gd name="T11" fmla="*/ 280 h 289"/>
                  <a:gd name="T12" fmla="*/ 25 w 247"/>
                  <a:gd name="T13" fmla="*/ 262 h 289"/>
                  <a:gd name="T14" fmla="*/ 18 w 247"/>
                  <a:gd name="T15" fmla="*/ 239 h 289"/>
                  <a:gd name="T16" fmla="*/ 45 w 247"/>
                  <a:gd name="T17" fmla="*/ 245 h 289"/>
                  <a:gd name="T18" fmla="*/ 69 w 247"/>
                  <a:gd name="T19" fmla="*/ 233 h 289"/>
                  <a:gd name="T20" fmla="*/ 107 w 247"/>
                  <a:gd name="T21" fmla="*/ 223 h 289"/>
                  <a:gd name="T22" fmla="*/ 82 w 247"/>
                  <a:gd name="T23" fmla="*/ 206 h 289"/>
                  <a:gd name="T24" fmla="*/ 81 w 247"/>
                  <a:gd name="T25" fmla="*/ 186 h 289"/>
                  <a:gd name="T26" fmla="*/ 100 w 247"/>
                  <a:gd name="T27" fmla="*/ 150 h 289"/>
                  <a:gd name="T28" fmla="*/ 83 w 247"/>
                  <a:gd name="T29" fmla="*/ 130 h 289"/>
                  <a:gd name="T30" fmla="*/ 117 w 247"/>
                  <a:gd name="T31" fmla="*/ 93 h 289"/>
                  <a:gd name="T32" fmla="*/ 113 w 247"/>
                  <a:gd name="T33" fmla="*/ 58 h 289"/>
                  <a:gd name="T34" fmla="*/ 138 w 247"/>
                  <a:gd name="T35" fmla="*/ 54 h 289"/>
                  <a:gd name="T36" fmla="*/ 161 w 247"/>
                  <a:gd name="T37" fmla="*/ 67 h 289"/>
                  <a:gd name="T38" fmla="*/ 181 w 247"/>
                  <a:gd name="T39" fmla="*/ 76 h 289"/>
                  <a:gd name="T40" fmla="*/ 214 w 247"/>
                  <a:gd name="T41" fmla="*/ 58 h 289"/>
                  <a:gd name="T42" fmla="*/ 211 w 247"/>
                  <a:gd name="T43" fmla="*/ 24 h 289"/>
                  <a:gd name="T44" fmla="*/ 257 w 247"/>
                  <a:gd name="T45" fmla="*/ 5 h 289"/>
                  <a:gd name="T46" fmla="*/ 279 w 247"/>
                  <a:gd name="T47" fmla="*/ 48 h 289"/>
                  <a:gd name="T48" fmla="*/ 240 w 247"/>
                  <a:gd name="T49" fmla="*/ 70 h 289"/>
                  <a:gd name="T50" fmla="*/ 234 w 247"/>
                  <a:gd name="T51" fmla="*/ 112 h 289"/>
                  <a:gd name="T52" fmla="*/ 259 w 247"/>
                  <a:gd name="T53" fmla="*/ 115 h 289"/>
                  <a:gd name="T54" fmla="*/ 277 w 247"/>
                  <a:gd name="T55" fmla="*/ 120 h 289"/>
                  <a:gd name="T56" fmla="*/ 294 w 247"/>
                  <a:gd name="T57" fmla="*/ 148 h 289"/>
                  <a:gd name="T58" fmla="*/ 290 w 247"/>
                  <a:gd name="T59" fmla="*/ 190 h 289"/>
                  <a:gd name="T60" fmla="*/ 283 w 247"/>
                  <a:gd name="T61" fmla="*/ 233 h 289"/>
                  <a:gd name="T62" fmla="*/ 267 w 247"/>
                  <a:gd name="T63" fmla="*/ 290 h 289"/>
                  <a:gd name="T64" fmla="*/ 249 w 247"/>
                  <a:gd name="T65" fmla="*/ 330 h 2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7"/>
                  <a:gd name="T100" fmla="*/ 0 h 289"/>
                  <a:gd name="T101" fmla="*/ 247 w 247"/>
                  <a:gd name="T102" fmla="*/ 289 h 28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7" h="289">
                    <a:moveTo>
                      <a:pt x="209" y="277"/>
                    </a:moveTo>
                    <a:lnTo>
                      <a:pt x="180" y="251"/>
                    </a:lnTo>
                    <a:lnTo>
                      <a:pt x="153" y="263"/>
                    </a:lnTo>
                    <a:lnTo>
                      <a:pt x="120" y="269"/>
                    </a:lnTo>
                    <a:lnTo>
                      <a:pt x="91" y="268"/>
                    </a:lnTo>
                    <a:lnTo>
                      <a:pt x="59" y="267"/>
                    </a:lnTo>
                    <a:lnTo>
                      <a:pt x="44" y="289"/>
                    </a:lnTo>
                    <a:lnTo>
                      <a:pt x="34" y="274"/>
                    </a:lnTo>
                    <a:lnTo>
                      <a:pt x="35" y="252"/>
                    </a:lnTo>
                    <a:lnTo>
                      <a:pt x="26" y="243"/>
                    </a:lnTo>
                    <a:lnTo>
                      <a:pt x="7" y="247"/>
                    </a:lnTo>
                    <a:lnTo>
                      <a:pt x="0" y="235"/>
                    </a:lnTo>
                    <a:lnTo>
                      <a:pt x="14" y="228"/>
                    </a:lnTo>
                    <a:lnTo>
                      <a:pt x="21" y="220"/>
                    </a:lnTo>
                    <a:lnTo>
                      <a:pt x="10" y="213"/>
                    </a:lnTo>
                    <a:lnTo>
                      <a:pt x="15" y="201"/>
                    </a:lnTo>
                    <a:lnTo>
                      <a:pt x="27" y="202"/>
                    </a:lnTo>
                    <a:lnTo>
                      <a:pt x="38" y="206"/>
                    </a:lnTo>
                    <a:lnTo>
                      <a:pt x="46" y="193"/>
                    </a:lnTo>
                    <a:lnTo>
                      <a:pt x="58" y="196"/>
                    </a:lnTo>
                    <a:lnTo>
                      <a:pt x="74" y="188"/>
                    </a:lnTo>
                    <a:lnTo>
                      <a:pt x="90" y="187"/>
                    </a:lnTo>
                    <a:lnTo>
                      <a:pt x="86" y="165"/>
                    </a:lnTo>
                    <a:lnTo>
                      <a:pt x="69" y="173"/>
                    </a:lnTo>
                    <a:lnTo>
                      <a:pt x="58" y="169"/>
                    </a:lnTo>
                    <a:lnTo>
                      <a:pt x="68" y="156"/>
                    </a:lnTo>
                    <a:lnTo>
                      <a:pt x="86" y="143"/>
                    </a:lnTo>
                    <a:lnTo>
                      <a:pt x="84" y="126"/>
                    </a:lnTo>
                    <a:lnTo>
                      <a:pt x="70" y="125"/>
                    </a:lnTo>
                    <a:lnTo>
                      <a:pt x="70" y="109"/>
                    </a:lnTo>
                    <a:lnTo>
                      <a:pt x="89" y="93"/>
                    </a:lnTo>
                    <a:lnTo>
                      <a:pt x="98" y="78"/>
                    </a:lnTo>
                    <a:lnTo>
                      <a:pt x="91" y="65"/>
                    </a:lnTo>
                    <a:lnTo>
                      <a:pt x="95" y="49"/>
                    </a:lnTo>
                    <a:lnTo>
                      <a:pt x="103" y="37"/>
                    </a:lnTo>
                    <a:lnTo>
                      <a:pt x="116" y="45"/>
                    </a:lnTo>
                    <a:lnTo>
                      <a:pt x="123" y="55"/>
                    </a:lnTo>
                    <a:lnTo>
                      <a:pt x="135" y="56"/>
                    </a:lnTo>
                    <a:lnTo>
                      <a:pt x="144" y="59"/>
                    </a:lnTo>
                    <a:lnTo>
                      <a:pt x="152" y="64"/>
                    </a:lnTo>
                    <a:lnTo>
                      <a:pt x="166" y="56"/>
                    </a:lnTo>
                    <a:lnTo>
                      <a:pt x="180" y="49"/>
                    </a:lnTo>
                    <a:lnTo>
                      <a:pt x="163" y="39"/>
                    </a:lnTo>
                    <a:lnTo>
                      <a:pt x="177" y="20"/>
                    </a:lnTo>
                    <a:lnTo>
                      <a:pt x="198" y="0"/>
                    </a:lnTo>
                    <a:lnTo>
                      <a:pt x="216" y="4"/>
                    </a:lnTo>
                    <a:lnTo>
                      <a:pt x="226" y="13"/>
                    </a:lnTo>
                    <a:lnTo>
                      <a:pt x="234" y="40"/>
                    </a:lnTo>
                    <a:lnTo>
                      <a:pt x="218" y="51"/>
                    </a:lnTo>
                    <a:lnTo>
                      <a:pt x="202" y="59"/>
                    </a:lnTo>
                    <a:lnTo>
                      <a:pt x="198" y="68"/>
                    </a:lnTo>
                    <a:lnTo>
                      <a:pt x="197" y="94"/>
                    </a:lnTo>
                    <a:lnTo>
                      <a:pt x="206" y="112"/>
                    </a:lnTo>
                    <a:lnTo>
                      <a:pt x="218" y="97"/>
                    </a:lnTo>
                    <a:lnTo>
                      <a:pt x="223" y="92"/>
                    </a:lnTo>
                    <a:lnTo>
                      <a:pt x="233" y="101"/>
                    </a:lnTo>
                    <a:lnTo>
                      <a:pt x="240" y="108"/>
                    </a:lnTo>
                    <a:lnTo>
                      <a:pt x="247" y="124"/>
                    </a:lnTo>
                    <a:lnTo>
                      <a:pt x="245" y="145"/>
                    </a:lnTo>
                    <a:lnTo>
                      <a:pt x="244" y="160"/>
                    </a:lnTo>
                    <a:lnTo>
                      <a:pt x="241" y="180"/>
                    </a:lnTo>
                    <a:lnTo>
                      <a:pt x="238" y="196"/>
                    </a:lnTo>
                    <a:lnTo>
                      <a:pt x="226" y="226"/>
                    </a:lnTo>
                    <a:lnTo>
                      <a:pt x="224" y="244"/>
                    </a:lnTo>
                    <a:lnTo>
                      <a:pt x="213" y="260"/>
                    </a:lnTo>
                    <a:lnTo>
                      <a:pt x="209" y="277"/>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85" name="Freeform 23"/>
              <p:cNvSpPr>
                <a:spLocks noChangeAspect="1"/>
              </p:cNvSpPr>
              <p:nvPr/>
            </p:nvSpPr>
            <p:spPr bwMode="auto">
              <a:xfrm>
                <a:off x="2665861" y="1539905"/>
                <a:ext cx="550084" cy="469735"/>
              </a:xfrm>
              <a:custGeom>
                <a:avLst/>
                <a:gdLst>
                  <a:gd name="T0" fmla="*/ 373 w 375"/>
                  <a:gd name="T1" fmla="*/ 342 h 319"/>
                  <a:gd name="T2" fmla="*/ 412 w 375"/>
                  <a:gd name="T3" fmla="*/ 345 h 319"/>
                  <a:gd name="T4" fmla="*/ 422 w 375"/>
                  <a:gd name="T5" fmla="*/ 294 h 319"/>
                  <a:gd name="T6" fmla="*/ 445 w 375"/>
                  <a:gd name="T7" fmla="*/ 250 h 319"/>
                  <a:gd name="T8" fmla="*/ 413 w 375"/>
                  <a:gd name="T9" fmla="*/ 231 h 319"/>
                  <a:gd name="T10" fmla="*/ 414 w 375"/>
                  <a:gd name="T11" fmla="*/ 203 h 319"/>
                  <a:gd name="T12" fmla="*/ 441 w 375"/>
                  <a:gd name="T13" fmla="*/ 192 h 319"/>
                  <a:gd name="T14" fmla="*/ 412 w 375"/>
                  <a:gd name="T15" fmla="*/ 173 h 319"/>
                  <a:gd name="T16" fmla="*/ 390 w 375"/>
                  <a:gd name="T17" fmla="*/ 139 h 319"/>
                  <a:gd name="T18" fmla="*/ 374 w 375"/>
                  <a:gd name="T19" fmla="*/ 168 h 319"/>
                  <a:gd name="T20" fmla="*/ 354 w 375"/>
                  <a:gd name="T21" fmla="*/ 148 h 319"/>
                  <a:gd name="T22" fmla="*/ 328 w 375"/>
                  <a:gd name="T23" fmla="*/ 155 h 319"/>
                  <a:gd name="T24" fmla="*/ 311 w 375"/>
                  <a:gd name="T25" fmla="*/ 136 h 319"/>
                  <a:gd name="T26" fmla="*/ 291 w 375"/>
                  <a:gd name="T27" fmla="*/ 147 h 319"/>
                  <a:gd name="T28" fmla="*/ 271 w 375"/>
                  <a:gd name="T29" fmla="*/ 114 h 319"/>
                  <a:gd name="T30" fmla="*/ 248 w 375"/>
                  <a:gd name="T31" fmla="*/ 132 h 319"/>
                  <a:gd name="T32" fmla="*/ 230 w 375"/>
                  <a:gd name="T33" fmla="*/ 93 h 319"/>
                  <a:gd name="T34" fmla="*/ 210 w 375"/>
                  <a:gd name="T35" fmla="*/ 122 h 319"/>
                  <a:gd name="T36" fmla="*/ 174 w 375"/>
                  <a:gd name="T37" fmla="*/ 132 h 319"/>
                  <a:gd name="T38" fmla="*/ 153 w 375"/>
                  <a:gd name="T39" fmla="*/ 105 h 319"/>
                  <a:gd name="T40" fmla="*/ 186 w 375"/>
                  <a:gd name="T41" fmla="*/ 60 h 319"/>
                  <a:gd name="T42" fmla="*/ 167 w 375"/>
                  <a:gd name="T43" fmla="*/ 2 h 319"/>
                  <a:gd name="T44" fmla="*/ 141 w 375"/>
                  <a:gd name="T45" fmla="*/ 27 h 319"/>
                  <a:gd name="T46" fmla="*/ 128 w 375"/>
                  <a:gd name="T47" fmla="*/ 33 h 319"/>
                  <a:gd name="T48" fmla="*/ 107 w 375"/>
                  <a:gd name="T49" fmla="*/ 30 h 319"/>
                  <a:gd name="T50" fmla="*/ 72 w 375"/>
                  <a:gd name="T51" fmla="*/ 41 h 319"/>
                  <a:gd name="T52" fmla="*/ 74 w 375"/>
                  <a:gd name="T53" fmla="*/ 61 h 319"/>
                  <a:gd name="T54" fmla="*/ 120 w 375"/>
                  <a:gd name="T55" fmla="*/ 86 h 319"/>
                  <a:gd name="T56" fmla="*/ 104 w 375"/>
                  <a:gd name="T57" fmla="*/ 106 h 319"/>
                  <a:gd name="T58" fmla="*/ 106 w 375"/>
                  <a:gd name="T59" fmla="*/ 139 h 319"/>
                  <a:gd name="T60" fmla="*/ 75 w 375"/>
                  <a:gd name="T61" fmla="*/ 125 h 319"/>
                  <a:gd name="T62" fmla="*/ 20 w 375"/>
                  <a:gd name="T63" fmla="*/ 141 h 319"/>
                  <a:gd name="T64" fmla="*/ 70 w 375"/>
                  <a:gd name="T65" fmla="*/ 149 h 319"/>
                  <a:gd name="T66" fmla="*/ 63 w 375"/>
                  <a:gd name="T67" fmla="*/ 191 h 319"/>
                  <a:gd name="T68" fmla="*/ 34 w 375"/>
                  <a:gd name="T69" fmla="*/ 203 h 319"/>
                  <a:gd name="T70" fmla="*/ 0 w 375"/>
                  <a:gd name="T71" fmla="*/ 223 h 319"/>
                  <a:gd name="T72" fmla="*/ 26 w 375"/>
                  <a:gd name="T73" fmla="*/ 242 h 319"/>
                  <a:gd name="T74" fmla="*/ 71 w 375"/>
                  <a:gd name="T75" fmla="*/ 288 h 319"/>
                  <a:gd name="T76" fmla="*/ 107 w 375"/>
                  <a:gd name="T77" fmla="*/ 348 h 319"/>
                  <a:gd name="T78" fmla="*/ 199 w 375"/>
                  <a:gd name="T79" fmla="*/ 363 h 319"/>
                  <a:gd name="T80" fmla="*/ 259 w 375"/>
                  <a:gd name="T81" fmla="*/ 362 h 319"/>
                  <a:gd name="T82" fmla="*/ 322 w 375"/>
                  <a:gd name="T83" fmla="*/ 380 h 3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75"/>
                  <a:gd name="T127" fmla="*/ 0 h 319"/>
                  <a:gd name="T128" fmla="*/ 375 w 375"/>
                  <a:gd name="T129" fmla="*/ 319 h 3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75" h="319">
                    <a:moveTo>
                      <a:pt x="271" y="319"/>
                    </a:moveTo>
                    <a:lnTo>
                      <a:pt x="314" y="287"/>
                    </a:lnTo>
                    <a:lnTo>
                      <a:pt x="332" y="281"/>
                    </a:lnTo>
                    <a:lnTo>
                      <a:pt x="347" y="290"/>
                    </a:lnTo>
                    <a:lnTo>
                      <a:pt x="356" y="273"/>
                    </a:lnTo>
                    <a:lnTo>
                      <a:pt x="356" y="247"/>
                    </a:lnTo>
                    <a:lnTo>
                      <a:pt x="368" y="241"/>
                    </a:lnTo>
                    <a:lnTo>
                      <a:pt x="375" y="210"/>
                    </a:lnTo>
                    <a:lnTo>
                      <a:pt x="354" y="211"/>
                    </a:lnTo>
                    <a:lnTo>
                      <a:pt x="348" y="194"/>
                    </a:lnTo>
                    <a:lnTo>
                      <a:pt x="358" y="186"/>
                    </a:lnTo>
                    <a:lnTo>
                      <a:pt x="349" y="170"/>
                    </a:lnTo>
                    <a:lnTo>
                      <a:pt x="362" y="166"/>
                    </a:lnTo>
                    <a:lnTo>
                      <a:pt x="372" y="161"/>
                    </a:lnTo>
                    <a:lnTo>
                      <a:pt x="363" y="141"/>
                    </a:lnTo>
                    <a:lnTo>
                      <a:pt x="347" y="145"/>
                    </a:lnTo>
                    <a:lnTo>
                      <a:pt x="346" y="116"/>
                    </a:lnTo>
                    <a:lnTo>
                      <a:pt x="329" y="117"/>
                    </a:lnTo>
                    <a:lnTo>
                      <a:pt x="322" y="128"/>
                    </a:lnTo>
                    <a:lnTo>
                      <a:pt x="315" y="141"/>
                    </a:lnTo>
                    <a:lnTo>
                      <a:pt x="302" y="136"/>
                    </a:lnTo>
                    <a:lnTo>
                      <a:pt x="298" y="124"/>
                    </a:lnTo>
                    <a:lnTo>
                      <a:pt x="281" y="129"/>
                    </a:lnTo>
                    <a:lnTo>
                      <a:pt x="276" y="130"/>
                    </a:lnTo>
                    <a:lnTo>
                      <a:pt x="269" y="118"/>
                    </a:lnTo>
                    <a:lnTo>
                      <a:pt x="262" y="114"/>
                    </a:lnTo>
                    <a:lnTo>
                      <a:pt x="251" y="117"/>
                    </a:lnTo>
                    <a:lnTo>
                      <a:pt x="245" y="123"/>
                    </a:lnTo>
                    <a:lnTo>
                      <a:pt x="243" y="109"/>
                    </a:lnTo>
                    <a:lnTo>
                      <a:pt x="228" y="96"/>
                    </a:lnTo>
                    <a:lnTo>
                      <a:pt x="215" y="102"/>
                    </a:lnTo>
                    <a:lnTo>
                      <a:pt x="209" y="111"/>
                    </a:lnTo>
                    <a:lnTo>
                      <a:pt x="200" y="88"/>
                    </a:lnTo>
                    <a:lnTo>
                      <a:pt x="194" y="78"/>
                    </a:lnTo>
                    <a:lnTo>
                      <a:pt x="184" y="85"/>
                    </a:lnTo>
                    <a:lnTo>
                      <a:pt x="177" y="102"/>
                    </a:lnTo>
                    <a:lnTo>
                      <a:pt x="161" y="106"/>
                    </a:lnTo>
                    <a:lnTo>
                      <a:pt x="147" y="111"/>
                    </a:lnTo>
                    <a:lnTo>
                      <a:pt x="133" y="108"/>
                    </a:lnTo>
                    <a:lnTo>
                      <a:pt x="129" y="88"/>
                    </a:lnTo>
                    <a:lnTo>
                      <a:pt x="147" y="70"/>
                    </a:lnTo>
                    <a:lnTo>
                      <a:pt x="157" y="50"/>
                    </a:lnTo>
                    <a:lnTo>
                      <a:pt x="150" y="28"/>
                    </a:lnTo>
                    <a:lnTo>
                      <a:pt x="141" y="2"/>
                    </a:lnTo>
                    <a:lnTo>
                      <a:pt x="130" y="0"/>
                    </a:lnTo>
                    <a:lnTo>
                      <a:pt x="119" y="23"/>
                    </a:lnTo>
                    <a:lnTo>
                      <a:pt x="115" y="42"/>
                    </a:lnTo>
                    <a:lnTo>
                      <a:pt x="108" y="28"/>
                    </a:lnTo>
                    <a:lnTo>
                      <a:pt x="101" y="17"/>
                    </a:lnTo>
                    <a:lnTo>
                      <a:pt x="90" y="25"/>
                    </a:lnTo>
                    <a:lnTo>
                      <a:pt x="79" y="35"/>
                    </a:lnTo>
                    <a:lnTo>
                      <a:pt x="61" y="34"/>
                    </a:lnTo>
                    <a:lnTo>
                      <a:pt x="46" y="45"/>
                    </a:lnTo>
                    <a:lnTo>
                      <a:pt x="62" y="51"/>
                    </a:lnTo>
                    <a:lnTo>
                      <a:pt x="80" y="58"/>
                    </a:lnTo>
                    <a:lnTo>
                      <a:pt x="101" y="72"/>
                    </a:lnTo>
                    <a:lnTo>
                      <a:pt x="96" y="93"/>
                    </a:lnTo>
                    <a:lnTo>
                      <a:pt x="88" y="89"/>
                    </a:lnTo>
                    <a:lnTo>
                      <a:pt x="84" y="107"/>
                    </a:lnTo>
                    <a:lnTo>
                      <a:pt x="89" y="117"/>
                    </a:lnTo>
                    <a:lnTo>
                      <a:pt x="76" y="119"/>
                    </a:lnTo>
                    <a:lnTo>
                      <a:pt x="63" y="105"/>
                    </a:lnTo>
                    <a:lnTo>
                      <a:pt x="30" y="93"/>
                    </a:lnTo>
                    <a:lnTo>
                      <a:pt x="17" y="118"/>
                    </a:lnTo>
                    <a:lnTo>
                      <a:pt x="40" y="120"/>
                    </a:lnTo>
                    <a:lnTo>
                      <a:pt x="59" y="125"/>
                    </a:lnTo>
                    <a:lnTo>
                      <a:pt x="60" y="138"/>
                    </a:lnTo>
                    <a:lnTo>
                      <a:pt x="53" y="160"/>
                    </a:lnTo>
                    <a:lnTo>
                      <a:pt x="47" y="172"/>
                    </a:lnTo>
                    <a:lnTo>
                      <a:pt x="29" y="170"/>
                    </a:lnTo>
                    <a:lnTo>
                      <a:pt x="13" y="160"/>
                    </a:lnTo>
                    <a:lnTo>
                      <a:pt x="0" y="187"/>
                    </a:lnTo>
                    <a:lnTo>
                      <a:pt x="2" y="200"/>
                    </a:lnTo>
                    <a:lnTo>
                      <a:pt x="22" y="203"/>
                    </a:lnTo>
                    <a:lnTo>
                      <a:pt x="46" y="216"/>
                    </a:lnTo>
                    <a:lnTo>
                      <a:pt x="60" y="242"/>
                    </a:lnTo>
                    <a:lnTo>
                      <a:pt x="72" y="268"/>
                    </a:lnTo>
                    <a:lnTo>
                      <a:pt x="90" y="292"/>
                    </a:lnTo>
                    <a:lnTo>
                      <a:pt x="130" y="300"/>
                    </a:lnTo>
                    <a:lnTo>
                      <a:pt x="168" y="305"/>
                    </a:lnTo>
                    <a:lnTo>
                      <a:pt x="195" y="310"/>
                    </a:lnTo>
                    <a:lnTo>
                      <a:pt x="218" y="304"/>
                    </a:lnTo>
                    <a:lnTo>
                      <a:pt x="249" y="310"/>
                    </a:lnTo>
                    <a:lnTo>
                      <a:pt x="271" y="319"/>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86" name="Freeform 24"/>
              <p:cNvSpPr>
                <a:spLocks noChangeAspect="1" noEditPoints="1"/>
              </p:cNvSpPr>
              <p:nvPr/>
            </p:nvSpPr>
            <p:spPr bwMode="auto">
              <a:xfrm>
                <a:off x="3803114" y="4484399"/>
                <a:ext cx="950595" cy="1210185"/>
              </a:xfrm>
              <a:custGeom>
                <a:avLst/>
                <a:gdLst>
                  <a:gd name="T0" fmla="*/ 385 w 647"/>
                  <a:gd name="T1" fmla="*/ 159 h 824"/>
                  <a:gd name="T2" fmla="*/ 383 w 647"/>
                  <a:gd name="T3" fmla="*/ 274 h 824"/>
                  <a:gd name="T4" fmla="*/ 461 w 647"/>
                  <a:gd name="T5" fmla="*/ 361 h 824"/>
                  <a:gd name="T6" fmla="*/ 614 w 647"/>
                  <a:gd name="T7" fmla="*/ 491 h 824"/>
                  <a:gd name="T8" fmla="*/ 664 w 647"/>
                  <a:gd name="T9" fmla="*/ 571 h 824"/>
                  <a:gd name="T10" fmla="*/ 769 w 647"/>
                  <a:gd name="T11" fmla="*/ 694 h 824"/>
                  <a:gd name="T12" fmla="*/ 685 w 647"/>
                  <a:gd name="T13" fmla="*/ 619 h 824"/>
                  <a:gd name="T14" fmla="*/ 663 w 647"/>
                  <a:gd name="T15" fmla="*/ 719 h 824"/>
                  <a:gd name="T16" fmla="*/ 600 w 647"/>
                  <a:gd name="T17" fmla="*/ 830 h 824"/>
                  <a:gd name="T18" fmla="*/ 597 w 647"/>
                  <a:gd name="T19" fmla="*/ 797 h 824"/>
                  <a:gd name="T20" fmla="*/ 542 w 647"/>
                  <a:gd name="T21" fmla="*/ 684 h 824"/>
                  <a:gd name="T22" fmla="*/ 502 w 647"/>
                  <a:gd name="T23" fmla="*/ 602 h 824"/>
                  <a:gd name="T24" fmla="*/ 464 w 647"/>
                  <a:gd name="T25" fmla="*/ 557 h 824"/>
                  <a:gd name="T26" fmla="*/ 321 w 647"/>
                  <a:gd name="T27" fmla="*/ 461 h 824"/>
                  <a:gd name="T28" fmla="*/ 267 w 647"/>
                  <a:gd name="T29" fmla="*/ 386 h 824"/>
                  <a:gd name="T30" fmla="*/ 228 w 647"/>
                  <a:gd name="T31" fmla="*/ 305 h 824"/>
                  <a:gd name="T32" fmla="*/ 145 w 647"/>
                  <a:gd name="T33" fmla="*/ 220 h 824"/>
                  <a:gd name="T34" fmla="*/ 56 w 647"/>
                  <a:gd name="T35" fmla="*/ 267 h 824"/>
                  <a:gd name="T36" fmla="*/ 11 w 647"/>
                  <a:gd name="T37" fmla="*/ 234 h 824"/>
                  <a:gd name="T38" fmla="*/ 0 w 647"/>
                  <a:gd name="T39" fmla="*/ 160 h 824"/>
                  <a:gd name="T40" fmla="*/ 34 w 647"/>
                  <a:gd name="T41" fmla="*/ 109 h 824"/>
                  <a:gd name="T42" fmla="*/ 65 w 647"/>
                  <a:gd name="T43" fmla="*/ 80 h 824"/>
                  <a:gd name="T44" fmla="*/ 108 w 647"/>
                  <a:gd name="T45" fmla="*/ 61 h 824"/>
                  <a:gd name="T46" fmla="*/ 151 w 647"/>
                  <a:gd name="T47" fmla="*/ 77 h 824"/>
                  <a:gd name="T48" fmla="*/ 188 w 647"/>
                  <a:gd name="T49" fmla="*/ 61 h 824"/>
                  <a:gd name="T50" fmla="*/ 225 w 647"/>
                  <a:gd name="T51" fmla="*/ 58 h 824"/>
                  <a:gd name="T52" fmla="*/ 247 w 647"/>
                  <a:gd name="T53" fmla="*/ 53 h 824"/>
                  <a:gd name="T54" fmla="*/ 279 w 647"/>
                  <a:gd name="T55" fmla="*/ 31 h 824"/>
                  <a:gd name="T56" fmla="*/ 329 w 647"/>
                  <a:gd name="T57" fmla="*/ 23 h 824"/>
                  <a:gd name="T58" fmla="*/ 387 w 647"/>
                  <a:gd name="T59" fmla="*/ 26 h 824"/>
                  <a:gd name="T60" fmla="*/ 453 w 647"/>
                  <a:gd name="T61" fmla="*/ 46 h 824"/>
                  <a:gd name="T62" fmla="*/ 471 w 647"/>
                  <a:gd name="T63" fmla="*/ 86 h 824"/>
                  <a:gd name="T64" fmla="*/ 466 w 647"/>
                  <a:gd name="T65" fmla="*/ 132 h 824"/>
                  <a:gd name="T66" fmla="*/ 134 w 647"/>
                  <a:gd name="T67" fmla="*/ 626 h 824"/>
                  <a:gd name="T68" fmla="*/ 139 w 647"/>
                  <a:gd name="T69" fmla="*/ 511 h 824"/>
                  <a:gd name="T70" fmla="*/ 86 w 647"/>
                  <a:gd name="T71" fmla="*/ 550 h 824"/>
                  <a:gd name="T72" fmla="*/ 32 w 647"/>
                  <a:gd name="T73" fmla="*/ 563 h 824"/>
                  <a:gd name="T74" fmla="*/ 50 w 647"/>
                  <a:gd name="T75" fmla="*/ 646 h 824"/>
                  <a:gd name="T76" fmla="*/ 49 w 647"/>
                  <a:gd name="T77" fmla="*/ 720 h 824"/>
                  <a:gd name="T78" fmla="*/ 99 w 647"/>
                  <a:gd name="T79" fmla="*/ 705 h 824"/>
                  <a:gd name="T80" fmla="*/ 439 w 647"/>
                  <a:gd name="T81" fmla="*/ 863 h 824"/>
                  <a:gd name="T82" fmla="*/ 390 w 647"/>
                  <a:gd name="T83" fmla="*/ 839 h 824"/>
                  <a:gd name="T84" fmla="*/ 345 w 647"/>
                  <a:gd name="T85" fmla="*/ 830 h 824"/>
                  <a:gd name="T86" fmla="*/ 355 w 647"/>
                  <a:gd name="T87" fmla="*/ 876 h 824"/>
                  <a:gd name="T88" fmla="*/ 434 w 647"/>
                  <a:gd name="T89" fmla="*/ 928 h 824"/>
                  <a:gd name="T90" fmla="*/ 519 w 647"/>
                  <a:gd name="T91" fmla="*/ 965 h 824"/>
                  <a:gd name="T92" fmla="*/ 531 w 647"/>
                  <a:gd name="T93" fmla="*/ 872 h 824"/>
                  <a:gd name="T94" fmla="*/ 504 w 647"/>
                  <a:gd name="T95" fmla="*/ 857 h 8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7"/>
                  <a:gd name="T145" fmla="*/ 0 h 824"/>
                  <a:gd name="T146" fmla="*/ 647 w 647"/>
                  <a:gd name="T147" fmla="*/ 824 h 8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7" h="824">
                    <a:moveTo>
                      <a:pt x="392" y="111"/>
                    </a:moveTo>
                    <a:lnTo>
                      <a:pt x="364" y="111"/>
                    </a:lnTo>
                    <a:lnTo>
                      <a:pt x="343" y="125"/>
                    </a:lnTo>
                    <a:lnTo>
                      <a:pt x="324" y="134"/>
                    </a:lnTo>
                    <a:lnTo>
                      <a:pt x="328" y="152"/>
                    </a:lnTo>
                    <a:lnTo>
                      <a:pt x="334" y="164"/>
                    </a:lnTo>
                    <a:lnTo>
                      <a:pt x="320" y="180"/>
                    </a:lnTo>
                    <a:lnTo>
                      <a:pt x="322" y="231"/>
                    </a:lnTo>
                    <a:lnTo>
                      <a:pt x="372" y="259"/>
                    </a:lnTo>
                    <a:lnTo>
                      <a:pt x="345" y="275"/>
                    </a:lnTo>
                    <a:lnTo>
                      <a:pt x="355" y="301"/>
                    </a:lnTo>
                    <a:lnTo>
                      <a:pt x="388" y="304"/>
                    </a:lnTo>
                    <a:lnTo>
                      <a:pt x="405" y="339"/>
                    </a:lnTo>
                    <a:lnTo>
                      <a:pt x="425" y="377"/>
                    </a:lnTo>
                    <a:lnTo>
                      <a:pt x="463" y="413"/>
                    </a:lnTo>
                    <a:lnTo>
                      <a:pt x="517" y="413"/>
                    </a:lnTo>
                    <a:lnTo>
                      <a:pt x="531" y="423"/>
                    </a:lnTo>
                    <a:lnTo>
                      <a:pt x="505" y="444"/>
                    </a:lnTo>
                    <a:lnTo>
                      <a:pt x="526" y="469"/>
                    </a:lnTo>
                    <a:lnTo>
                      <a:pt x="559" y="481"/>
                    </a:lnTo>
                    <a:lnTo>
                      <a:pt x="593" y="498"/>
                    </a:lnTo>
                    <a:lnTo>
                      <a:pt x="627" y="521"/>
                    </a:lnTo>
                    <a:lnTo>
                      <a:pt x="644" y="530"/>
                    </a:lnTo>
                    <a:lnTo>
                      <a:pt x="647" y="584"/>
                    </a:lnTo>
                    <a:lnTo>
                      <a:pt x="620" y="582"/>
                    </a:lnTo>
                    <a:lnTo>
                      <a:pt x="612" y="557"/>
                    </a:lnTo>
                    <a:lnTo>
                      <a:pt x="592" y="550"/>
                    </a:lnTo>
                    <a:lnTo>
                      <a:pt x="576" y="521"/>
                    </a:lnTo>
                    <a:lnTo>
                      <a:pt x="545" y="553"/>
                    </a:lnTo>
                    <a:lnTo>
                      <a:pt x="533" y="570"/>
                    </a:lnTo>
                    <a:lnTo>
                      <a:pt x="525" y="586"/>
                    </a:lnTo>
                    <a:lnTo>
                      <a:pt x="558" y="605"/>
                    </a:lnTo>
                    <a:lnTo>
                      <a:pt x="570" y="646"/>
                    </a:lnTo>
                    <a:lnTo>
                      <a:pt x="531" y="661"/>
                    </a:lnTo>
                    <a:lnTo>
                      <a:pt x="519" y="695"/>
                    </a:lnTo>
                    <a:lnTo>
                      <a:pt x="505" y="699"/>
                    </a:lnTo>
                    <a:lnTo>
                      <a:pt x="479" y="733"/>
                    </a:lnTo>
                    <a:lnTo>
                      <a:pt x="473" y="697"/>
                    </a:lnTo>
                    <a:lnTo>
                      <a:pt x="485" y="678"/>
                    </a:lnTo>
                    <a:lnTo>
                      <a:pt x="502" y="671"/>
                    </a:lnTo>
                    <a:lnTo>
                      <a:pt x="503" y="636"/>
                    </a:lnTo>
                    <a:lnTo>
                      <a:pt x="497" y="601"/>
                    </a:lnTo>
                    <a:lnTo>
                      <a:pt x="482" y="574"/>
                    </a:lnTo>
                    <a:lnTo>
                      <a:pt x="456" y="576"/>
                    </a:lnTo>
                    <a:lnTo>
                      <a:pt x="434" y="560"/>
                    </a:lnTo>
                    <a:lnTo>
                      <a:pt x="445" y="531"/>
                    </a:lnTo>
                    <a:lnTo>
                      <a:pt x="437" y="514"/>
                    </a:lnTo>
                    <a:lnTo>
                      <a:pt x="422" y="507"/>
                    </a:lnTo>
                    <a:lnTo>
                      <a:pt x="410" y="507"/>
                    </a:lnTo>
                    <a:lnTo>
                      <a:pt x="401" y="496"/>
                    </a:lnTo>
                    <a:lnTo>
                      <a:pt x="384" y="488"/>
                    </a:lnTo>
                    <a:lnTo>
                      <a:pt x="390" y="469"/>
                    </a:lnTo>
                    <a:lnTo>
                      <a:pt x="367" y="466"/>
                    </a:lnTo>
                    <a:lnTo>
                      <a:pt x="336" y="461"/>
                    </a:lnTo>
                    <a:lnTo>
                      <a:pt x="293" y="410"/>
                    </a:lnTo>
                    <a:lnTo>
                      <a:pt x="270" y="388"/>
                    </a:lnTo>
                    <a:lnTo>
                      <a:pt x="259" y="375"/>
                    </a:lnTo>
                    <a:lnTo>
                      <a:pt x="230" y="368"/>
                    </a:lnTo>
                    <a:lnTo>
                      <a:pt x="240" y="352"/>
                    </a:lnTo>
                    <a:lnTo>
                      <a:pt x="225" y="325"/>
                    </a:lnTo>
                    <a:lnTo>
                      <a:pt x="208" y="317"/>
                    </a:lnTo>
                    <a:lnTo>
                      <a:pt x="192" y="320"/>
                    </a:lnTo>
                    <a:lnTo>
                      <a:pt x="194" y="300"/>
                    </a:lnTo>
                    <a:lnTo>
                      <a:pt x="192" y="257"/>
                    </a:lnTo>
                    <a:lnTo>
                      <a:pt x="185" y="229"/>
                    </a:lnTo>
                    <a:lnTo>
                      <a:pt x="174" y="228"/>
                    </a:lnTo>
                    <a:lnTo>
                      <a:pt x="153" y="210"/>
                    </a:lnTo>
                    <a:lnTo>
                      <a:pt x="122" y="185"/>
                    </a:lnTo>
                    <a:lnTo>
                      <a:pt x="105" y="200"/>
                    </a:lnTo>
                    <a:lnTo>
                      <a:pt x="81" y="216"/>
                    </a:lnTo>
                    <a:lnTo>
                      <a:pt x="67" y="232"/>
                    </a:lnTo>
                    <a:lnTo>
                      <a:pt x="47" y="225"/>
                    </a:lnTo>
                    <a:lnTo>
                      <a:pt x="48" y="212"/>
                    </a:lnTo>
                    <a:lnTo>
                      <a:pt x="33" y="208"/>
                    </a:lnTo>
                    <a:lnTo>
                      <a:pt x="20" y="207"/>
                    </a:lnTo>
                    <a:lnTo>
                      <a:pt x="9" y="197"/>
                    </a:lnTo>
                    <a:lnTo>
                      <a:pt x="14" y="171"/>
                    </a:lnTo>
                    <a:lnTo>
                      <a:pt x="14" y="157"/>
                    </a:lnTo>
                    <a:lnTo>
                      <a:pt x="7" y="143"/>
                    </a:lnTo>
                    <a:lnTo>
                      <a:pt x="0" y="135"/>
                    </a:lnTo>
                    <a:lnTo>
                      <a:pt x="10" y="127"/>
                    </a:lnTo>
                    <a:lnTo>
                      <a:pt x="20" y="113"/>
                    </a:lnTo>
                    <a:lnTo>
                      <a:pt x="30" y="111"/>
                    </a:lnTo>
                    <a:lnTo>
                      <a:pt x="29" y="92"/>
                    </a:lnTo>
                    <a:lnTo>
                      <a:pt x="26" y="80"/>
                    </a:lnTo>
                    <a:lnTo>
                      <a:pt x="24" y="63"/>
                    </a:lnTo>
                    <a:lnTo>
                      <a:pt x="38" y="62"/>
                    </a:lnTo>
                    <a:lnTo>
                      <a:pt x="55" y="67"/>
                    </a:lnTo>
                    <a:lnTo>
                      <a:pt x="65" y="66"/>
                    </a:lnTo>
                    <a:lnTo>
                      <a:pt x="73" y="63"/>
                    </a:lnTo>
                    <a:lnTo>
                      <a:pt x="84" y="63"/>
                    </a:lnTo>
                    <a:lnTo>
                      <a:pt x="91" y="51"/>
                    </a:lnTo>
                    <a:lnTo>
                      <a:pt x="100" y="39"/>
                    </a:lnTo>
                    <a:lnTo>
                      <a:pt x="106" y="46"/>
                    </a:lnTo>
                    <a:lnTo>
                      <a:pt x="117" y="53"/>
                    </a:lnTo>
                    <a:lnTo>
                      <a:pt x="127" y="65"/>
                    </a:lnTo>
                    <a:lnTo>
                      <a:pt x="137" y="77"/>
                    </a:lnTo>
                    <a:lnTo>
                      <a:pt x="151" y="69"/>
                    </a:lnTo>
                    <a:lnTo>
                      <a:pt x="156" y="60"/>
                    </a:lnTo>
                    <a:lnTo>
                      <a:pt x="158" y="51"/>
                    </a:lnTo>
                    <a:lnTo>
                      <a:pt x="158" y="43"/>
                    </a:lnTo>
                    <a:lnTo>
                      <a:pt x="165" y="40"/>
                    </a:lnTo>
                    <a:lnTo>
                      <a:pt x="179" y="44"/>
                    </a:lnTo>
                    <a:lnTo>
                      <a:pt x="189" y="49"/>
                    </a:lnTo>
                    <a:lnTo>
                      <a:pt x="197" y="55"/>
                    </a:lnTo>
                    <a:lnTo>
                      <a:pt x="202" y="60"/>
                    </a:lnTo>
                    <a:lnTo>
                      <a:pt x="211" y="53"/>
                    </a:lnTo>
                    <a:lnTo>
                      <a:pt x="208" y="45"/>
                    </a:lnTo>
                    <a:lnTo>
                      <a:pt x="209" y="39"/>
                    </a:lnTo>
                    <a:lnTo>
                      <a:pt x="221" y="39"/>
                    </a:lnTo>
                    <a:lnTo>
                      <a:pt x="228" y="31"/>
                    </a:lnTo>
                    <a:lnTo>
                      <a:pt x="235" y="26"/>
                    </a:lnTo>
                    <a:lnTo>
                      <a:pt x="240" y="17"/>
                    </a:lnTo>
                    <a:lnTo>
                      <a:pt x="250" y="30"/>
                    </a:lnTo>
                    <a:lnTo>
                      <a:pt x="267" y="27"/>
                    </a:lnTo>
                    <a:lnTo>
                      <a:pt x="277" y="19"/>
                    </a:lnTo>
                    <a:lnTo>
                      <a:pt x="286" y="7"/>
                    </a:lnTo>
                    <a:lnTo>
                      <a:pt x="304" y="0"/>
                    </a:lnTo>
                    <a:lnTo>
                      <a:pt x="318" y="5"/>
                    </a:lnTo>
                    <a:lnTo>
                      <a:pt x="326" y="22"/>
                    </a:lnTo>
                    <a:lnTo>
                      <a:pt x="338" y="30"/>
                    </a:lnTo>
                    <a:lnTo>
                      <a:pt x="355" y="35"/>
                    </a:lnTo>
                    <a:lnTo>
                      <a:pt x="368" y="38"/>
                    </a:lnTo>
                    <a:lnTo>
                      <a:pt x="381" y="39"/>
                    </a:lnTo>
                    <a:lnTo>
                      <a:pt x="398" y="43"/>
                    </a:lnTo>
                    <a:lnTo>
                      <a:pt x="406" y="43"/>
                    </a:lnTo>
                    <a:lnTo>
                      <a:pt x="398" y="61"/>
                    </a:lnTo>
                    <a:lnTo>
                      <a:pt x="396" y="72"/>
                    </a:lnTo>
                    <a:lnTo>
                      <a:pt x="415" y="76"/>
                    </a:lnTo>
                    <a:lnTo>
                      <a:pt x="417" y="94"/>
                    </a:lnTo>
                    <a:lnTo>
                      <a:pt x="394" y="103"/>
                    </a:lnTo>
                    <a:lnTo>
                      <a:pt x="392" y="111"/>
                    </a:lnTo>
                    <a:close/>
                    <a:moveTo>
                      <a:pt x="103" y="598"/>
                    </a:moveTo>
                    <a:lnTo>
                      <a:pt x="104" y="575"/>
                    </a:lnTo>
                    <a:lnTo>
                      <a:pt x="108" y="553"/>
                    </a:lnTo>
                    <a:lnTo>
                      <a:pt x="113" y="527"/>
                    </a:lnTo>
                    <a:lnTo>
                      <a:pt x="131" y="503"/>
                    </a:lnTo>
                    <a:lnTo>
                      <a:pt x="130" y="472"/>
                    </a:lnTo>
                    <a:lnTo>
                      <a:pt x="127" y="445"/>
                    </a:lnTo>
                    <a:lnTo>
                      <a:pt x="117" y="430"/>
                    </a:lnTo>
                    <a:lnTo>
                      <a:pt x="102" y="433"/>
                    </a:lnTo>
                    <a:lnTo>
                      <a:pt x="93" y="450"/>
                    </a:lnTo>
                    <a:lnTo>
                      <a:pt x="81" y="457"/>
                    </a:lnTo>
                    <a:lnTo>
                      <a:pt x="72" y="463"/>
                    </a:lnTo>
                    <a:lnTo>
                      <a:pt x="59" y="457"/>
                    </a:lnTo>
                    <a:lnTo>
                      <a:pt x="48" y="445"/>
                    </a:lnTo>
                    <a:lnTo>
                      <a:pt x="38" y="459"/>
                    </a:lnTo>
                    <a:lnTo>
                      <a:pt x="27" y="474"/>
                    </a:lnTo>
                    <a:lnTo>
                      <a:pt x="50" y="486"/>
                    </a:lnTo>
                    <a:lnTo>
                      <a:pt x="52" y="510"/>
                    </a:lnTo>
                    <a:lnTo>
                      <a:pt x="50" y="526"/>
                    </a:lnTo>
                    <a:lnTo>
                      <a:pt x="42" y="544"/>
                    </a:lnTo>
                    <a:lnTo>
                      <a:pt x="50" y="554"/>
                    </a:lnTo>
                    <a:lnTo>
                      <a:pt x="42" y="577"/>
                    </a:lnTo>
                    <a:lnTo>
                      <a:pt x="35" y="595"/>
                    </a:lnTo>
                    <a:lnTo>
                      <a:pt x="41" y="606"/>
                    </a:lnTo>
                    <a:lnTo>
                      <a:pt x="53" y="617"/>
                    </a:lnTo>
                    <a:lnTo>
                      <a:pt x="69" y="603"/>
                    </a:lnTo>
                    <a:lnTo>
                      <a:pt x="73" y="594"/>
                    </a:lnTo>
                    <a:lnTo>
                      <a:pt x="83" y="593"/>
                    </a:lnTo>
                    <a:lnTo>
                      <a:pt x="92" y="604"/>
                    </a:lnTo>
                    <a:lnTo>
                      <a:pt x="103" y="598"/>
                    </a:lnTo>
                    <a:close/>
                    <a:moveTo>
                      <a:pt x="413" y="710"/>
                    </a:moveTo>
                    <a:lnTo>
                      <a:pt x="369" y="726"/>
                    </a:lnTo>
                    <a:lnTo>
                      <a:pt x="359" y="728"/>
                    </a:lnTo>
                    <a:lnTo>
                      <a:pt x="346" y="728"/>
                    </a:lnTo>
                    <a:lnTo>
                      <a:pt x="334" y="725"/>
                    </a:lnTo>
                    <a:lnTo>
                      <a:pt x="328" y="706"/>
                    </a:lnTo>
                    <a:lnTo>
                      <a:pt x="319" y="690"/>
                    </a:lnTo>
                    <a:lnTo>
                      <a:pt x="317" y="699"/>
                    </a:lnTo>
                    <a:lnTo>
                      <a:pt x="309" y="713"/>
                    </a:lnTo>
                    <a:lnTo>
                      <a:pt x="290" y="699"/>
                    </a:lnTo>
                    <a:lnTo>
                      <a:pt x="280" y="711"/>
                    </a:lnTo>
                    <a:lnTo>
                      <a:pt x="264" y="729"/>
                    </a:lnTo>
                    <a:lnTo>
                      <a:pt x="273" y="738"/>
                    </a:lnTo>
                    <a:lnTo>
                      <a:pt x="299" y="737"/>
                    </a:lnTo>
                    <a:lnTo>
                      <a:pt x="306" y="750"/>
                    </a:lnTo>
                    <a:lnTo>
                      <a:pt x="325" y="767"/>
                    </a:lnTo>
                    <a:lnTo>
                      <a:pt x="341" y="768"/>
                    </a:lnTo>
                    <a:lnTo>
                      <a:pt x="365" y="781"/>
                    </a:lnTo>
                    <a:lnTo>
                      <a:pt x="380" y="803"/>
                    </a:lnTo>
                    <a:lnTo>
                      <a:pt x="399" y="814"/>
                    </a:lnTo>
                    <a:lnTo>
                      <a:pt x="419" y="824"/>
                    </a:lnTo>
                    <a:lnTo>
                      <a:pt x="437" y="812"/>
                    </a:lnTo>
                    <a:lnTo>
                      <a:pt x="437" y="784"/>
                    </a:lnTo>
                    <a:lnTo>
                      <a:pt x="429" y="765"/>
                    </a:lnTo>
                    <a:lnTo>
                      <a:pt x="441" y="746"/>
                    </a:lnTo>
                    <a:lnTo>
                      <a:pt x="447" y="734"/>
                    </a:lnTo>
                    <a:lnTo>
                      <a:pt x="451" y="716"/>
                    </a:lnTo>
                    <a:lnTo>
                      <a:pt x="451" y="707"/>
                    </a:lnTo>
                    <a:lnTo>
                      <a:pt x="439" y="716"/>
                    </a:lnTo>
                    <a:lnTo>
                      <a:pt x="424" y="721"/>
                    </a:lnTo>
                    <a:lnTo>
                      <a:pt x="421" y="711"/>
                    </a:lnTo>
                    <a:lnTo>
                      <a:pt x="413" y="710"/>
                    </a:lnTo>
                    <a:close/>
                  </a:path>
                </a:pathLst>
              </a:custGeom>
              <a:pattFill prst="wdDnDiag">
                <a:fgClr>
                  <a:srgbClr val="1D8C9B"/>
                </a:fgClr>
                <a:bgClr>
                  <a:srgbClr val="DCDCDC"/>
                </a:bgClr>
              </a:patt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87" name="Freeform 25"/>
              <p:cNvSpPr>
                <a:spLocks noChangeAspect="1"/>
              </p:cNvSpPr>
              <p:nvPr/>
            </p:nvSpPr>
            <p:spPr bwMode="auto">
              <a:xfrm>
                <a:off x="4981159" y="3208699"/>
                <a:ext cx="459846" cy="294202"/>
              </a:xfrm>
              <a:custGeom>
                <a:avLst/>
                <a:gdLst>
                  <a:gd name="T0" fmla="*/ 0 w 313"/>
                  <a:gd name="T1" fmla="*/ 187 h 200"/>
                  <a:gd name="T2" fmla="*/ 2 w 313"/>
                  <a:gd name="T3" fmla="*/ 127 h 200"/>
                  <a:gd name="T4" fmla="*/ 20 w 313"/>
                  <a:gd name="T5" fmla="*/ 115 h 200"/>
                  <a:gd name="T6" fmla="*/ 46 w 313"/>
                  <a:gd name="T7" fmla="*/ 64 h 200"/>
                  <a:gd name="T8" fmla="*/ 70 w 313"/>
                  <a:gd name="T9" fmla="*/ 57 h 200"/>
                  <a:gd name="T10" fmla="*/ 88 w 313"/>
                  <a:gd name="T11" fmla="*/ 39 h 200"/>
                  <a:gd name="T12" fmla="*/ 106 w 313"/>
                  <a:gd name="T13" fmla="*/ 62 h 200"/>
                  <a:gd name="T14" fmla="*/ 124 w 313"/>
                  <a:gd name="T15" fmla="*/ 81 h 200"/>
                  <a:gd name="T16" fmla="*/ 140 w 313"/>
                  <a:gd name="T17" fmla="*/ 107 h 200"/>
                  <a:gd name="T18" fmla="*/ 160 w 313"/>
                  <a:gd name="T19" fmla="*/ 101 h 200"/>
                  <a:gd name="T20" fmla="*/ 179 w 313"/>
                  <a:gd name="T21" fmla="*/ 88 h 200"/>
                  <a:gd name="T22" fmla="*/ 177 w 313"/>
                  <a:gd name="T23" fmla="*/ 44 h 200"/>
                  <a:gd name="T24" fmla="*/ 176 w 313"/>
                  <a:gd name="T25" fmla="*/ 24 h 200"/>
                  <a:gd name="T26" fmla="*/ 172 w 313"/>
                  <a:gd name="T27" fmla="*/ 1 h 200"/>
                  <a:gd name="T28" fmla="*/ 190 w 313"/>
                  <a:gd name="T29" fmla="*/ 13 h 200"/>
                  <a:gd name="T30" fmla="*/ 206 w 313"/>
                  <a:gd name="T31" fmla="*/ 0 h 200"/>
                  <a:gd name="T32" fmla="*/ 217 w 313"/>
                  <a:gd name="T33" fmla="*/ 12 h 200"/>
                  <a:gd name="T34" fmla="*/ 231 w 313"/>
                  <a:gd name="T35" fmla="*/ 20 h 200"/>
                  <a:gd name="T36" fmla="*/ 248 w 313"/>
                  <a:gd name="T37" fmla="*/ 30 h 200"/>
                  <a:gd name="T38" fmla="*/ 266 w 313"/>
                  <a:gd name="T39" fmla="*/ 40 h 200"/>
                  <a:gd name="T40" fmla="*/ 279 w 313"/>
                  <a:gd name="T41" fmla="*/ 48 h 200"/>
                  <a:gd name="T42" fmla="*/ 292 w 313"/>
                  <a:gd name="T43" fmla="*/ 44 h 200"/>
                  <a:gd name="T44" fmla="*/ 301 w 313"/>
                  <a:gd name="T45" fmla="*/ 43 h 200"/>
                  <a:gd name="T46" fmla="*/ 314 w 313"/>
                  <a:gd name="T47" fmla="*/ 43 h 200"/>
                  <a:gd name="T48" fmla="*/ 324 w 313"/>
                  <a:gd name="T49" fmla="*/ 50 h 200"/>
                  <a:gd name="T50" fmla="*/ 340 w 313"/>
                  <a:gd name="T51" fmla="*/ 63 h 200"/>
                  <a:gd name="T52" fmla="*/ 346 w 313"/>
                  <a:gd name="T53" fmla="*/ 75 h 200"/>
                  <a:gd name="T54" fmla="*/ 334 w 313"/>
                  <a:gd name="T55" fmla="*/ 87 h 200"/>
                  <a:gd name="T56" fmla="*/ 338 w 313"/>
                  <a:gd name="T57" fmla="*/ 105 h 200"/>
                  <a:gd name="T58" fmla="*/ 348 w 313"/>
                  <a:gd name="T59" fmla="*/ 120 h 200"/>
                  <a:gd name="T60" fmla="*/ 360 w 313"/>
                  <a:gd name="T61" fmla="*/ 133 h 200"/>
                  <a:gd name="T62" fmla="*/ 372 w 313"/>
                  <a:gd name="T63" fmla="*/ 144 h 200"/>
                  <a:gd name="T64" fmla="*/ 370 w 313"/>
                  <a:gd name="T65" fmla="*/ 158 h 200"/>
                  <a:gd name="T66" fmla="*/ 366 w 313"/>
                  <a:gd name="T67" fmla="*/ 165 h 200"/>
                  <a:gd name="T68" fmla="*/ 360 w 313"/>
                  <a:gd name="T69" fmla="*/ 177 h 200"/>
                  <a:gd name="T70" fmla="*/ 352 w 313"/>
                  <a:gd name="T71" fmla="*/ 187 h 200"/>
                  <a:gd name="T72" fmla="*/ 339 w 313"/>
                  <a:gd name="T73" fmla="*/ 201 h 200"/>
                  <a:gd name="T74" fmla="*/ 326 w 313"/>
                  <a:gd name="T75" fmla="*/ 207 h 200"/>
                  <a:gd name="T76" fmla="*/ 309 w 313"/>
                  <a:gd name="T77" fmla="*/ 206 h 200"/>
                  <a:gd name="T78" fmla="*/ 297 w 313"/>
                  <a:gd name="T79" fmla="*/ 221 h 200"/>
                  <a:gd name="T80" fmla="*/ 288 w 313"/>
                  <a:gd name="T81" fmla="*/ 238 h 200"/>
                  <a:gd name="T82" fmla="*/ 277 w 313"/>
                  <a:gd name="T83" fmla="*/ 225 h 200"/>
                  <a:gd name="T84" fmla="*/ 265 w 313"/>
                  <a:gd name="T85" fmla="*/ 213 h 200"/>
                  <a:gd name="T86" fmla="*/ 246 w 313"/>
                  <a:gd name="T87" fmla="*/ 198 h 200"/>
                  <a:gd name="T88" fmla="*/ 226 w 313"/>
                  <a:gd name="T89" fmla="*/ 182 h 200"/>
                  <a:gd name="T90" fmla="*/ 200 w 313"/>
                  <a:gd name="T91" fmla="*/ 165 h 200"/>
                  <a:gd name="T92" fmla="*/ 185 w 313"/>
                  <a:gd name="T93" fmla="*/ 171 h 200"/>
                  <a:gd name="T94" fmla="*/ 171 w 313"/>
                  <a:gd name="T95" fmla="*/ 182 h 200"/>
                  <a:gd name="T96" fmla="*/ 155 w 313"/>
                  <a:gd name="T97" fmla="*/ 179 h 200"/>
                  <a:gd name="T98" fmla="*/ 133 w 313"/>
                  <a:gd name="T99" fmla="*/ 173 h 200"/>
                  <a:gd name="T100" fmla="*/ 108 w 313"/>
                  <a:gd name="T101" fmla="*/ 170 h 200"/>
                  <a:gd name="T102" fmla="*/ 97 w 313"/>
                  <a:gd name="T103" fmla="*/ 181 h 200"/>
                  <a:gd name="T104" fmla="*/ 89 w 313"/>
                  <a:gd name="T105" fmla="*/ 170 h 200"/>
                  <a:gd name="T106" fmla="*/ 71 w 313"/>
                  <a:gd name="T107" fmla="*/ 171 h 200"/>
                  <a:gd name="T108" fmla="*/ 51 w 313"/>
                  <a:gd name="T109" fmla="*/ 180 h 200"/>
                  <a:gd name="T110" fmla="*/ 24 w 313"/>
                  <a:gd name="T111" fmla="*/ 179 h 200"/>
                  <a:gd name="T112" fmla="*/ 6 w 313"/>
                  <a:gd name="T113" fmla="*/ 182 h 200"/>
                  <a:gd name="T114" fmla="*/ 0 w 313"/>
                  <a:gd name="T115" fmla="*/ 187 h 2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3"/>
                  <a:gd name="T175" fmla="*/ 0 h 200"/>
                  <a:gd name="T176" fmla="*/ 313 w 313"/>
                  <a:gd name="T177" fmla="*/ 200 h 2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3" h="200">
                    <a:moveTo>
                      <a:pt x="0" y="157"/>
                    </a:moveTo>
                    <a:lnTo>
                      <a:pt x="2" y="107"/>
                    </a:lnTo>
                    <a:lnTo>
                      <a:pt x="17" y="97"/>
                    </a:lnTo>
                    <a:lnTo>
                      <a:pt x="39" y="54"/>
                    </a:lnTo>
                    <a:lnTo>
                      <a:pt x="59" y="48"/>
                    </a:lnTo>
                    <a:lnTo>
                      <a:pt x="74" y="33"/>
                    </a:lnTo>
                    <a:lnTo>
                      <a:pt x="89" y="52"/>
                    </a:lnTo>
                    <a:lnTo>
                      <a:pt x="104" y="68"/>
                    </a:lnTo>
                    <a:lnTo>
                      <a:pt x="118" y="90"/>
                    </a:lnTo>
                    <a:lnTo>
                      <a:pt x="135" y="85"/>
                    </a:lnTo>
                    <a:lnTo>
                      <a:pt x="151" y="74"/>
                    </a:lnTo>
                    <a:lnTo>
                      <a:pt x="149" y="37"/>
                    </a:lnTo>
                    <a:lnTo>
                      <a:pt x="148" y="20"/>
                    </a:lnTo>
                    <a:lnTo>
                      <a:pt x="145" y="1"/>
                    </a:lnTo>
                    <a:lnTo>
                      <a:pt x="160" y="11"/>
                    </a:lnTo>
                    <a:lnTo>
                      <a:pt x="173" y="0"/>
                    </a:lnTo>
                    <a:lnTo>
                      <a:pt x="183" y="10"/>
                    </a:lnTo>
                    <a:lnTo>
                      <a:pt x="194" y="17"/>
                    </a:lnTo>
                    <a:lnTo>
                      <a:pt x="209" y="25"/>
                    </a:lnTo>
                    <a:lnTo>
                      <a:pt x="224" y="34"/>
                    </a:lnTo>
                    <a:lnTo>
                      <a:pt x="235" y="40"/>
                    </a:lnTo>
                    <a:lnTo>
                      <a:pt x="246" y="37"/>
                    </a:lnTo>
                    <a:lnTo>
                      <a:pt x="253" y="36"/>
                    </a:lnTo>
                    <a:lnTo>
                      <a:pt x="264" y="36"/>
                    </a:lnTo>
                    <a:lnTo>
                      <a:pt x="273" y="42"/>
                    </a:lnTo>
                    <a:lnTo>
                      <a:pt x="286" y="53"/>
                    </a:lnTo>
                    <a:lnTo>
                      <a:pt x="291" y="63"/>
                    </a:lnTo>
                    <a:lnTo>
                      <a:pt x="281" y="73"/>
                    </a:lnTo>
                    <a:lnTo>
                      <a:pt x="284" y="88"/>
                    </a:lnTo>
                    <a:lnTo>
                      <a:pt x="293" y="101"/>
                    </a:lnTo>
                    <a:lnTo>
                      <a:pt x="303" y="112"/>
                    </a:lnTo>
                    <a:lnTo>
                      <a:pt x="313" y="121"/>
                    </a:lnTo>
                    <a:lnTo>
                      <a:pt x="311" y="133"/>
                    </a:lnTo>
                    <a:lnTo>
                      <a:pt x="308" y="139"/>
                    </a:lnTo>
                    <a:lnTo>
                      <a:pt x="303" y="149"/>
                    </a:lnTo>
                    <a:lnTo>
                      <a:pt x="296" y="157"/>
                    </a:lnTo>
                    <a:lnTo>
                      <a:pt x="285" y="169"/>
                    </a:lnTo>
                    <a:lnTo>
                      <a:pt x="274" y="174"/>
                    </a:lnTo>
                    <a:lnTo>
                      <a:pt x="260" y="173"/>
                    </a:lnTo>
                    <a:lnTo>
                      <a:pt x="250" y="186"/>
                    </a:lnTo>
                    <a:lnTo>
                      <a:pt x="242" y="200"/>
                    </a:lnTo>
                    <a:lnTo>
                      <a:pt x="233" y="189"/>
                    </a:lnTo>
                    <a:lnTo>
                      <a:pt x="223" y="179"/>
                    </a:lnTo>
                    <a:lnTo>
                      <a:pt x="207" y="166"/>
                    </a:lnTo>
                    <a:lnTo>
                      <a:pt x="190" y="153"/>
                    </a:lnTo>
                    <a:lnTo>
                      <a:pt x="168" y="139"/>
                    </a:lnTo>
                    <a:lnTo>
                      <a:pt x="156" y="144"/>
                    </a:lnTo>
                    <a:lnTo>
                      <a:pt x="144" y="153"/>
                    </a:lnTo>
                    <a:lnTo>
                      <a:pt x="130" y="150"/>
                    </a:lnTo>
                    <a:lnTo>
                      <a:pt x="112" y="145"/>
                    </a:lnTo>
                    <a:lnTo>
                      <a:pt x="91" y="143"/>
                    </a:lnTo>
                    <a:lnTo>
                      <a:pt x="82" y="152"/>
                    </a:lnTo>
                    <a:lnTo>
                      <a:pt x="75" y="143"/>
                    </a:lnTo>
                    <a:lnTo>
                      <a:pt x="60" y="144"/>
                    </a:lnTo>
                    <a:lnTo>
                      <a:pt x="43" y="151"/>
                    </a:lnTo>
                    <a:lnTo>
                      <a:pt x="20" y="150"/>
                    </a:lnTo>
                    <a:lnTo>
                      <a:pt x="5" y="153"/>
                    </a:lnTo>
                    <a:lnTo>
                      <a:pt x="0" y="157"/>
                    </a:lnTo>
                    <a:close/>
                  </a:path>
                </a:pathLst>
              </a:custGeom>
              <a:no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88" name="Freeform 26"/>
              <p:cNvSpPr>
                <a:spLocks noChangeAspect="1"/>
              </p:cNvSpPr>
              <p:nvPr/>
            </p:nvSpPr>
            <p:spPr bwMode="auto">
              <a:xfrm>
                <a:off x="4098552" y="4441134"/>
                <a:ext cx="38320" cy="32140"/>
              </a:xfrm>
              <a:custGeom>
                <a:avLst/>
                <a:gdLst>
                  <a:gd name="T0" fmla="*/ 0 w 26"/>
                  <a:gd name="T1" fmla="*/ 24 h 22"/>
                  <a:gd name="T2" fmla="*/ 4 w 26"/>
                  <a:gd name="T3" fmla="*/ 12 h 22"/>
                  <a:gd name="T4" fmla="*/ 11 w 26"/>
                  <a:gd name="T5" fmla="*/ 6 h 22"/>
                  <a:gd name="T6" fmla="*/ 26 w 26"/>
                  <a:gd name="T7" fmla="*/ 0 h 22"/>
                  <a:gd name="T8" fmla="*/ 31 w 26"/>
                  <a:gd name="T9" fmla="*/ 12 h 22"/>
                  <a:gd name="T10" fmla="*/ 26 w 26"/>
                  <a:gd name="T11" fmla="*/ 26 h 22"/>
                  <a:gd name="T12" fmla="*/ 12 w 26"/>
                  <a:gd name="T13" fmla="*/ 24 h 22"/>
                  <a:gd name="T14" fmla="*/ 0 w 26"/>
                  <a:gd name="T15" fmla="*/ 24 h 2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2"/>
                  <a:gd name="T26" fmla="*/ 26 w 2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2">
                    <a:moveTo>
                      <a:pt x="0" y="20"/>
                    </a:moveTo>
                    <a:lnTo>
                      <a:pt x="3" y="10"/>
                    </a:lnTo>
                    <a:lnTo>
                      <a:pt x="9" y="5"/>
                    </a:lnTo>
                    <a:lnTo>
                      <a:pt x="22" y="0"/>
                    </a:lnTo>
                    <a:lnTo>
                      <a:pt x="26" y="10"/>
                    </a:lnTo>
                    <a:lnTo>
                      <a:pt x="22" y="22"/>
                    </a:lnTo>
                    <a:lnTo>
                      <a:pt x="10" y="20"/>
                    </a:lnTo>
                    <a:lnTo>
                      <a:pt x="0" y="20"/>
                    </a:lnTo>
                    <a:close/>
                  </a:path>
                </a:pathLst>
              </a:custGeom>
              <a:solidFill>
                <a:srgbClr val="FFFFFF"/>
              </a:solidFill>
              <a:ln w="0">
                <a:solidFill>
                  <a:srgbClr val="DCDCDC"/>
                </a:solidFill>
                <a:prstDash val="solid"/>
                <a:round/>
                <a:headEnd/>
                <a:tailEnd/>
              </a:ln>
            </p:spPr>
            <p:txBody>
              <a:bodyPr/>
              <a:lstStyle/>
              <a:p>
                <a:pPr defTabSz="457189"/>
                <a:endParaRPr lang="fr-FR" dirty="0">
                  <a:solidFill>
                    <a:prstClr val="black"/>
                  </a:solidFill>
                  <a:latin typeface="Arial"/>
                </a:endParaRPr>
              </a:p>
            </p:txBody>
          </p:sp>
          <p:sp>
            <p:nvSpPr>
              <p:cNvPr id="89" name="Freeform 27"/>
              <p:cNvSpPr>
                <a:spLocks noChangeAspect="1"/>
              </p:cNvSpPr>
              <p:nvPr/>
            </p:nvSpPr>
            <p:spPr bwMode="auto">
              <a:xfrm>
                <a:off x="3814239" y="4073999"/>
                <a:ext cx="59335" cy="85294"/>
              </a:xfrm>
              <a:custGeom>
                <a:avLst/>
                <a:gdLst>
                  <a:gd name="T0" fmla="*/ 4 w 40"/>
                  <a:gd name="T1" fmla="*/ 65 h 58"/>
                  <a:gd name="T2" fmla="*/ 16 w 40"/>
                  <a:gd name="T3" fmla="*/ 69 h 58"/>
                  <a:gd name="T4" fmla="*/ 36 w 40"/>
                  <a:gd name="T5" fmla="*/ 69 h 58"/>
                  <a:gd name="T6" fmla="*/ 41 w 40"/>
                  <a:gd name="T7" fmla="*/ 49 h 58"/>
                  <a:gd name="T8" fmla="*/ 48 w 40"/>
                  <a:gd name="T9" fmla="*/ 25 h 58"/>
                  <a:gd name="T10" fmla="*/ 42 w 40"/>
                  <a:gd name="T11" fmla="*/ 0 h 58"/>
                  <a:gd name="T12" fmla="*/ 16 w 40"/>
                  <a:gd name="T13" fmla="*/ 14 h 58"/>
                  <a:gd name="T14" fmla="*/ 1 w 40"/>
                  <a:gd name="T15" fmla="*/ 20 h 58"/>
                  <a:gd name="T16" fmla="*/ 0 w 40"/>
                  <a:gd name="T17" fmla="*/ 48 h 58"/>
                  <a:gd name="T18" fmla="*/ 4 w 40"/>
                  <a:gd name="T19" fmla="*/ 65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8"/>
                  <a:gd name="T32" fmla="*/ 40 w 40"/>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8">
                    <a:moveTo>
                      <a:pt x="3" y="55"/>
                    </a:moveTo>
                    <a:lnTo>
                      <a:pt x="13" y="58"/>
                    </a:lnTo>
                    <a:lnTo>
                      <a:pt x="30" y="58"/>
                    </a:lnTo>
                    <a:lnTo>
                      <a:pt x="34" y="41"/>
                    </a:lnTo>
                    <a:lnTo>
                      <a:pt x="40" y="21"/>
                    </a:lnTo>
                    <a:lnTo>
                      <a:pt x="35" y="0"/>
                    </a:lnTo>
                    <a:lnTo>
                      <a:pt x="13" y="12"/>
                    </a:lnTo>
                    <a:lnTo>
                      <a:pt x="1" y="17"/>
                    </a:lnTo>
                    <a:lnTo>
                      <a:pt x="0" y="40"/>
                    </a:lnTo>
                    <a:lnTo>
                      <a:pt x="3" y="55"/>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90" name="Freeform 28"/>
              <p:cNvSpPr>
                <a:spLocks noChangeAspect="1"/>
              </p:cNvSpPr>
              <p:nvPr/>
            </p:nvSpPr>
            <p:spPr bwMode="auto">
              <a:xfrm>
                <a:off x="4937894" y="5067859"/>
                <a:ext cx="212617" cy="178005"/>
              </a:xfrm>
              <a:custGeom>
                <a:avLst/>
                <a:gdLst>
                  <a:gd name="T0" fmla="*/ 6 w 145"/>
                  <a:gd name="T1" fmla="*/ 20 h 122"/>
                  <a:gd name="T2" fmla="*/ 1 w 145"/>
                  <a:gd name="T3" fmla="*/ 33 h 122"/>
                  <a:gd name="T4" fmla="*/ 1 w 145"/>
                  <a:gd name="T5" fmla="*/ 53 h 122"/>
                  <a:gd name="T6" fmla="*/ 1 w 145"/>
                  <a:gd name="T7" fmla="*/ 77 h 122"/>
                  <a:gd name="T8" fmla="*/ 0 w 145"/>
                  <a:gd name="T9" fmla="*/ 93 h 122"/>
                  <a:gd name="T10" fmla="*/ 2 w 145"/>
                  <a:gd name="T11" fmla="*/ 112 h 122"/>
                  <a:gd name="T12" fmla="*/ 7 w 145"/>
                  <a:gd name="T13" fmla="*/ 129 h 122"/>
                  <a:gd name="T14" fmla="*/ 19 w 145"/>
                  <a:gd name="T15" fmla="*/ 137 h 122"/>
                  <a:gd name="T16" fmla="*/ 27 w 145"/>
                  <a:gd name="T17" fmla="*/ 144 h 122"/>
                  <a:gd name="T18" fmla="*/ 36 w 145"/>
                  <a:gd name="T19" fmla="*/ 142 h 122"/>
                  <a:gd name="T20" fmla="*/ 56 w 145"/>
                  <a:gd name="T21" fmla="*/ 144 h 122"/>
                  <a:gd name="T22" fmla="*/ 74 w 145"/>
                  <a:gd name="T23" fmla="*/ 119 h 122"/>
                  <a:gd name="T24" fmla="*/ 96 w 145"/>
                  <a:gd name="T25" fmla="*/ 114 h 122"/>
                  <a:gd name="T26" fmla="*/ 116 w 145"/>
                  <a:gd name="T27" fmla="*/ 118 h 122"/>
                  <a:gd name="T28" fmla="*/ 134 w 145"/>
                  <a:gd name="T29" fmla="*/ 113 h 122"/>
                  <a:gd name="T30" fmla="*/ 153 w 145"/>
                  <a:gd name="T31" fmla="*/ 91 h 122"/>
                  <a:gd name="T32" fmla="*/ 172 w 145"/>
                  <a:gd name="T33" fmla="*/ 85 h 122"/>
                  <a:gd name="T34" fmla="*/ 167 w 145"/>
                  <a:gd name="T35" fmla="*/ 61 h 122"/>
                  <a:gd name="T36" fmla="*/ 158 w 145"/>
                  <a:gd name="T37" fmla="*/ 42 h 122"/>
                  <a:gd name="T38" fmla="*/ 147 w 145"/>
                  <a:gd name="T39" fmla="*/ 28 h 122"/>
                  <a:gd name="T40" fmla="*/ 132 w 145"/>
                  <a:gd name="T41" fmla="*/ 11 h 122"/>
                  <a:gd name="T42" fmla="*/ 121 w 145"/>
                  <a:gd name="T43" fmla="*/ 2 h 122"/>
                  <a:gd name="T44" fmla="*/ 108 w 145"/>
                  <a:gd name="T45" fmla="*/ 2 h 122"/>
                  <a:gd name="T46" fmla="*/ 94 w 145"/>
                  <a:gd name="T47" fmla="*/ 0 h 122"/>
                  <a:gd name="T48" fmla="*/ 66 w 145"/>
                  <a:gd name="T49" fmla="*/ 0 h 122"/>
                  <a:gd name="T50" fmla="*/ 50 w 145"/>
                  <a:gd name="T51" fmla="*/ 4 h 122"/>
                  <a:gd name="T52" fmla="*/ 37 w 145"/>
                  <a:gd name="T53" fmla="*/ 12 h 122"/>
                  <a:gd name="T54" fmla="*/ 24 w 145"/>
                  <a:gd name="T55" fmla="*/ 21 h 122"/>
                  <a:gd name="T56" fmla="*/ 6 w 145"/>
                  <a:gd name="T57" fmla="*/ 20 h 12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5"/>
                  <a:gd name="T88" fmla="*/ 0 h 122"/>
                  <a:gd name="T89" fmla="*/ 145 w 145"/>
                  <a:gd name="T90" fmla="*/ 122 h 12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5" h="122">
                    <a:moveTo>
                      <a:pt x="5" y="17"/>
                    </a:moveTo>
                    <a:lnTo>
                      <a:pt x="1" y="28"/>
                    </a:lnTo>
                    <a:lnTo>
                      <a:pt x="1" y="45"/>
                    </a:lnTo>
                    <a:lnTo>
                      <a:pt x="1" y="65"/>
                    </a:lnTo>
                    <a:lnTo>
                      <a:pt x="0" y="79"/>
                    </a:lnTo>
                    <a:lnTo>
                      <a:pt x="2" y="95"/>
                    </a:lnTo>
                    <a:lnTo>
                      <a:pt x="6" y="109"/>
                    </a:lnTo>
                    <a:lnTo>
                      <a:pt x="16" y="116"/>
                    </a:lnTo>
                    <a:lnTo>
                      <a:pt x="23" y="122"/>
                    </a:lnTo>
                    <a:lnTo>
                      <a:pt x="30" y="120"/>
                    </a:lnTo>
                    <a:lnTo>
                      <a:pt x="47" y="122"/>
                    </a:lnTo>
                    <a:lnTo>
                      <a:pt x="62" y="101"/>
                    </a:lnTo>
                    <a:lnTo>
                      <a:pt x="81" y="97"/>
                    </a:lnTo>
                    <a:lnTo>
                      <a:pt x="98" y="100"/>
                    </a:lnTo>
                    <a:lnTo>
                      <a:pt x="113" y="96"/>
                    </a:lnTo>
                    <a:lnTo>
                      <a:pt x="129" y="77"/>
                    </a:lnTo>
                    <a:lnTo>
                      <a:pt x="145" y="72"/>
                    </a:lnTo>
                    <a:lnTo>
                      <a:pt x="141" y="52"/>
                    </a:lnTo>
                    <a:lnTo>
                      <a:pt x="133" y="36"/>
                    </a:lnTo>
                    <a:lnTo>
                      <a:pt x="124" y="24"/>
                    </a:lnTo>
                    <a:lnTo>
                      <a:pt x="111" y="9"/>
                    </a:lnTo>
                    <a:lnTo>
                      <a:pt x="102" y="2"/>
                    </a:lnTo>
                    <a:lnTo>
                      <a:pt x="91" y="2"/>
                    </a:lnTo>
                    <a:lnTo>
                      <a:pt x="79" y="0"/>
                    </a:lnTo>
                    <a:lnTo>
                      <a:pt x="56" y="0"/>
                    </a:lnTo>
                    <a:lnTo>
                      <a:pt x="42" y="3"/>
                    </a:lnTo>
                    <a:lnTo>
                      <a:pt x="31" y="10"/>
                    </a:lnTo>
                    <a:lnTo>
                      <a:pt x="20" y="18"/>
                    </a:lnTo>
                    <a:lnTo>
                      <a:pt x="5" y="17"/>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91" name="Freeform 29"/>
              <p:cNvSpPr>
                <a:spLocks noChangeAspect="1" noEditPoints="1"/>
              </p:cNvSpPr>
              <p:nvPr/>
            </p:nvSpPr>
            <p:spPr bwMode="auto">
              <a:xfrm>
                <a:off x="4293863" y="5739085"/>
                <a:ext cx="66752" cy="25959"/>
              </a:xfrm>
              <a:custGeom>
                <a:avLst/>
                <a:gdLst>
                  <a:gd name="T0" fmla="*/ 37 w 45"/>
                  <a:gd name="T1" fmla="*/ 8 h 18"/>
                  <a:gd name="T2" fmla="*/ 29 w 45"/>
                  <a:gd name="T3" fmla="*/ 8 h 18"/>
                  <a:gd name="T4" fmla="*/ 29 w 45"/>
                  <a:gd name="T5" fmla="*/ 16 h 18"/>
                  <a:gd name="T6" fmla="*/ 46 w 45"/>
                  <a:gd name="T7" fmla="*/ 21 h 18"/>
                  <a:gd name="T8" fmla="*/ 54 w 45"/>
                  <a:gd name="T9" fmla="*/ 13 h 18"/>
                  <a:gd name="T10" fmla="*/ 37 w 45"/>
                  <a:gd name="T11" fmla="*/ 8 h 18"/>
                  <a:gd name="T12" fmla="*/ 4 w 45"/>
                  <a:gd name="T13" fmla="*/ 0 h 18"/>
                  <a:gd name="T14" fmla="*/ 0 w 45"/>
                  <a:gd name="T15" fmla="*/ 5 h 18"/>
                  <a:gd name="T16" fmla="*/ 4 w 45"/>
                  <a:gd name="T17" fmla="*/ 8 h 18"/>
                  <a:gd name="T18" fmla="*/ 8 w 45"/>
                  <a:gd name="T19" fmla="*/ 8 h 18"/>
                  <a:gd name="T20" fmla="*/ 12 w 45"/>
                  <a:gd name="T21" fmla="*/ 5 h 18"/>
                  <a:gd name="T22" fmla="*/ 4 w 45"/>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18"/>
                  <a:gd name="T38" fmla="*/ 45 w 45"/>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18">
                    <a:moveTo>
                      <a:pt x="31" y="7"/>
                    </a:moveTo>
                    <a:lnTo>
                      <a:pt x="24" y="7"/>
                    </a:lnTo>
                    <a:lnTo>
                      <a:pt x="24" y="14"/>
                    </a:lnTo>
                    <a:lnTo>
                      <a:pt x="38" y="18"/>
                    </a:lnTo>
                    <a:lnTo>
                      <a:pt x="45" y="11"/>
                    </a:lnTo>
                    <a:lnTo>
                      <a:pt x="31" y="7"/>
                    </a:lnTo>
                    <a:close/>
                    <a:moveTo>
                      <a:pt x="3" y="0"/>
                    </a:moveTo>
                    <a:lnTo>
                      <a:pt x="0" y="4"/>
                    </a:lnTo>
                    <a:lnTo>
                      <a:pt x="3" y="7"/>
                    </a:lnTo>
                    <a:lnTo>
                      <a:pt x="7" y="7"/>
                    </a:lnTo>
                    <a:lnTo>
                      <a:pt x="10" y="4"/>
                    </a:lnTo>
                    <a:lnTo>
                      <a:pt x="3" y="0"/>
                    </a:lnTo>
                    <a:close/>
                  </a:path>
                </a:pathLst>
              </a:custGeom>
              <a:solidFill>
                <a:srgbClr val="FFFFCD"/>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92" name="Freeform 30"/>
              <p:cNvSpPr>
                <a:spLocks noChangeAspect="1"/>
              </p:cNvSpPr>
              <p:nvPr/>
            </p:nvSpPr>
            <p:spPr bwMode="auto">
              <a:xfrm>
                <a:off x="5370544" y="4345951"/>
                <a:ext cx="302855" cy="342412"/>
              </a:xfrm>
              <a:custGeom>
                <a:avLst/>
                <a:gdLst>
                  <a:gd name="T0" fmla="*/ 0 w 206"/>
                  <a:gd name="T1" fmla="*/ 34 h 233"/>
                  <a:gd name="T2" fmla="*/ 25 w 206"/>
                  <a:gd name="T3" fmla="*/ 38 h 233"/>
                  <a:gd name="T4" fmla="*/ 45 w 206"/>
                  <a:gd name="T5" fmla="*/ 53 h 233"/>
                  <a:gd name="T6" fmla="*/ 67 w 206"/>
                  <a:gd name="T7" fmla="*/ 75 h 233"/>
                  <a:gd name="T8" fmla="*/ 89 w 206"/>
                  <a:gd name="T9" fmla="*/ 97 h 233"/>
                  <a:gd name="T10" fmla="*/ 108 w 206"/>
                  <a:gd name="T11" fmla="*/ 124 h 233"/>
                  <a:gd name="T12" fmla="*/ 124 w 206"/>
                  <a:gd name="T13" fmla="*/ 155 h 233"/>
                  <a:gd name="T14" fmla="*/ 133 w 206"/>
                  <a:gd name="T15" fmla="*/ 181 h 233"/>
                  <a:gd name="T16" fmla="*/ 124 w 206"/>
                  <a:gd name="T17" fmla="*/ 207 h 233"/>
                  <a:gd name="T18" fmla="*/ 105 w 206"/>
                  <a:gd name="T19" fmla="*/ 258 h 233"/>
                  <a:gd name="T20" fmla="*/ 131 w 206"/>
                  <a:gd name="T21" fmla="*/ 277 h 233"/>
                  <a:gd name="T22" fmla="*/ 162 w 206"/>
                  <a:gd name="T23" fmla="*/ 264 h 233"/>
                  <a:gd name="T24" fmla="*/ 171 w 206"/>
                  <a:gd name="T25" fmla="*/ 238 h 233"/>
                  <a:gd name="T26" fmla="*/ 177 w 206"/>
                  <a:gd name="T27" fmla="*/ 191 h 233"/>
                  <a:gd name="T28" fmla="*/ 196 w 206"/>
                  <a:gd name="T29" fmla="*/ 189 h 233"/>
                  <a:gd name="T30" fmla="*/ 226 w 206"/>
                  <a:gd name="T31" fmla="*/ 182 h 233"/>
                  <a:gd name="T32" fmla="*/ 245 w 206"/>
                  <a:gd name="T33" fmla="*/ 160 h 233"/>
                  <a:gd name="T34" fmla="*/ 226 w 206"/>
                  <a:gd name="T35" fmla="*/ 144 h 233"/>
                  <a:gd name="T36" fmla="*/ 211 w 206"/>
                  <a:gd name="T37" fmla="*/ 115 h 233"/>
                  <a:gd name="T38" fmla="*/ 196 w 206"/>
                  <a:gd name="T39" fmla="*/ 115 h 233"/>
                  <a:gd name="T40" fmla="*/ 188 w 206"/>
                  <a:gd name="T41" fmla="*/ 83 h 233"/>
                  <a:gd name="T42" fmla="*/ 172 w 206"/>
                  <a:gd name="T43" fmla="*/ 58 h 233"/>
                  <a:gd name="T44" fmla="*/ 171 w 206"/>
                  <a:gd name="T45" fmla="*/ 40 h 233"/>
                  <a:gd name="T46" fmla="*/ 149 w 206"/>
                  <a:gd name="T47" fmla="*/ 30 h 233"/>
                  <a:gd name="T48" fmla="*/ 117 w 206"/>
                  <a:gd name="T49" fmla="*/ 30 h 233"/>
                  <a:gd name="T50" fmla="*/ 98 w 206"/>
                  <a:gd name="T51" fmla="*/ 0 h 233"/>
                  <a:gd name="T52" fmla="*/ 61 w 206"/>
                  <a:gd name="T53" fmla="*/ 6 h 233"/>
                  <a:gd name="T54" fmla="*/ 14 w 206"/>
                  <a:gd name="T55" fmla="*/ 7 h 233"/>
                  <a:gd name="T56" fmla="*/ 0 w 206"/>
                  <a:gd name="T57" fmla="*/ 34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6"/>
                  <a:gd name="T88" fmla="*/ 0 h 233"/>
                  <a:gd name="T89" fmla="*/ 206 w 206"/>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6" h="233">
                    <a:moveTo>
                      <a:pt x="0" y="29"/>
                    </a:moveTo>
                    <a:lnTo>
                      <a:pt x="21" y="32"/>
                    </a:lnTo>
                    <a:lnTo>
                      <a:pt x="38" y="45"/>
                    </a:lnTo>
                    <a:lnTo>
                      <a:pt x="56" y="63"/>
                    </a:lnTo>
                    <a:lnTo>
                      <a:pt x="75" y="82"/>
                    </a:lnTo>
                    <a:lnTo>
                      <a:pt x="91" y="104"/>
                    </a:lnTo>
                    <a:lnTo>
                      <a:pt x="104" y="130"/>
                    </a:lnTo>
                    <a:lnTo>
                      <a:pt x="112" y="152"/>
                    </a:lnTo>
                    <a:lnTo>
                      <a:pt x="104" y="174"/>
                    </a:lnTo>
                    <a:lnTo>
                      <a:pt x="88" y="217"/>
                    </a:lnTo>
                    <a:lnTo>
                      <a:pt x="110" y="233"/>
                    </a:lnTo>
                    <a:lnTo>
                      <a:pt x="136" y="222"/>
                    </a:lnTo>
                    <a:lnTo>
                      <a:pt x="144" y="200"/>
                    </a:lnTo>
                    <a:lnTo>
                      <a:pt x="149" y="161"/>
                    </a:lnTo>
                    <a:lnTo>
                      <a:pt x="165" y="159"/>
                    </a:lnTo>
                    <a:lnTo>
                      <a:pt x="190" y="153"/>
                    </a:lnTo>
                    <a:lnTo>
                      <a:pt x="206" y="135"/>
                    </a:lnTo>
                    <a:lnTo>
                      <a:pt x="190" y="121"/>
                    </a:lnTo>
                    <a:lnTo>
                      <a:pt x="177" y="97"/>
                    </a:lnTo>
                    <a:lnTo>
                      <a:pt x="165" y="97"/>
                    </a:lnTo>
                    <a:lnTo>
                      <a:pt x="158" y="70"/>
                    </a:lnTo>
                    <a:lnTo>
                      <a:pt x="145" y="49"/>
                    </a:lnTo>
                    <a:lnTo>
                      <a:pt x="144" y="34"/>
                    </a:lnTo>
                    <a:lnTo>
                      <a:pt x="125" y="25"/>
                    </a:lnTo>
                    <a:lnTo>
                      <a:pt x="98" y="25"/>
                    </a:lnTo>
                    <a:lnTo>
                      <a:pt x="82" y="0"/>
                    </a:lnTo>
                    <a:lnTo>
                      <a:pt x="51" y="5"/>
                    </a:lnTo>
                    <a:lnTo>
                      <a:pt x="12" y="6"/>
                    </a:lnTo>
                    <a:lnTo>
                      <a:pt x="0" y="29"/>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93" name="Freeform 31"/>
              <p:cNvSpPr>
                <a:spLocks noChangeAspect="1"/>
              </p:cNvSpPr>
              <p:nvPr/>
            </p:nvSpPr>
            <p:spPr bwMode="auto">
              <a:xfrm>
                <a:off x="3851323" y="4798379"/>
                <a:ext cx="21014" cy="16070"/>
              </a:xfrm>
              <a:custGeom>
                <a:avLst/>
                <a:gdLst>
                  <a:gd name="T0" fmla="*/ 0 w 14"/>
                  <a:gd name="T1" fmla="*/ 1 h 11"/>
                  <a:gd name="T2" fmla="*/ 0 w 14"/>
                  <a:gd name="T3" fmla="*/ 12 h 11"/>
                  <a:gd name="T4" fmla="*/ 17 w 14"/>
                  <a:gd name="T5" fmla="*/ 13 h 11"/>
                  <a:gd name="T6" fmla="*/ 11 w 14"/>
                  <a:gd name="T7" fmla="*/ 0 h 11"/>
                  <a:gd name="T8" fmla="*/ 0 w 14"/>
                  <a:gd name="T9" fmla="*/ 1 h 11"/>
                  <a:gd name="T10" fmla="*/ 0 60000 65536"/>
                  <a:gd name="T11" fmla="*/ 0 60000 65536"/>
                  <a:gd name="T12" fmla="*/ 0 60000 65536"/>
                  <a:gd name="T13" fmla="*/ 0 60000 65536"/>
                  <a:gd name="T14" fmla="*/ 0 60000 65536"/>
                  <a:gd name="T15" fmla="*/ 0 w 14"/>
                  <a:gd name="T16" fmla="*/ 0 h 11"/>
                  <a:gd name="T17" fmla="*/ 14 w 14"/>
                  <a:gd name="T18" fmla="*/ 11 h 11"/>
                </a:gdLst>
                <a:ahLst/>
                <a:cxnLst>
                  <a:cxn ang="T10">
                    <a:pos x="T0" y="T1"/>
                  </a:cxn>
                  <a:cxn ang="T11">
                    <a:pos x="T2" y="T3"/>
                  </a:cxn>
                  <a:cxn ang="T12">
                    <a:pos x="T4" y="T5"/>
                  </a:cxn>
                  <a:cxn ang="T13">
                    <a:pos x="T6" y="T7"/>
                  </a:cxn>
                  <a:cxn ang="T14">
                    <a:pos x="T8" y="T9"/>
                  </a:cxn>
                </a:cxnLst>
                <a:rect l="T15" t="T16" r="T17" b="T18"/>
                <a:pathLst>
                  <a:path w="14" h="11">
                    <a:moveTo>
                      <a:pt x="0" y="1"/>
                    </a:moveTo>
                    <a:lnTo>
                      <a:pt x="0" y="10"/>
                    </a:lnTo>
                    <a:lnTo>
                      <a:pt x="14" y="11"/>
                    </a:lnTo>
                    <a:lnTo>
                      <a:pt x="9" y="0"/>
                    </a:lnTo>
                    <a:lnTo>
                      <a:pt x="0" y="1"/>
                    </a:lnTo>
                    <a:close/>
                  </a:path>
                </a:pathLst>
              </a:custGeom>
              <a:solidFill>
                <a:srgbClr val="FFFFFF"/>
              </a:solidFill>
              <a:ln w="0">
                <a:solidFill>
                  <a:srgbClr val="DCDCDC"/>
                </a:solidFill>
                <a:prstDash val="solid"/>
                <a:round/>
                <a:headEnd/>
                <a:tailEnd/>
              </a:ln>
            </p:spPr>
            <p:txBody>
              <a:bodyPr/>
              <a:lstStyle/>
              <a:p>
                <a:pPr defTabSz="457189"/>
                <a:endParaRPr lang="fr-FR" dirty="0">
                  <a:solidFill>
                    <a:prstClr val="black"/>
                  </a:solidFill>
                  <a:latin typeface="Arial"/>
                </a:endParaRPr>
              </a:p>
            </p:txBody>
          </p:sp>
          <p:sp>
            <p:nvSpPr>
              <p:cNvPr id="94" name="Freeform 32"/>
              <p:cNvSpPr>
                <a:spLocks noChangeAspect="1"/>
              </p:cNvSpPr>
              <p:nvPr/>
            </p:nvSpPr>
            <p:spPr bwMode="auto">
              <a:xfrm>
                <a:off x="4015730" y="1572045"/>
                <a:ext cx="1389426" cy="1584736"/>
              </a:xfrm>
              <a:custGeom>
                <a:avLst/>
                <a:gdLst>
                  <a:gd name="T0" fmla="*/ 276 w 945"/>
                  <a:gd name="T1" fmla="*/ 1154 h 1079"/>
                  <a:gd name="T2" fmla="*/ 250 w 945"/>
                  <a:gd name="T3" fmla="*/ 1179 h 1079"/>
                  <a:gd name="T4" fmla="*/ 215 w 945"/>
                  <a:gd name="T5" fmla="*/ 1187 h 1079"/>
                  <a:gd name="T6" fmla="*/ 128 w 945"/>
                  <a:gd name="T7" fmla="*/ 1275 h 1079"/>
                  <a:gd name="T8" fmla="*/ 67 w 945"/>
                  <a:gd name="T9" fmla="*/ 1265 h 1079"/>
                  <a:gd name="T10" fmla="*/ 5 w 945"/>
                  <a:gd name="T11" fmla="*/ 1199 h 1079"/>
                  <a:gd name="T12" fmla="*/ 39 w 945"/>
                  <a:gd name="T13" fmla="*/ 1176 h 1079"/>
                  <a:gd name="T14" fmla="*/ 50 w 945"/>
                  <a:gd name="T15" fmla="*/ 1105 h 1079"/>
                  <a:gd name="T16" fmla="*/ 33 w 945"/>
                  <a:gd name="T17" fmla="*/ 1091 h 1079"/>
                  <a:gd name="T18" fmla="*/ 101 w 945"/>
                  <a:gd name="T19" fmla="*/ 1050 h 1079"/>
                  <a:gd name="T20" fmla="*/ 56 w 945"/>
                  <a:gd name="T21" fmla="*/ 1037 h 1079"/>
                  <a:gd name="T22" fmla="*/ 33 w 945"/>
                  <a:gd name="T23" fmla="*/ 1027 h 1079"/>
                  <a:gd name="T24" fmla="*/ 24 w 945"/>
                  <a:gd name="T25" fmla="*/ 967 h 1079"/>
                  <a:gd name="T26" fmla="*/ 101 w 945"/>
                  <a:gd name="T27" fmla="*/ 983 h 1079"/>
                  <a:gd name="T28" fmla="*/ 124 w 945"/>
                  <a:gd name="T29" fmla="*/ 945 h 1079"/>
                  <a:gd name="T30" fmla="*/ 52 w 945"/>
                  <a:gd name="T31" fmla="*/ 939 h 1079"/>
                  <a:gd name="T32" fmla="*/ 62 w 945"/>
                  <a:gd name="T33" fmla="*/ 890 h 1079"/>
                  <a:gd name="T34" fmla="*/ 109 w 945"/>
                  <a:gd name="T35" fmla="*/ 876 h 1079"/>
                  <a:gd name="T36" fmla="*/ 69 w 945"/>
                  <a:gd name="T37" fmla="*/ 853 h 1079"/>
                  <a:gd name="T38" fmla="*/ 128 w 945"/>
                  <a:gd name="T39" fmla="*/ 840 h 1079"/>
                  <a:gd name="T40" fmla="*/ 155 w 945"/>
                  <a:gd name="T41" fmla="*/ 829 h 1079"/>
                  <a:gd name="T42" fmla="*/ 143 w 945"/>
                  <a:gd name="T43" fmla="*/ 790 h 1079"/>
                  <a:gd name="T44" fmla="*/ 207 w 945"/>
                  <a:gd name="T45" fmla="*/ 783 h 1079"/>
                  <a:gd name="T46" fmla="*/ 252 w 945"/>
                  <a:gd name="T47" fmla="*/ 762 h 1079"/>
                  <a:gd name="T48" fmla="*/ 315 w 945"/>
                  <a:gd name="T49" fmla="*/ 762 h 1079"/>
                  <a:gd name="T50" fmla="*/ 302 w 945"/>
                  <a:gd name="T51" fmla="*/ 737 h 1079"/>
                  <a:gd name="T52" fmla="*/ 324 w 945"/>
                  <a:gd name="T53" fmla="*/ 678 h 1079"/>
                  <a:gd name="T54" fmla="*/ 375 w 945"/>
                  <a:gd name="T55" fmla="*/ 632 h 1079"/>
                  <a:gd name="T56" fmla="*/ 425 w 945"/>
                  <a:gd name="T57" fmla="*/ 562 h 1079"/>
                  <a:gd name="T58" fmla="*/ 461 w 945"/>
                  <a:gd name="T59" fmla="*/ 503 h 1079"/>
                  <a:gd name="T60" fmla="*/ 446 w 945"/>
                  <a:gd name="T61" fmla="*/ 490 h 1079"/>
                  <a:gd name="T62" fmla="*/ 479 w 945"/>
                  <a:gd name="T63" fmla="*/ 425 h 1079"/>
                  <a:gd name="T64" fmla="*/ 541 w 945"/>
                  <a:gd name="T65" fmla="*/ 383 h 1079"/>
                  <a:gd name="T66" fmla="*/ 561 w 945"/>
                  <a:gd name="T67" fmla="*/ 353 h 1079"/>
                  <a:gd name="T68" fmla="*/ 540 w 945"/>
                  <a:gd name="T69" fmla="*/ 320 h 1079"/>
                  <a:gd name="T70" fmla="*/ 598 w 945"/>
                  <a:gd name="T71" fmla="*/ 288 h 1079"/>
                  <a:gd name="T72" fmla="*/ 640 w 945"/>
                  <a:gd name="T73" fmla="*/ 252 h 1079"/>
                  <a:gd name="T74" fmla="*/ 702 w 945"/>
                  <a:gd name="T75" fmla="*/ 185 h 1079"/>
                  <a:gd name="T76" fmla="*/ 737 w 945"/>
                  <a:gd name="T77" fmla="*/ 157 h 1079"/>
                  <a:gd name="T78" fmla="*/ 795 w 945"/>
                  <a:gd name="T79" fmla="*/ 151 h 1079"/>
                  <a:gd name="T80" fmla="*/ 877 w 945"/>
                  <a:gd name="T81" fmla="*/ 81 h 1079"/>
                  <a:gd name="T82" fmla="*/ 911 w 945"/>
                  <a:gd name="T83" fmla="*/ 99 h 1079"/>
                  <a:gd name="T84" fmla="*/ 984 w 945"/>
                  <a:gd name="T85" fmla="*/ 24 h 1079"/>
                  <a:gd name="T86" fmla="*/ 1009 w 945"/>
                  <a:gd name="T87" fmla="*/ 8 h 1079"/>
                  <a:gd name="T88" fmla="*/ 1024 w 945"/>
                  <a:gd name="T89" fmla="*/ 55 h 1079"/>
                  <a:gd name="T90" fmla="*/ 1098 w 945"/>
                  <a:gd name="T91" fmla="*/ 43 h 1079"/>
                  <a:gd name="T92" fmla="*/ 1075 w 945"/>
                  <a:gd name="T93" fmla="*/ 101 h 1079"/>
                  <a:gd name="T94" fmla="*/ 1087 w 945"/>
                  <a:gd name="T95" fmla="*/ 122 h 1079"/>
                  <a:gd name="T96" fmla="*/ 1062 w 945"/>
                  <a:gd name="T97" fmla="*/ 222 h 1079"/>
                  <a:gd name="T98" fmla="*/ 1012 w 945"/>
                  <a:gd name="T99" fmla="*/ 125 h 1079"/>
                  <a:gd name="T100" fmla="*/ 929 w 945"/>
                  <a:gd name="T101" fmla="*/ 223 h 1079"/>
                  <a:gd name="T102" fmla="*/ 834 w 945"/>
                  <a:gd name="T103" fmla="*/ 250 h 1079"/>
                  <a:gd name="T104" fmla="*/ 747 w 945"/>
                  <a:gd name="T105" fmla="*/ 253 h 1079"/>
                  <a:gd name="T106" fmla="*/ 640 w 945"/>
                  <a:gd name="T107" fmla="*/ 330 h 1079"/>
                  <a:gd name="T108" fmla="*/ 547 w 945"/>
                  <a:gd name="T109" fmla="*/ 459 h 1079"/>
                  <a:gd name="T110" fmla="*/ 479 w 945"/>
                  <a:gd name="T111" fmla="*/ 615 h 1079"/>
                  <a:gd name="T112" fmla="*/ 425 w 945"/>
                  <a:gd name="T113" fmla="*/ 719 h 1079"/>
                  <a:gd name="T114" fmla="*/ 362 w 945"/>
                  <a:gd name="T115" fmla="*/ 956 h 1079"/>
                  <a:gd name="T116" fmla="*/ 347 w 945"/>
                  <a:gd name="T117" fmla="*/ 1076 h 1079"/>
                  <a:gd name="T118" fmla="*/ 322 w 945"/>
                  <a:gd name="T119" fmla="*/ 1193 h 10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45"/>
                  <a:gd name="T181" fmla="*/ 0 h 1079"/>
                  <a:gd name="T182" fmla="*/ 945 w 945"/>
                  <a:gd name="T183" fmla="*/ 1079 h 107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45" h="1079">
                    <a:moveTo>
                      <a:pt x="260" y="1005"/>
                    </a:moveTo>
                    <a:lnTo>
                      <a:pt x="253" y="994"/>
                    </a:lnTo>
                    <a:lnTo>
                      <a:pt x="234" y="996"/>
                    </a:lnTo>
                    <a:lnTo>
                      <a:pt x="232" y="971"/>
                    </a:lnTo>
                    <a:lnTo>
                      <a:pt x="229" y="947"/>
                    </a:lnTo>
                    <a:lnTo>
                      <a:pt x="218" y="949"/>
                    </a:lnTo>
                    <a:lnTo>
                      <a:pt x="210" y="973"/>
                    </a:lnTo>
                    <a:lnTo>
                      <a:pt x="210" y="992"/>
                    </a:lnTo>
                    <a:lnTo>
                      <a:pt x="210" y="1005"/>
                    </a:lnTo>
                    <a:lnTo>
                      <a:pt x="202" y="1014"/>
                    </a:lnTo>
                    <a:lnTo>
                      <a:pt x="191" y="1010"/>
                    </a:lnTo>
                    <a:lnTo>
                      <a:pt x="181" y="999"/>
                    </a:lnTo>
                    <a:lnTo>
                      <a:pt x="172" y="1019"/>
                    </a:lnTo>
                    <a:lnTo>
                      <a:pt x="149" y="1043"/>
                    </a:lnTo>
                    <a:lnTo>
                      <a:pt x="119" y="1053"/>
                    </a:lnTo>
                    <a:lnTo>
                      <a:pt x="108" y="1073"/>
                    </a:lnTo>
                    <a:lnTo>
                      <a:pt x="93" y="1076"/>
                    </a:lnTo>
                    <a:lnTo>
                      <a:pt x="86" y="1077"/>
                    </a:lnTo>
                    <a:lnTo>
                      <a:pt x="76" y="1079"/>
                    </a:lnTo>
                    <a:lnTo>
                      <a:pt x="56" y="1065"/>
                    </a:lnTo>
                    <a:lnTo>
                      <a:pt x="34" y="1058"/>
                    </a:lnTo>
                    <a:lnTo>
                      <a:pt x="29" y="1057"/>
                    </a:lnTo>
                    <a:lnTo>
                      <a:pt x="11" y="1045"/>
                    </a:lnTo>
                    <a:lnTo>
                      <a:pt x="4" y="1009"/>
                    </a:lnTo>
                    <a:lnTo>
                      <a:pt x="0" y="987"/>
                    </a:lnTo>
                    <a:lnTo>
                      <a:pt x="4" y="974"/>
                    </a:lnTo>
                    <a:lnTo>
                      <a:pt x="20" y="979"/>
                    </a:lnTo>
                    <a:lnTo>
                      <a:pt x="33" y="990"/>
                    </a:lnTo>
                    <a:lnTo>
                      <a:pt x="49" y="975"/>
                    </a:lnTo>
                    <a:lnTo>
                      <a:pt x="32" y="973"/>
                    </a:lnTo>
                    <a:lnTo>
                      <a:pt x="42" y="944"/>
                    </a:lnTo>
                    <a:lnTo>
                      <a:pt x="42" y="930"/>
                    </a:lnTo>
                    <a:lnTo>
                      <a:pt x="23" y="949"/>
                    </a:lnTo>
                    <a:lnTo>
                      <a:pt x="7" y="957"/>
                    </a:lnTo>
                    <a:lnTo>
                      <a:pt x="6" y="932"/>
                    </a:lnTo>
                    <a:lnTo>
                      <a:pt x="28" y="918"/>
                    </a:lnTo>
                    <a:lnTo>
                      <a:pt x="42" y="903"/>
                    </a:lnTo>
                    <a:lnTo>
                      <a:pt x="49" y="889"/>
                    </a:lnTo>
                    <a:lnTo>
                      <a:pt x="67" y="877"/>
                    </a:lnTo>
                    <a:lnTo>
                      <a:pt x="85" y="884"/>
                    </a:lnTo>
                    <a:lnTo>
                      <a:pt x="92" y="868"/>
                    </a:lnTo>
                    <a:lnTo>
                      <a:pt x="77" y="854"/>
                    </a:lnTo>
                    <a:lnTo>
                      <a:pt x="63" y="856"/>
                    </a:lnTo>
                    <a:lnTo>
                      <a:pt x="47" y="873"/>
                    </a:lnTo>
                    <a:lnTo>
                      <a:pt x="30" y="887"/>
                    </a:lnTo>
                    <a:lnTo>
                      <a:pt x="25" y="888"/>
                    </a:lnTo>
                    <a:lnTo>
                      <a:pt x="19" y="884"/>
                    </a:lnTo>
                    <a:lnTo>
                      <a:pt x="28" y="864"/>
                    </a:lnTo>
                    <a:lnTo>
                      <a:pt x="38" y="844"/>
                    </a:lnTo>
                    <a:lnTo>
                      <a:pt x="27" y="834"/>
                    </a:lnTo>
                    <a:lnTo>
                      <a:pt x="15" y="828"/>
                    </a:lnTo>
                    <a:lnTo>
                      <a:pt x="20" y="814"/>
                    </a:lnTo>
                    <a:lnTo>
                      <a:pt x="35" y="813"/>
                    </a:lnTo>
                    <a:lnTo>
                      <a:pt x="50" y="812"/>
                    </a:lnTo>
                    <a:lnTo>
                      <a:pt x="66" y="814"/>
                    </a:lnTo>
                    <a:lnTo>
                      <a:pt x="85" y="827"/>
                    </a:lnTo>
                    <a:lnTo>
                      <a:pt x="100" y="832"/>
                    </a:lnTo>
                    <a:lnTo>
                      <a:pt x="111" y="822"/>
                    </a:lnTo>
                    <a:lnTo>
                      <a:pt x="111" y="808"/>
                    </a:lnTo>
                    <a:lnTo>
                      <a:pt x="104" y="795"/>
                    </a:lnTo>
                    <a:lnTo>
                      <a:pt x="94" y="793"/>
                    </a:lnTo>
                    <a:lnTo>
                      <a:pt x="78" y="795"/>
                    </a:lnTo>
                    <a:lnTo>
                      <a:pt x="61" y="795"/>
                    </a:lnTo>
                    <a:lnTo>
                      <a:pt x="44" y="790"/>
                    </a:lnTo>
                    <a:lnTo>
                      <a:pt x="32" y="787"/>
                    </a:lnTo>
                    <a:lnTo>
                      <a:pt x="37" y="763"/>
                    </a:lnTo>
                    <a:lnTo>
                      <a:pt x="39" y="751"/>
                    </a:lnTo>
                    <a:lnTo>
                      <a:pt x="52" y="749"/>
                    </a:lnTo>
                    <a:lnTo>
                      <a:pt x="67" y="752"/>
                    </a:lnTo>
                    <a:lnTo>
                      <a:pt x="93" y="756"/>
                    </a:lnTo>
                    <a:lnTo>
                      <a:pt x="100" y="745"/>
                    </a:lnTo>
                    <a:lnTo>
                      <a:pt x="92" y="737"/>
                    </a:lnTo>
                    <a:lnTo>
                      <a:pt x="87" y="737"/>
                    </a:lnTo>
                    <a:lnTo>
                      <a:pt x="71" y="735"/>
                    </a:lnTo>
                    <a:lnTo>
                      <a:pt x="59" y="726"/>
                    </a:lnTo>
                    <a:lnTo>
                      <a:pt x="58" y="718"/>
                    </a:lnTo>
                    <a:lnTo>
                      <a:pt x="78" y="715"/>
                    </a:lnTo>
                    <a:lnTo>
                      <a:pt x="100" y="732"/>
                    </a:lnTo>
                    <a:lnTo>
                      <a:pt x="112" y="716"/>
                    </a:lnTo>
                    <a:lnTo>
                      <a:pt x="108" y="707"/>
                    </a:lnTo>
                    <a:lnTo>
                      <a:pt x="91" y="701"/>
                    </a:lnTo>
                    <a:lnTo>
                      <a:pt x="100" y="686"/>
                    </a:lnTo>
                    <a:lnTo>
                      <a:pt x="115" y="693"/>
                    </a:lnTo>
                    <a:lnTo>
                      <a:pt x="130" y="698"/>
                    </a:lnTo>
                    <a:lnTo>
                      <a:pt x="138" y="687"/>
                    </a:lnTo>
                    <a:lnTo>
                      <a:pt x="133" y="675"/>
                    </a:lnTo>
                    <a:lnTo>
                      <a:pt x="124" y="675"/>
                    </a:lnTo>
                    <a:lnTo>
                      <a:pt x="120" y="665"/>
                    </a:lnTo>
                    <a:lnTo>
                      <a:pt x="128" y="661"/>
                    </a:lnTo>
                    <a:lnTo>
                      <a:pt x="143" y="668"/>
                    </a:lnTo>
                    <a:lnTo>
                      <a:pt x="160" y="675"/>
                    </a:lnTo>
                    <a:lnTo>
                      <a:pt x="174" y="659"/>
                    </a:lnTo>
                    <a:lnTo>
                      <a:pt x="179" y="643"/>
                    </a:lnTo>
                    <a:lnTo>
                      <a:pt x="181" y="632"/>
                    </a:lnTo>
                    <a:lnTo>
                      <a:pt x="194" y="637"/>
                    </a:lnTo>
                    <a:lnTo>
                      <a:pt x="212" y="641"/>
                    </a:lnTo>
                    <a:lnTo>
                      <a:pt x="217" y="632"/>
                    </a:lnTo>
                    <a:lnTo>
                      <a:pt x="228" y="644"/>
                    </a:lnTo>
                    <a:lnTo>
                      <a:pt x="245" y="654"/>
                    </a:lnTo>
                    <a:lnTo>
                      <a:pt x="265" y="641"/>
                    </a:lnTo>
                    <a:lnTo>
                      <a:pt x="277" y="627"/>
                    </a:lnTo>
                    <a:lnTo>
                      <a:pt x="277" y="615"/>
                    </a:lnTo>
                    <a:lnTo>
                      <a:pt x="271" y="605"/>
                    </a:lnTo>
                    <a:lnTo>
                      <a:pt x="254" y="620"/>
                    </a:lnTo>
                    <a:lnTo>
                      <a:pt x="239" y="625"/>
                    </a:lnTo>
                    <a:lnTo>
                      <a:pt x="227" y="616"/>
                    </a:lnTo>
                    <a:lnTo>
                      <a:pt x="251" y="595"/>
                    </a:lnTo>
                    <a:lnTo>
                      <a:pt x="272" y="571"/>
                    </a:lnTo>
                    <a:lnTo>
                      <a:pt x="282" y="552"/>
                    </a:lnTo>
                    <a:lnTo>
                      <a:pt x="291" y="551"/>
                    </a:lnTo>
                    <a:lnTo>
                      <a:pt x="304" y="552"/>
                    </a:lnTo>
                    <a:lnTo>
                      <a:pt x="315" y="532"/>
                    </a:lnTo>
                    <a:lnTo>
                      <a:pt x="328" y="507"/>
                    </a:lnTo>
                    <a:lnTo>
                      <a:pt x="334" y="485"/>
                    </a:lnTo>
                    <a:lnTo>
                      <a:pt x="348" y="485"/>
                    </a:lnTo>
                    <a:lnTo>
                      <a:pt x="357" y="473"/>
                    </a:lnTo>
                    <a:lnTo>
                      <a:pt x="344" y="468"/>
                    </a:lnTo>
                    <a:lnTo>
                      <a:pt x="358" y="449"/>
                    </a:lnTo>
                    <a:lnTo>
                      <a:pt x="374" y="437"/>
                    </a:lnTo>
                    <a:lnTo>
                      <a:pt x="388" y="423"/>
                    </a:lnTo>
                    <a:lnTo>
                      <a:pt x="403" y="414"/>
                    </a:lnTo>
                    <a:lnTo>
                      <a:pt x="400" y="402"/>
                    </a:lnTo>
                    <a:lnTo>
                      <a:pt x="390" y="407"/>
                    </a:lnTo>
                    <a:lnTo>
                      <a:pt x="375" y="412"/>
                    </a:lnTo>
                    <a:lnTo>
                      <a:pt x="385" y="395"/>
                    </a:lnTo>
                    <a:lnTo>
                      <a:pt x="391" y="384"/>
                    </a:lnTo>
                    <a:lnTo>
                      <a:pt x="400" y="375"/>
                    </a:lnTo>
                    <a:lnTo>
                      <a:pt x="403" y="358"/>
                    </a:lnTo>
                    <a:lnTo>
                      <a:pt x="422" y="358"/>
                    </a:lnTo>
                    <a:lnTo>
                      <a:pt x="448" y="347"/>
                    </a:lnTo>
                    <a:lnTo>
                      <a:pt x="461" y="329"/>
                    </a:lnTo>
                    <a:lnTo>
                      <a:pt x="455" y="322"/>
                    </a:lnTo>
                    <a:lnTo>
                      <a:pt x="441" y="327"/>
                    </a:lnTo>
                    <a:lnTo>
                      <a:pt x="446" y="315"/>
                    </a:lnTo>
                    <a:lnTo>
                      <a:pt x="456" y="302"/>
                    </a:lnTo>
                    <a:lnTo>
                      <a:pt x="472" y="297"/>
                    </a:lnTo>
                    <a:lnTo>
                      <a:pt x="477" y="289"/>
                    </a:lnTo>
                    <a:lnTo>
                      <a:pt x="467" y="274"/>
                    </a:lnTo>
                    <a:lnTo>
                      <a:pt x="464" y="269"/>
                    </a:lnTo>
                    <a:lnTo>
                      <a:pt x="454" y="269"/>
                    </a:lnTo>
                    <a:lnTo>
                      <a:pt x="482" y="245"/>
                    </a:lnTo>
                    <a:lnTo>
                      <a:pt x="489" y="260"/>
                    </a:lnTo>
                    <a:lnTo>
                      <a:pt x="499" y="262"/>
                    </a:lnTo>
                    <a:lnTo>
                      <a:pt x="503" y="242"/>
                    </a:lnTo>
                    <a:lnTo>
                      <a:pt x="518" y="228"/>
                    </a:lnTo>
                    <a:lnTo>
                      <a:pt x="528" y="234"/>
                    </a:lnTo>
                    <a:lnTo>
                      <a:pt x="542" y="223"/>
                    </a:lnTo>
                    <a:lnTo>
                      <a:pt x="538" y="212"/>
                    </a:lnTo>
                    <a:lnTo>
                      <a:pt x="549" y="197"/>
                    </a:lnTo>
                    <a:lnTo>
                      <a:pt x="566" y="181"/>
                    </a:lnTo>
                    <a:lnTo>
                      <a:pt x="580" y="168"/>
                    </a:lnTo>
                    <a:lnTo>
                      <a:pt x="590" y="156"/>
                    </a:lnTo>
                    <a:lnTo>
                      <a:pt x="597" y="167"/>
                    </a:lnTo>
                    <a:lnTo>
                      <a:pt x="616" y="151"/>
                    </a:lnTo>
                    <a:lnTo>
                      <a:pt x="610" y="142"/>
                    </a:lnTo>
                    <a:lnTo>
                      <a:pt x="620" y="132"/>
                    </a:lnTo>
                    <a:lnTo>
                      <a:pt x="631" y="142"/>
                    </a:lnTo>
                    <a:lnTo>
                      <a:pt x="643" y="131"/>
                    </a:lnTo>
                    <a:lnTo>
                      <a:pt x="661" y="122"/>
                    </a:lnTo>
                    <a:lnTo>
                      <a:pt x="668" y="127"/>
                    </a:lnTo>
                    <a:lnTo>
                      <a:pt x="686" y="100"/>
                    </a:lnTo>
                    <a:lnTo>
                      <a:pt x="707" y="83"/>
                    </a:lnTo>
                    <a:lnTo>
                      <a:pt x="715" y="97"/>
                    </a:lnTo>
                    <a:lnTo>
                      <a:pt x="737" y="68"/>
                    </a:lnTo>
                    <a:lnTo>
                      <a:pt x="761" y="33"/>
                    </a:lnTo>
                    <a:lnTo>
                      <a:pt x="794" y="14"/>
                    </a:lnTo>
                    <a:lnTo>
                      <a:pt x="783" y="53"/>
                    </a:lnTo>
                    <a:lnTo>
                      <a:pt x="766" y="83"/>
                    </a:lnTo>
                    <a:lnTo>
                      <a:pt x="787" y="84"/>
                    </a:lnTo>
                    <a:lnTo>
                      <a:pt x="808" y="54"/>
                    </a:lnTo>
                    <a:lnTo>
                      <a:pt x="817" y="34"/>
                    </a:lnTo>
                    <a:lnTo>
                      <a:pt x="827" y="20"/>
                    </a:lnTo>
                    <a:lnTo>
                      <a:pt x="835" y="21"/>
                    </a:lnTo>
                    <a:lnTo>
                      <a:pt x="835" y="41"/>
                    </a:lnTo>
                    <a:lnTo>
                      <a:pt x="843" y="24"/>
                    </a:lnTo>
                    <a:lnTo>
                      <a:pt x="848" y="7"/>
                    </a:lnTo>
                    <a:lnTo>
                      <a:pt x="862" y="2"/>
                    </a:lnTo>
                    <a:lnTo>
                      <a:pt x="876" y="0"/>
                    </a:lnTo>
                    <a:lnTo>
                      <a:pt x="862" y="27"/>
                    </a:lnTo>
                    <a:lnTo>
                      <a:pt x="861" y="46"/>
                    </a:lnTo>
                    <a:lnTo>
                      <a:pt x="873" y="41"/>
                    </a:lnTo>
                    <a:lnTo>
                      <a:pt x="890" y="23"/>
                    </a:lnTo>
                    <a:lnTo>
                      <a:pt x="909" y="29"/>
                    </a:lnTo>
                    <a:lnTo>
                      <a:pt x="923" y="36"/>
                    </a:lnTo>
                    <a:lnTo>
                      <a:pt x="941" y="49"/>
                    </a:lnTo>
                    <a:lnTo>
                      <a:pt x="945" y="57"/>
                    </a:lnTo>
                    <a:lnTo>
                      <a:pt x="924" y="82"/>
                    </a:lnTo>
                    <a:lnTo>
                      <a:pt x="904" y="85"/>
                    </a:lnTo>
                    <a:lnTo>
                      <a:pt x="888" y="81"/>
                    </a:lnTo>
                    <a:lnTo>
                      <a:pt x="893" y="95"/>
                    </a:lnTo>
                    <a:lnTo>
                      <a:pt x="907" y="103"/>
                    </a:lnTo>
                    <a:lnTo>
                      <a:pt x="914" y="103"/>
                    </a:lnTo>
                    <a:lnTo>
                      <a:pt x="923" y="118"/>
                    </a:lnTo>
                    <a:lnTo>
                      <a:pt x="926" y="127"/>
                    </a:lnTo>
                    <a:lnTo>
                      <a:pt x="915" y="151"/>
                    </a:lnTo>
                    <a:lnTo>
                      <a:pt x="893" y="187"/>
                    </a:lnTo>
                    <a:lnTo>
                      <a:pt x="881" y="181"/>
                    </a:lnTo>
                    <a:lnTo>
                      <a:pt x="893" y="149"/>
                    </a:lnTo>
                    <a:lnTo>
                      <a:pt x="891" y="125"/>
                    </a:lnTo>
                    <a:lnTo>
                      <a:pt x="851" y="105"/>
                    </a:lnTo>
                    <a:lnTo>
                      <a:pt x="831" y="98"/>
                    </a:lnTo>
                    <a:lnTo>
                      <a:pt x="797" y="130"/>
                    </a:lnTo>
                    <a:lnTo>
                      <a:pt x="795" y="161"/>
                    </a:lnTo>
                    <a:lnTo>
                      <a:pt x="781" y="188"/>
                    </a:lnTo>
                    <a:lnTo>
                      <a:pt x="764" y="197"/>
                    </a:lnTo>
                    <a:lnTo>
                      <a:pt x="747" y="215"/>
                    </a:lnTo>
                    <a:lnTo>
                      <a:pt x="721" y="197"/>
                    </a:lnTo>
                    <a:lnTo>
                      <a:pt x="701" y="210"/>
                    </a:lnTo>
                    <a:lnTo>
                      <a:pt x="658" y="165"/>
                    </a:lnTo>
                    <a:lnTo>
                      <a:pt x="645" y="183"/>
                    </a:lnTo>
                    <a:lnTo>
                      <a:pt x="628" y="189"/>
                    </a:lnTo>
                    <a:lnTo>
                      <a:pt x="628" y="213"/>
                    </a:lnTo>
                    <a:lnTo>
                      <a:pt x="614" y="233"/>
                    </a:lnTo>
                    <a:lnTo>
                      <a:pt x="561" y="242"/>
                    </a:lnTo>
                    <a:lnTo>
                      <a:pt x="556" y="259"/>
                    </a:lnTo>
                    <a:lnTo>
                      <a:pt x="538" y="278"/>
                    </a:lnTo>
                    <a:lnTo>
                      <a:pt x="525" y="299"/>
                    </a:lnTo>
                    <a:lnTo>
                      <a:pt x="503" y="324"/>
                    </a:lnTo>
                    <a:lnTo>
                      <a:pt x="482" y="358"/>
                    </a:lnTo>
                    <a:lnTo>
                      <a:pt x="460" y="386"/>
                    </a:lnTo>
                    <a:lnTo>
                      <a:pt x="448" y="417"/>
                    </a:lnTo>
                    <a:lnTo>
                      <a:pt x="433" y="435"/>
                    </a:lnTo>
                    <a:lnTo>
                      <a:pt x="417" y="481"/>
                    </a:lnTo>
                    <a:lnTo>
                      <a:pt x="403" y="518"/>
                    </a:lnTo>
                    <a:lnTo>
                      <a:pt x="386" y="568"/>
                    </a:lnTo>
                    <a:lnTo>
                      <a:pt x="396" y="593"/>
                    </a:lnTo>
                    <a:lnTo>
                      <a:pt x="381" y="614"/>
                    </a:lnTo>
                    <a:lnTo>
                      <a:pt x="357" y="605"/>
                    </a:lnTo>
                    <a:lnTo>
                      <a:pt x="329" y="629"/>
                    </a:lnTo>
                    <a:lnTo>
                      <a:pt x="304" y="657"/>
                    </a:lnTo>
                    <a:lnTo>
                      <a:pt x="305" y="753"/>
                    </a:lnTo>
                    <a:lnTo>
                      <a:pt x="304" y="805"/>
                    </a:lnTo>
                    <a:lnTo>
                      <a:pt x="311" y="818"/>
                    </a:lnTo>
                    <a:lnTo>
                      <a:pt x="318" y="831"/>
                    </a:lnTo>
                    <a:lnTo>
                      <a:pt x="301" y="848"/>
                    </a:lnTo>
                    <a:lnTo>
                      <a:pt x="292" y="906"/>
                    </a:lnTo>
                    <a:lnTo>
                      <a:pt x="284" y="959"/>
                    </a:lnTo>
                    <a:lnTo>
                      <a:pt x="277" y="968"/>
                    </a:lnTo>
                    <a:lnTo>
                      <a:pt x="271" y="975"/>
                    </a:lnTo>
                    <a:lnTo>
                      <a:pt x="271" y="1004"/>
                    </a:lnTo>
                    <a:lnTo>
                      <a:pt x="260" y="1005"/>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95" name="Freeform 33"/>
              <p:cNvSpPr>
                <a:spLocks noChangeAspect="1"/>
              </p:cNvSpPr>
              <p:nvPr/>
            </p:nvSpPr>
            <p:spPr bwMode="auto">
              <a:xfrm>
                <a:off x="3653540" y="3678433"/>
                <a:ext cx="346120" cy="327578"/>
              </a:xfrm>
              <a:custGeom>
                <a:avLst/>
                <a:gdLst>
                  <a:gd name="T0" fmla="*/ 0 w 236"/>
                  <a:gd name="T1" fmla="*/ 185 h 223"/>
                  <a:gd name="T2" fmla="*/ 19 w 236"/>
                  <a:gd name="T3" fmla="*/ 168 h 223"/>
                  <a:gd name="T4" fmla="*/ 45 w 236"/>
                  <a:gd name="T5" fmla="*/ 173 h 223"/>
                  <a:gd name="T6" fmla="*/ 65 w 236"/>
                  <a:gd name="T7" fmla="*/ 172 h 223"/>
                  <a:gd name="T8" fmla="*/ 87 w 236"/>
                  <a:gd name="T9" fmla="*/ 162 h 223"/>
                  <a:gd name="T10" fmla="*/ 83 w 236"/>
                  <a:gd name="T11" fmla="*/ 139 h 223"/>
                  <a:gd name="T12" fmla="*/ 75 w 236"/>
                  <a:gd name="T13" fmla="*/ 133 h 223"/>
                  <a:gd name="T14" fmla="*/ 103 w 236"/>
                  <a:gd name="T15" fmla="*/ 95 h 223"/>
                  <a:gd name="T16" fmla="*/ 115 w 236"/>
                  <a:gd name="T17" fmla="*/ 68 h 223"/>
                  <a:gd name="T18" fmla="*/ 127 w 236"/>
                  <a:gd name="T19" fmla="*/ 44 h 223"/>
                  <a:gd name="T20" fmla="*/ 140 w 236"/>
                  <a:gd name="T21" fmla="*/ 12 h 223"/>
                  <a:gd name="T22" fmla="*/ 146 w 236"/>
                  <a:gd name="T23" fmla="*/ 0 h 223"/>
                  <a:gd name="T24" fmla="*/ 164 w 236"/>
                  <a:gd name="T25" fmla="*/ 7 h 223"/>
                  <a:gd name="T26" fmla="*/ 155 w 236"/>
                  <a:gd name="T27" fmla="*/ 20 h 223"/>
                  <a:gd name="T28" fmla="*/ 148 w 236"/>
                  <a:gd name="T29" fmla="*/ 37 h 223"/>
                  <a:gd name="T30" fmla="*/ 149 w 236"/>
                  <a:gd name="T31" fmla="*/ 55 h 223"/>
                  <a:gd name="T32" fmla="*/ 142 w 236"/>
                  <a:gd name="T33" fmla="*/ 69 h 223"/>
                  <a:gd name="T34" fmla="*/ 139 w 236"/>
                  <a:gd name="T35" fmla="*/ 82 h 223"/>
                  <a:gd name="T36" fmla="*/ 146 w 236"/>
                  <a:gd name="T37" fmla="*/ 95 h 223"/>
                  <a:gd name="T38" fmla="*/ 164 w 236"/>
                  <a:gd name="T39" fmla="*/ 100 h 223"/>
                  <a:gd name="T40" fmla="*/ 189 w 236"/>
                  <a:gd name="T41" fmla="*/ 83 h 223"/>
                  <a:gd name="T42" fmla="*/ 191 w 236"/>
                  <a:gd name="T43" fmla="*/ 71 h 223"/>
                  <a:gd name="T44" fmla="*/ 176 w 236"/>
                  <a:gd name="T45" fmla="*/ 67 h 223"/>
                  <a:gd name="T46" fmla="*/ 183 w 236"/>
                  <a:gd name="T47" fmla="*/ 49 h 223"/>
                  <a:gd name="T48" fmla="*/ 177 w 236"/>
                  <a:gd name="T49" fmla="*/ 44 h 223"/>
                  <a:gd name="T50" fmla="*/ 180 w 236"/>
                  <a:gd name="T51" fmla="*/ 23 h 223"/>
                  <a:gd name="T52" fmla="*/ 197 w 236"/>
                  <a:gd name="T53" fmla="*/ 18 h 223"/>
                  <a:gd name="T54" fmla="*/ 215 w 236"/>
                  <a:gd name="T55" fmla="*/ 17 h 223"/>
                  <a:gd name="T56" fmla="*/ 235 w 236"/>
                  <a:gd name="T57" fmla="*/ 18 h 223"/>
                  <a:gd name="T58" fmla="*/ 254 w 236"/>
                  <a:gd name="T59" fmla="*/ 18 h 223"/>
                  <a:gd name="T60" fmla="*/ 265 w 236"/>
                  <a:gd name="T61" fmla="*/ 15 h 223"/>
                  <a:gd name="T62" fmla="*/ 280 w 236"/>
                  <a:gd name="T63" fmla="*/ 30 h 223"/>
                  <a:gd name="T64" fmla="*/ 279 w 236"/>
                  <a:gd name="T65" fmla="*/ 55 h 223"/>
                  <a:gd name="T66" fmla="*/ 267 w 236"/>
                  <a:gd name="T67" fmla="*/ 81 h 223"/>
                  <a:gd name="T68" fmla="*/ 257 w 236"/>
                  <a:gd name="T69" fmla="*/ 99 h 223"/>
                  <a:gd name="T70" fmla="*/ 241 w 236"/>
                  <a:gd name="T71" fmla="*/ 92 h 223"/>
                  <a:gd name="T72" fmla="*/ 237 w 236"/>
                  <a:gd name="T73" fmla="*/ 109 h 223"/>
                  <a:gd name="T74" fmla="*/ 254 w 236"/>
                  <a:gd name="T75" fmla="*/ 121 h 223"/>
                  <a:gd name="T76" fmla="*/ 246 w 236"/>
                  <a:gd name="T77" fmla="*/ 143 h 223"/>
                  <a:gd name="T78" fmla="*/ 229 w 236"/>
                  <a:gd name="T79" fmla="*/ 162 h 223"/>
                  <a:gd name="T80" fmla="*/ 215 w 236"/>
                  <a:gd name="T81" fmla="*/ 172 h 223"/>
                  <a:gd name="T82" fmla="*/ 198 w 236"/>
                  <a:gd name="T83" fmla="*/ 158 h 223"/>
                  <a:gd name="T84" fmla="*/ 178 w 236"/>
                  <a:gd name="T85" fmla="*/ 175 h 223"/>
                  <a:gd name="T86" fmla="*/ 186 w 236"/>
                  <a:gd name="T87" fmla="*/ 187 h 223"/>
                  <a:gd name="T88" fmla="*/ 195 w 236"/>
                  <a:gd name="T89" fmla="*/ 206 h 223"/>
                  <a:gd name="T90" fmla="*/ 174 w 236"/>
                  <a:gd name="T91" fmla="*/ 226 h 223"/>
                  <a:gd name="T92" fmla="*/ 158 w 236"/>
                  <a:gd name="T93" fmla="*/ 238 h 223"/>
                  <a:gd name="T94" fmla="*/ 166 w 236"/>
                  <a:gd name="T95" fmla="*/ 260 h 223"/>
                  <a:gd name="T96" fmla="*/ 155 w 236"/>
                  <a:gd name="T97" fmla="*/ 261 h 223"/>
                  <a:gd name="T98" fmla="*/ 140 w 236"/>
                  <a:gd name="T99" fmla="*/ 265 h 223"/>
                  <a:gd name="T100" fmla="*/ 138 w 236"/>
                  <a:gd name="T101" fmla="*/ 242 h 223"/>
                  <a:gd name="T102" fmla="*/ 135 w 236"/>
                  <a:gd name="T103" fmla="*/ 223 h 223"/>
                  <a:gd name="T104" fmla="*/ 135 w 236"/>
                  <a:gd name="T105" fmla="*/ 207 h 223"/>
                  <a:gd name="T106" fmla="*/ 121 w 236"/>
                  <a:gd name="T107" fmla="*/ 203 h 223"/>
                  <a:gd name="T108" fmla="*/ 104 w 236"/>
                  <a:gd name="T109" fmla="*/ 197 h 223"/>
                  <a:gd name="T110" fmla="*/ 93 w 236"/>
                  <a:gd name="T111" fmla="*/ 195 h 223"/>
                  <a:gd name="T112" fmla="*/ 87 w 236"/>
                  <a:gd name="T113" fmla="*/ 190 h 223"/>
                  <a:gd name="T114" fmla="*/ 63 w 236"/>
                  <a:gd name="T115" fmla="*/ 198 h 223"/>
                  <a:gd name="T116" fmla="*/ 46 w 236"/>
                  <a:gd name="T117" fmla="*/ 216 h 223"/>
                  <a:gd name="T118" fmla="*/ 31 w 236"/>
                  <a:gd name="T119" fmla="*/ 212 h 223"/>
                  <a:gd name="T120" fmla="*/ 15 w 236"/>
                  <a:gd name="T121" fmla="*/ 206 h 223"/>
                  <a:gd name="T122" fmla="*/ 5 w 236"/>
                  <a:gd name="T123" fmla="*/ 193 h 223"/>
                  <a:gd name="T124" fmla="*/ 0 w 236"/>
                  <a:gd name="T125" fmla="*/ 185 h 22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6"/>
                  <a:gd name="T190" fmla="*/ 0 h 223"/>
                  <a:gd name="T191" fmla="*/ 236 w 236"/>
                  <a:gd name="T192" fmla="*/ 223 h 22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6" h="223">
                    <a:moveTo>
                      <a:pt x="0" y="156"/>
                    </a:moveTo>
                    <a:lnTo>
                      <a:pt x="16" y="141"/>
                    </a:lnTo>
                    <a:lnTo>
                      <a:pt x="38" y="146"/>
                    </a:lnTo>
                    <a:lnTo>
                      <a:pt x="55" y="145"/>
                    </a:lnTo>
                    <a:lnTo>
                      <a:pt x="73" y="136"/>
                    </a:lnTo>
                    <a:lnTo>
                      <a:pt x="70" y="117"/>
                    </a:lnTo>
                    <a:lnTo>
                      <a:pt x="63" y="112"/>
                    </a:lnTo>
                    <a:lnTo>
                      <a:pt x="87" y="80"/>
                    </a:lnTo>
                    <a:lnTo>
                      <a:pt x="97" y="57"/>
                    </a:lnTo>
                    <a:lnTo>
                      <a:pt x="107" y="37"/>
                    </a:lnTo>
                    <a:lnTo>
                      <a:pt x="118" y="10"/>
                    </a:lnTo>
                    <a:lnTo>
                      <a:pt x="123" y="0"/>
                    </a:lnTo>
                    <a:lnTo>
                      <a:pt x="138" y="6"/>
                    </a:lnTo>
                    <a:lnTo>
                      <a:pt x="131" y="17"/>
                    </a:lnTo>
                    <a:lnTo>
                      <a:pt x="125" y="31"/>
                    </a:lnTo>
                    <a:lnTo>
                      <a:pt x="126" y="46"/>
                    </a:lnTo>
                    <a:lnTo>
                      <a:pt x="120" y="58"/>
                    </a:lnTo>
                    <a:lnTo>
                      <a:pt x="117" y="69"/>
                    </a:lnTo>
                    <a:lnTo>
                      <a:pt x="123" y="80"/>
                    </a:lnTo>
                    <a:lnTo>
                      <a:pt x="138" y="84"/>
                    </a:lnTo>
                    <a:lnTo>
                      <a:pt x="159" y="70"/>
                    </a:lnTo>
                    <a:lnTo>
                      <a:pt x="161" y="60"/>
                    </a:lnTo>
                    <a:lnTo>
                      <a:pt x="148" y="56"/>
                    </a:lnTo>
                    <a:lnTo>
                      <a:pt x="154" y="41"/>
                    </a:lnTo>
                    <a:lnTo>
                      <a:pt x="149" y="37"/>
                    </a:lnTo>
                    <a:lnTo>
                      <a:pt x="152" y="19"/>
                    </a:lnTo>
                    <a:lnTo>
                      <a:pt x="166" y="15"/>
                    </a:lnTo>
                    <a:lnTo>
                      <a:pt x="181" y="14"/>
                    </a:lnTo>
                    <a:lnTo>
                      <a:pt x="198" y="15"/>
                    </a:lnTo>
                    <a:lnTo>
                      <a:pt x="214" y="15"/>
                    </a:lnTo>
                    <a:lnTo>
                      <a:pt x="223" y="13"/>
                    </a:lnTo>
                    <a:lnTo>
                      <a:pt x="236" y="25"/>
                    </a:lnTo>
                    <a:lnTo>
                      <a:pt x="235" y="46"/>
                    </a:lnTo>
                    <a:lnTo>
                      <a:pt x="225" y="68"/>
                    </a:lnTo>
                    <a:lnTo>
                      <a:pt x="217" y="83"/>
                    </a:lnTo>
                    <a:lnTo>
                      <a:pt x="203" y="77"/>
                    </a:lnTo>
                    <a:lnTo>
                      <a:pt x="200" y="92"/>
                    </a:lnTo>
                    <a:lnTo>
                      <a:pt x="214" y="102"/>
                    </a:lnTo>
                    <a:lnTo>
                      <a:pt x="207" y="120"/>
                    </a:lnTo>
                    <a:lnTo>
                      <a:pt x="193" y="136"/>
                    </a:lnTo>
                    <a:lnTo>
                      <a:pt x="181" y="145"/>
                    </a:lnTo>
                    <a:lnTo>
                      <a:pt x="167" y="133"/>
                    </a:lnTo>
                    <a:lnTo>
                      <a:pt x="150" y="147"/>
                    </a:lnTo>
                    <a:lnTo>
                      <a:pt x="157" y="157"/>
                    </a:lnTo>
                    <a:lnTo>
                      <a:pt x="164" y="173"/>
                    </a:lnTo>
                    <a:lnTo>
                      <a:pt x="147" y="190"/>
                    </a:lnTo>
                    <a:lnTo>
                      <a:pt x="133" y="200"/>
                    </a:lnTo>
                    <a:lnTo>
                      <a:pt x="140" y="219"/>
                    </a:lnTo>
                    <a:lnTo>
                      <a:pt x="131" y="220"/>
                    </a:lnTo>
                    <a:lnTo>
                      <a:pt x="118" y="223"/>
                    </a:lnTo>
                    <a:lnTo>
                      <a:pt x="116" y="204"/>
                    </a:lnTo>
                    <a:lnTo>
                      <a:pt x="114" y="188"/>
                    </a:lnTo>
                    <a:lnTo>
                      <a:pt x="114" y="174"/>
                    </a:lnTo>
                    <a:lnTo>
                      <a:pt x="102" y="171"/>
                    </a:lnTo>
                    <a:lnTo>
                      <a:pt x="88" y="166"/>
                    </a:lnTo>
                    <a:lnTo>
                      <a:pt x="78" y="164"/>
                    </a:lnTo>
                    <a:lnTo>
                      <a:pt x="73" y="160"/>
                    </a:lnTo>
                    <a:lnTo>
                      <a:pt x="53" y="167"/>
                    </a:lnTo>
                    <a:lnTo>
                      <a:pt x="39" y="182"/>
                    </a:lnTo>
                    <a:lnTo>
                      <a:pt x="26" y="178"/>
                    </a:lnTo>
                    <a:lnTo>
                      <a:pt x="13" y="173"/>
                    </a:lnTo>
                    <a:lnTo>
                      <a:pt x="4" y="162"/>
                    </a:lnTo>
                    <a:lnTo>
                      <a:pt x="0" y="156"/>
                    </a:lnTo>
                    <a:close/>
                  </a:path>
                </a:pathLst>
              </a:custGeom>
              <a:pattFill prst="wdDnDiag">
                <a:fgClr>
                  <a:srgbClr val="1D8C9B"/>
                </a:fgClr>
                <a:bgClr>
                  <a:srgbClr val="DCDCDC"/>
                </a:bgClr>
              </a:patt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96" name="Freeform 34"/>
              <p:cNvSpPr>
                <a:spLocks noChangeAspect="1"/>
              </p:cNvSpPr>
              <p:nvPr/>
            </p:nvSpPr>
            <p:spPr bwMode="auto">
              <a:xfrm>
                <a:off x="2241864" y="4719266"/>
                <a:ext cx="398038" cy="602002"/>
              </a:xfrm>
              <a:custGeom>
                <a:avLst/>
                <a:gdLst>
                  <a:gd name="T0" fmla="*/ 151 w 271"/>
                  <a:gd name="T1" fmla="*/ 476 h 410"/>
                  <a:gd name="T2" fmla="*/ 108 w 271"/>
                  <a:gd name="T3" fmla="*/ 479 h 410"/>
                  <a:gd name="T4" fmla="*/ 68 w 271"/>
                  <a:gd name="T5" fmla="*/ 485 h 410"/>
                  <a:gd name="T6" fmla="*/ 52 w 271"/>
                  <a:gd name="T7" fmla="*/ 487 h 410"/>
                  <a:gd name="T8" fmla="*/ 25 w 271"/>
                  <a:gd name="T9" fmla="*/ 469 h 410"/>
                  <a:gd name="T10" fmla="*/ 0 w 271"/>
                  <a:gd name="T11" fmla="*/ 457 h 410"/>
                  <a:gd name="T12" fmla="*/ 19 w 271"/>
                  <a:gd name="T13" fmla="*/ 416 h 410"/>
                  <a:gd name="T14" fmla="*/ 30 w 271"/>
                  <a:gd name="T15" fmla="*/ 381 h 410"/>
                  <a:gd name="T16" fmla="*/ 43 w 271"/>
                  <a:gd name="T17" fmla="*/ 329 h 410"/>
                  <a:gd name="T18" fmla="*/ 25 w 271"/>
                  <a:gd name="T19" fmla="*/ 320 h 410"/>
                  <a:gd name="T20" fmla="*/ 23 w 271"/>
                  <a:gd name="T21" fmla="*/ 306 h 410"/>
                  <a:gd name="T22" fmla="*/ 33 w 271"/>
                  <a:gd name="T23" fmla="*/ 298 h 410"/>
                  <a:gd name="T24" fmla="*/ 30 w 271"/>
                  <a:gd name="T25" fmla="*/ 287 h 410"/>
                  <a:gd name="T26" fmla="*/ 12 w 271"/>
                  <a:gd name="T27" fmla="*/ 284 h 410"/>
                  <a:gd name="T28" fmla="*/ 20 w 271"/>
                  <a:gd name="T29" fmla="*/ 261 h 410"/>
                  <a:gd name="T30" fmla="*/ 48 w 271"/>
                  <a:gd name="T31" fmla="*/ 219 h 410"/>
                  <a:gd name="T32" fmla="*/ 82 w 271"/>
                  <a:gd name="T33" fmla="*/ 186 h 410"/>
                  <a:gd name="T34" fmla="*/ 120 w 271"/>
                  <a:gd name="T35" fmla="*/ 148 h 410"/>
                  <a:gd name="T36" fmla="*/ 133 w 271"/>
                  <a:gd name="T37" fmla="*/ 74 h 410"/>
                  <a:gd name="T38" fmla="*/ 143 w 271"/>
                  <a:gd name="T39" fmla="*/ 21 h 410"/>
                  <a:gd name="T40" fmla="*/ 145 w 271"/>
                  <a:gd name="T41" fmla="*/ 0 h 410"/>
                  <a:gd name="T42" fmla="*/ 171 w 271"/>
                  <a:gd name="T43" fmla="*/ 11 h 410"/>
                  <a:gd name="T44" fmla="*/ 191 w 271"/>
                  <a:gd name="T45" fmla="*/ 17 h 410"/>
                  <a:gd name="T46" fmla="*/ 202 w 271"/>
                  <a:gd name="T47" fmla="*/ 34 h 410"/>
                  <a:gd name="T48" fmla="*/ 223 w 271"/>
                  <a:gd name="T49" fmla="*/ 38 h 410"/>
                  <a:gd name="T50" fmla="*/ 236 w 271"/>
                  <a:gd name="T51" fmla="*/ 42 h 410"/>
                  <a:gd name="T52" fmla="*/ 240 w 271"/>
                  <a:gd name="T53" fmla="*/ 58 h 410"/>
                  <a:gd name="T54" fmla="*/ 239 w 271"/>
                  <a:gd name="T55" fmla="*/ 78 h 410"/>
                  <a:gd name="T56" fmla="*/ 245 w 271"/>
                  <a:gd name="T57" fmla="*/ 74 h 410"/>
                  <a:gd name="T58" fmla="*/ 279 w 271"/>
                  <a:gd name="T59" fmla="*/ 70 h 410"/>
                  <a:gd name="T60" fmla="*/ 303 w 271"/>
                  <a:gd name="T61" fmla="*/ 75 h 410"/>
                  <a:gd name="T62" fmla="*/ 316 w 271"/>
                  <a:gd name="T63" fmla="*/ 93 h 410"/>
                  <a:gd name="T64" fmla="*/ 316 w 271"/>
                  <a:gd name="T65" fmla="*/ 106 h 410"/>
                  <a:gd name="T66" fmla="*/ 322 w 271"/>
                  <a:gd name="T67" fmla="*/ 119 h 410"/>
                  <a:gd name="T68" fmla="*/ 320 w 271"/>
                  <a:gd name="T69" fmla="*/ 140 h 410"/>
                  <a:gd name="T70" fmla="*/ 308 w 271"/>
                  <a:gd name="T71" fmla="*/ 162 h 410"/>
                  <a:gd name="T72" fmla="*/ 288 w 271"/>
                  <a:gd name="T73" fmla="*/ 162 h 410"/>
                  <a:gd name="T74" fmla="*/ 264 w 271"/>
                  <a:gd name="T75" fmla="*/ 198 h 410"/>
                  <a:gd name="T76" fmla="*/ 254 w 271"/>
                  <a:gd name="T77" fmla="*/ 214 h 410"/>
                  <a:gd name="T78" fmla="*/ 244 w 271"/>
                  <a:gd name="T79" fmla="*/ 233 h 410"/>
                  <a:gd name="T80" fmla="*/ 229 w 271"/>
                  <a:gd name="T81" fmla="*/ 255 h 410"/>
                  <a:gd name="T82" fmla="*/ 206 w 271"/>
                  <a:gd name="T83" fmla="*/ 260 h 410"/>
                  <a:gd name="T84" fmla="*/ 192 w 271"/>
                  <a:gd name="T85" fmla="*/ 267 h 410"/>
                  <a:gd name="T86" fmla="*/ 201 w 271"/>
                  <a:gd name="T87" fmla="*/ 279 h 410"/>
                  <a:gd name="T88" fmla="*/ 213 w 271"/>
                  <a:gd name="T89" fmla="*/ 297 h 410"/>
                  <a:gd name="T90" fmla="*/ 201 w 271"/>
                  <a:gd name="T91" fmla="*/ 309 h 410"/>
                  <a:gd name="T92" fmla="*/ 188 w 271"/>
                  <a:gd name="T93" fmla="*/ 330 h 410"/>
                  <a:gd name="T94" fmla="*/ 173 w 271"/>
                  <a:gd name="T95" fmla="*/ 361 h 410"/>
                  <a:gd name="T96" fmla="*/ 163 w 271"/>
                  <a:gd name="T97" fmla="*/ 382 h 410"/>
                  <a:gd name="T98" fmla="*/ 181 w 271"/>
                  <a:gd name="T99" fmla="*/ 397 h 410"/>
                  <a:gd name="T100" fmla="*/ 159 w 271"/>
                  <a:gd name="T101" fmla="*/ 411 h 410"/>
                  <a:gd name="T102" fmla="*/ 140 w 271"/>
                  <a:gd name="T103" fmla="*/ 435 h 410"/>
                  <a:gd name="T104" fmla="*/ 130 w 271"/>
                  <a:gd name="T105" fmla="*/ 466 h 410"/>
                  <a:gd name="T106" fmla="*/ 151 w 271"/>
                  <a:gd name="T107" fmla="*/ 476 h 4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71"/>
                  <a:gd name="T163" fmla="*/ 0 h 410"/>
                  <a:gd name="T164" fmla="*/ 271 w 271"/>
                  <a:gd name="T165" fmla="*/ 410 h 4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71" h="410">
                    <a:moveTo>
                      <a:pt x="127" y="401"/>
                    </a:moveTo>
                    <a:lnTo>
                      <a:pt x="91" y="403"/>
                    </a:lnTo>
                    <a:lnTo>
                      <a:pt x="57" y="408"/>
                    </a:lnTo>
                    <a:lnTo>
                      <a:pt x="44" y="410"/>
                    </a:lnTo>
                    <a:lnTo>
                      <a:pt x="21" y="395"/>
                    </a:lnTo>
                    <a:lnTo>
                      <a:pt x="0" y="385"/>
                    </a:lnTo>
                    <a:lnTo>
                      <a:pt x="16" y="350"/>
                    </a:lnTo>
                    <a:lnTo>
                      <a:pt x="25" y="321"/>
                    </a:lnTo>
                    <a:lnTo>
                      <a:pt x="36" y="277"/>
                    </a:lnTo>
                    <a:lnTo>
                      <a:pt x="21" y="269"/>
                    </a:lnTo>
                    <a:lnTo>
                      <a:pt x="19" y="258"/>
                    </a:lnTo>
                    <a:lnTo>
                      <a:pt x="28" y="251"/>
                    </a:lnTo>
                    <a:lnTo>
                      <a:pt x="25" y="242"/>
                    </a:lnTo>
                    <a:lnTo>
                      <a:pt x="10" y="239"/>
                    </a:lnTo>
                    <a:lnTo>
                      <a:pt x="17" y="220"/>
                    </a:lnTo>
                    <a:lnTo>
                      <a:pt x="40" y="184"/>
                    </a:lnTo>
                    <a:lnTo>
                      <a:pt x="69" y="157"/>
                    </a:lnTo>
                    <a:lnTo>
                      <a:pt x="101" y="125"/>
                    </a:lnTo>
                    <a:lnTo>
                      <a:pt x="112" y="62"/>
                    </a:lnTo>
                    <a:lnTo>
                      <a:pt x="120" y="18"/>
                    </a:lnTo>
                    <a:lnTo>
                      <a:pt x="122" y="0"/>
                    </a:lnTo>
                    <a:lnTo>
                      <a:pt x="144" y="9"/>
                    </a:lnTo>
                    <a:lnTo>
                      <a:pt x="161" y="14"/>
                    </a:lnTo>
                    <a:lnTo>
                      <a:pt x="170" y="29"/>
                    </a:lnTo>
                    <a:lnTo>
                      <a:pt x="188" y="32"/>
                    </a:lnTo>
                    <a:lnTo>
                      <a:pt x="199" y="35"/>
                    </a:lnTo>
                    <a:lnTo>
                      <a:pt x="202" y="49"/>
                    </a:lnTo>
                    <a:lnTo>
                      <a:pt x="201" y="66"/>
                    </a:lnTo>
                    <a:lnTo>
                      <a:pt x="206" y="62"/>
                    </a:lnTo>
                    <a:lnTo>
                      <a:pt x="235" y="59"/>
                    </a:lnTo>
                    <a:lnTo>
                      <a:pt x="255" y="63"/>
                    </a:lnTo>
                    <a:lnTo>
                      <a:pt x="266" y="78"/>
                    </a:lnTo>
                    <a:lnTo>
                      <a:pt x="266" y="89"/>
                    </a:lnTo>
                    <a:lnTo>
                      <a:pt x="271" y="100"/>
                    </a:lnTo>
                    <a:lnTo>
                      <a:pt x="269" y="118"/>
                    </a:lnTo>
                    <a:lnTo>
                      <a:pt x="259" y="136"/>
                    </a:lnTo>
                    <a:lnTo>
                      <a:pt x="242" y="136"/>
                    </a:lnTo>
                    <a:lnTo>
                      <a:pt x="222" y="167"/>
                    </a:lnTo>
                    <a:lnTo>
                      <a:pt x="214" y="180"/>
                    </a:lnTo>
                    <a:lnTo>
                      <a:pt x="205" y="196"/>
                    </a:lnTo>
                    <a:lnTo>
                      <a:pt x="193" y="215"/>
                    </a:lnTo>
                    <a:lnTo>
                      <a:pt x="173" y="219"/>
                    </a:lnTo>
                    <a:lnTo>
                      <a:pt x="162" y="225"/>
                    </a:lnTo>
                    <a:lnTo>
                      <a:pt x="169" y="235"/>
                    </a:lnTo>
                    <a:lnTo>
                      <a:pt x="179" y="250"/>
                    </a:lnTo>
                    <a:lnTo>
                      <a:pt x="169" y="260"/>
                    </a:lnTo>
                    <a:lnTo>
                      <a:pt x="158" y="278"/>
                    </a:lnTo>
                    <a:lnTo>
                      <a:pt x="146" y="304"/>
                    </a:lnTo>
                    <a:lnTo>
                      <a:pt x="137" y="322"/>
                    </a:lnTo>
                    <a:lnTo>
                      <a:pt x="152" y="334"/>
                    </a:lnTo>
                    <a:lnTo>
                      <a:pt x="134" y="346"/>
                    </a:lnTo>
                    <a:lnTo>
                      <a:pt x="118" y="366"/>
                    </a:lnTo>
                    <a:lnTo>
                      <a:pt x="109" y="392"/>
                    </a:lnTo>
                    <a:lnTo>
                      <a:pt x="127" y="401"/>
                    </a:lnTo>
                    <a:close/>
                  </a:path>
                </a:pathLst>
              </a:custGeom>
              <a:pattFill prst="wdDnDiag">
                <a:fgClr>
                  <a:srgbClr val="1D8C9B"/>
                </a:fgClr>
                <a:bgClr>
                  <a:srgbClr val="DCDCDC"/>
                </a:bgClr>
              </a:patt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97" name="Freeform 35"/>
              <p:cNvSpPr>
                <a:spLocks noChangeAspect="1"/>
              </p:cNvSpPr>
              <p:nvPr/>
            </p:nvSpPr>
            <p:spPr bwMode="auto">
              <a:xfrm>
                <a:off x="4914407" y="4387980"/>
                <a:ext cx="756520" cy="550084"/>
              </a:xfrm>
              <a:custGeom>
                <a:avLst/>
                <a:gdLst>
                  <a:gd name="T0" fmla="*/ 612 w 515"/>
                  <a:gd name="T1" fmla="*/ 272 h 374"/>
                  <a:gd name="T2" fmla="*/ 572 w 515"/>
                  <a:gd name="T3" fmla="*/ 321 h 374"/>
                  <a:gd name="T4" fmla="*/ 544 w 515"/>
                  <a:gd name="T5" fmla="*/ 415 h 374"/>
                  <a:gd name="T6" fmla="*/ 501 w 515"/>
                  <a:gd name="T7" fmla="*/ 400 h 374"/>
                  <a:gd name="T8" fmla="*/ 473 w 515"/>
                  <a:gd name="T9" fmla="*/ 377 h 374"/>
                  <a:gd name="T10" fmla="*/ 448 w 515"/>
                  <a:gd name="T11" fmla="*/ 377 h 374"/>
                  <a:gd name="T12" fmla="*/ 417 w 515"/>
                  <a:gd name="T13" fmla="*/ 375 h 374"/>
                  <a:gd name="T14" fmla="*/ 393 w 515"/>
                  <a:gd name="T15" fmla="*/ 397 h 374"/>
                  <a:gd name="T16" fmla="*/ 362 w 515"/>
                  <a:gd name="T17" fmla="*/ 427 h 374"/>
                  <a:gd name="T18" fmla="*/ 321 w 515"/>
                  <a:gd name="T19" fmla="*/ 435 h 374"/>
                  <a:gd name="T20" fmla="*/ 272 w 515"/>
                  <a:gd name="T21" fmla="*/ 435 h 374"/>
                  <a:gd name="T22" fmla="*/ 240 w 515"/>
                  <a:gd name="T23" fmla="*/ 445 h 374"/>
                  <a:gd name="T24" fmla="*/ 208 w 515"/>
                  <a:gd name="T25" fmla="*/ 432 h 374"/>
                  <a:gd name="T26" fmla="*/ 171 w 515"/>
                  <a:gd name="T27" fmla="*/ 430 h 374"/>
                  <a:gd name="T28" fmla="*/ 177 w 515"/>
                  <a:gd name="T29" fmla="*/ 400 h 374"/>
                  <a:gd name="T30" fmla="*/ 158 w 515"/>
                  <a:gd name="T31" fmla="*/ 377 h 374"/>
                  <a:gd name="T32" fmla="*/ 144 w 515"/>
                  <a:gd name="T33" fmla="*/ 375 h 374"/>
                  <a:gd name="T34" fmla="*/ 139 w 515"/>
                  <a:gd name="T35" fmla="*/ 353 h 374"/>
                  <a:gd name="T36" fmla="*/ 135 w 515"/>
                  <a:gd name="T37" fmla="*/ 332 h 374"/>
                  <a:gd name="T38" fmla="*/ 109 w 515"/>
                  <a:gd name="T39" fmla="*/ 350 h 374"/>
                  <a:gd name="T40" fmla="*/ 77 w 515"/>
                  <a:gd name="T41" fmla="*/ 338 h 374"/>
                  <a:gd name="T42" fmla="*/ 52 w 515"/>
                  <a:gd name="T43" fmla="*/ 339 h 374"/>
                  <a:gd name="T44" fmla="*/ 57 w 515"/>
                  <a:gd name="T45" fmla="*/ 318 h 374"/>
                  <a:gd name="T46" fmla="*/ 57 w 515"/>
                  <a:gd name="T47" fmla="*/ 278 h 374"/>
                  <a:gd name="T48" fmla="*/ 26 w 515"/>
                  <a:gd name="T49" fmla="*/ 252 h 374"/>
                  <a:gd name="T50" fmla="*/ 6 w 515"/>
                  <a:gd name="T51" fmla="*/ 223 h 374"/>
                  <a:gd name="T52" fmla="*/ 1 w 515"/>
                  <a:gd name="T53" fmla="*/ 209 h 374"/>
                  <a:gd name="T54" fmla="*/ 14 w 515"/>
                  <a:gd name="T55" fmla="*/ 198 h 374"/>
                  <a:gd name="T56" fmla="*/ 46 w 515"/>
                  <a:gd name="T57" fmla="*/ 170 h 374"/>
                  <a:gd name="T58" fmla="*/ 74 w 515"/>
                  <a:gd name="T59" fmla="*/ 118 h 374"/>
                  <a:gd name="T60" fmla="*/ 118 w 515"/>
                  <a:gd name="T61" fmla="*/ 58 h 374"/>
                  <a:gd name="T62" fmla="*/ 146 w 515"/>
                  <a:gd name="T63" fmla="*/ 32 h 374"/>
                  <a:gd name="T64" fmla="*/ 203 w 515"/>
                  <a:gd name="T65" fmla="*/ 20 h 374"/>
                  <a:gd name="T66" fmla="*/ 260 w 515"/>
                  <a:gd name="T67" fmla="*/ 33 h 374"/>
                  <a:gd name="T68" fmla="*/ 288 w 515"/>
                  <a:gd name="T69" fmla="*/ 57 h 374"/>
                  <a:gd name="T70" fmla="*/ 324 w 515"/>
                  <a:gd name="T71" fmla="*/ 24 h 374"/>
                  <a:gd name="T72" fmla="*/ 352 w 515"/>
                  <a:gd name="T73" fmla="*/ 39 h 374"/>
                  <a:gd name="T74" fmla="*/ 370 w 515"/>
                  <a:gd name="T75" fmla="*/ 0 h 374"/>
                  <a:gd name="T76" fmla="*/ 415 w 515"/>
                  <a:gd name="T77" fmla="*/ 19 h 374"/>
                  <a:gd name="T78" fmla="*/ 459 w 515"/>
                  <a:gd name="T79" fmla="*/ 63 h 374"/>
                  <a:gd name="T80" fmla="*/ 493 w 515"/>
                  <a:gd name="T81" fmla="*/ 120 h 374"/>
                  <a:gd name="T82" fmla="*/ 493 w 515"/>
                  <a:gd name="T83" fmla="*/ 173 h 374"/>
                  <a:gd name="T84" fmla="*/ 500 w 515"/>
                  <a:gd name="T85" fmla="*/ 243 h 374"/>
                  <a:gd name="T86" fmla="*/ 526 w 515"/>
                  <a:gd name="T87" fmla="*/ 265 h 374"/>
                  <a:gd name="T88" fmla="*/ 573 w 515"/>
                  <a:gd name="T89" fmla="*/ 239 h 37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15"/>
                  <a:gd name="T136" fmla="*/ 0 h 374"/>
                  <a:gd name="T137" fmla="*/ 515 w 515"/>
                  <a:gd name="T138" fmla="*/ 374 h 37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15" h="374">
                    <a:moveTo>
                      <a:pt x="494" y="207"/>
                    </a:moveTo>
                    <a:lnTo>
                      <a:pt x="515" y="229"/>
                    </a:lnTo>
                    <a:lnTo>
                      <a:pt x="495" y="262"/>
                    </a:lnTo>
                    <a:lnTo>
                      <a:pt x="481" y="270"/>
                    </a:lnTo>
                    <a:lnTo>
                      <a:pt x="468" y="263"/>
                    </a:lnTo>
                    <a:lnTo>
                      <a:pt x="458" y="349"/>
                    </a:lnTo>
                    <a:lnTo>
                      <a:pt x="435" y="341"/>
                    </a:lnTo>
                    <a:lnTo>
                      <a:pt x="422" y="336"/>
                    </a:lnTo>
                    <a:lnTo>
                      <a:pt x="410" y="329"/>
                    </a:lnTo>
                    <a:lnTo>
                      <a:pt x="398" y="317"/>
                    </a:lnTo>
                    <a:lnTo>
                      <a:pt x="391" y="318"/>
                    </a:lnTo>
                    <a:lnTo>
                      <a:pt x="377" y="317"/>
                    </a:lnTo>
                    <a:lnTo>
                      <a:pt x="366" y="318"/>
                    </a:lnTo>
                    <a:lnTo>
                      <a:pt x="351" y="315"/>
                    </a:lnTo>
                    <a:lnTo>
                      <a:pt x="344" y="321"/>
                    </a:lnTo>
                    <a:lnTo>
                      <a:pt x="331" y="334"/>
                    </a:lnTo>
                    <a:lnTo>
                      <a:pt x="315" y="350"/>
                    </a:lnTo>
                    <a:lnTo>
                      <a:pt x="305" y="359"/>
                    </a:lnTo>
                    <a:lnTo>
                      <a:pt x="286" y="367"/>
                    </a:lnTo>
                    <a:lnTo>
                      <a:pt x="270" y="366"/>
                    </a:lnTo>
                    <a:lnTo>
                      <a:pt x="250" y="366"/>
                    </a:lnTo>
                    <a:lnTo>
                      <a:pt x="229" y="366"/>
                    </a:lnTo>
                    <a:lnTo>
                      <a:pt x="211" y="368"/>
                    </a:lnTo>
                    <a:lnTo>
                      <a:pt x="202" y="374"/>
                    </a:lnTo>
                    <a:lnTo>
                      <a:pt x="189" y="366"/>
                    </a:lnTo>
                    <a:lnTo>
                      <a:pt x="175" y="363"/>
                    </a:lnTo>
                    <a:lnTo>
                      <a:pt x="157" y="361"/>
                    </a:lnTo>
                    <a:lnTo>
                      <a:pt x="144" y="361"/>
                    </a:lnTo>
                    <a:lnTo>
                      <a:pt x="140" y="354"/>
                    </a:lnTo>
                    <a:lnTo>
                      <a:pt x="149" y="336"/>
                    </a:lnTo>
                    <a:lnTo>
                      <a:pt x="145" y="323"/>
                    </a:lnTo>
                    <a:lnTo>
                      <a:pt x="133" y="317"/>
                    </a:lnTo>
                    <a:lnTo>
                      <a:pt x="121" y="320"/>
                    </a:lnTo>
                    <a:lnTo>
                      <a:pt x="121" y="315"/>
                    </a:lnTo>
                    <a:lnTo>
                      <a:pt x="106" y="307"/>
                    </a:lnTo>
                    <a:lnTo>
                      <a:pt x="117" y="297"/>
                    </a:lnTo>
                    <a:lnTo>
                      <a:pt x="120" y="291"/>
                    </a:lnTo>
                    <a:lnTo>
                      <a:pt x="114" y="279"/>
                    </a:lnTo>
                    <a:lnTo>
                      <a:pt x="104" y="281"/>
                    </a:lnTo>
                    <a:lnTo>
                      <a:pt x="92" y="294"/>
                    </a:lnTo>
                    <a:lnTo>
                      <a:pt x="81" y="289"/>
                    </a:lnTo>
                    <a:lnTo>
                      <a:pt x="65" y="284"/>
                    </a:lnTo>
                    <a:lnTo>
                      <a:pt x="56" y="283"/>
                    </a:lnTo>
                    <a:lnTo>
                      <a:pt x="44" y="285"/>
                    </a:lnTo>
                    <a:lnTo>
                      <a:pt x="37" y="278"/>
                    </a:lnTo>
                    <a:lnTo>
                      <a:pt x="48" y="267"/>
                    </a:lnTo>
                    <a:lnTo>
                      <a:pt x="54" y="245"/>
                    </a:lnTo>
                    <a:lnTo>
                      <a:pt x="48" y="234"/>
                    </a:lnTo>
                    <a:lnTo>
                      <a:pt x="33" y="224"/>
                    </a:lnTo>
                    <a:lnTo>
                      <a:pt x="22" y="212"/>
                    </a:lnTo>
                    <a:lnTo>
                      <a:pt x="14" y="197"/>
                    </a:lnTo>
                    <a:lnTo>
                      <a:pt x="5" y="187"/>
                    </a:lnTo>
                    <a:lnTo>
                      <a:pt x="3" y="182"/>
                    </a:lnTo>
                    <a:lnTo>
                      <a:pt x="1" y="176"/>
                    </a:lnTo>
                    <a:lnTo>
                      <a:pt x="0" y="164"/>
                    </a:lnTo>
                    <a:lnTo>
                      <a:pt x="12" y="166"/>
                    </a:lnTo>
                    <a:lnTo>
                      <a:pt x="29" y="157"/>
                    </a:lnTo>
                    <a:lnTo>
                      <a:pt x="39" y="143"/>
                    </a:lnTo>
                    <a:lnTo>
                      <a:pt x="53" y="118"/>
                    </a:lnTo>
                    <a:lnTo>
                      <a:pt x="62" y="99"/>
                    </a:lnTo>
                    <a:lnTo>
                      <a:pt x="77" y="70"/>
                    </a:lnTo>
                    <a:lnTo>
                      <a:pt x="99" y="49"/>
                    </a:lnTo>
                    <a:lnTo>
                      <a:pt x="109" y="35"/>
                    </a:lnTo>
                    <a:lnTo>
                      <a:pt x="123" y="27"/>
                    </a:lnTo>
                    <a:lnTo>
                      <a:pt x="134" y="13"/>
                    </a:lnTo>
                    <a:lnTo>
                      <a:pt x="171" y="17"/>
                    </a:lnTo>
                    <a:lnTo>
                      <a:pt x="193" y="20"/>
                    </a:lnTo>
                    <a:lnTo>
                      <a:pt x="219" y="28"/>
                    </a:lnTo>
                    <a:lnTo>
                      <a:pt x="222" y="46"/>
                    </a:lnTo>
                    <a:lnTo>
                      <a:pt x="242" y="48"/>
                    </a:lnTo>
                    <a:lnTo>
                      <a:pt x="247" y="29"/>
                    </a:lnTo>
                    <a:lnTo>
                      <a:pt x="273" y="20"/>
                    </a:lnTo>
                    <a:lnTo>
                      <a:pt x="284" y="27"/>
                    </a:lnTo>
                    <a:lnTo>
                      <a:pt x="296" y="33"/>
                    </a:lnTo>
                    <a:lnTo>
                      <a:pt x="303" y="16"/>
                    </a:lnTo>
                    <a:lnTo>
                      <a:pt x="311" y="0"/>
                    </a:lnTo>
                    <a:lnTo>
                      <a:pt x="332" y="3"/>
                    </a:lnTo>
                    <a:lnTo>
                      <a:pt x="349" y="16"/>
                    </a:lnTo>
                    <a:lnTo>
                      <a:pt x="367" y="34"/>
                    </a:lnTo>
                    <a:lnTo>
                      <a:pt x="386" y="53"/>
                    </a:lnTo>
                    <a:lnTo>
                      <a:pt x="402" y="75"/>
                    </a:lnTo>
                    <a:lnTo>
                      <a:pt x="415" y="101"/>
                    </a:lnTo>
                    <a:lnTo>
                      <a:pt x="423" y="123"/>
                    </a:lnTo>
                    <a:lnTo>
                      <a:pt x="415" y="145"/>
                    </a:lnTo>
                    <a:lnTo>
                      <a:pt x="399" y="188"/>
                    </a:lnTo>
                    <a:lnTo>
                      <a:pt x="421" y="204"/>
                    </a:lnTo>
                    <a:lnTo>
                      <a:pt x="413" y="219"/>
                    </a:lnTo>
                    <a:lnTo>
                      <a:pt x="443" y="223"/>
                    </a:lnTo>
                    <a:lnTo>
                      <a:pt x="468" y="227"/>
                    </a:lnTo>
                    <a:lnTo>
                      <a:pt x="482" y="201"/>
                    </a:lnTo>
                    <a:lnTo>
                      <a:pt x="494" y="207"/>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highlight>
                    <a:srgbClr val="FFFF00"/>
                  </a:highlight>
                  <a:latin typeface="Arial"/>
                </a:endParaRPr>
              </a:p>
            </p:txBody>
          </p:sp>
          <p:sp>
            <p:nvSpPr>
              <p:cNvPr id="98" name="Freeform 36"/>
              <p:cNvSpPr>
                <a:spLocks noChangeAspect="1" noEditPoints="1"/>
              </p:cNvSpPr>
              <p:nvPr/>
            </p:nvSpPr>
            <p:spPr bwMode="auto">
              <a:xfrm>
                <a:off x="2965008" y="2384191"/>
                <a:ext cx="697185" cy="1538999"/>
              </a:xfrm>
              <a:custGeom>
                <a:avLst/>
                <a:gdLst>
                  <a:gd name="T0" fmla="*/ 98 w 474"/>
                  <a:gd name="T1" fmla="*/ 1205 h 1047"/>
                  <a:gd name="T2" fmla="*/ 226 w 474"/>
                  <a:gd name="T3" fmla="*/ 1206 h 1047"/>
                  <a:gd name="T4" fmla="*/ 363 w 474"/>
                  <a:gd name="T5" fmla="*/ 1228 h 1047"/>
                  <a:gd name="T6" fmla="*/ 453 w 474"/>
                  <a:gd name="T7" fmla="*/ 1197 h 1047"/>
                  <a:gd name="T8" fmla="*/ 464 w 474"/>
                  <a:gd name="T9" fmla="*/ 1144 h 1047"/>
                  <a:gd name="T10" fmla="*/ 465 w 474"/>
                  <a:gd name="T11" fmla="*/ 1039 h 1047"/>
                  <a:gd name="T12" fmla="*/ 445 w 474"/>
                  <a:gd name="T13" fmla="*/ 1011 h 1047"/>
                  <a:gd name="T14" fmla="*/ 432 w 474"/>
                  <a:gd name="T15" fmla="*/ 945 h 1047"/>
                  <a:gd name="T16" fmla="*/ 394 w 474"/>
                  <a:gd name="T17" fmla="*/ 840 h 1047"/>
                  <a:gd name="T18" fmla="*/ 364 w 474"/>
                  <a:gd name="T19" fmla="*/ 708 h 1047"/>
                  <a:gd name="T20" fmla="*/ 326 w 474"/>
                  <a:gd name="T21" fmla="*/ 677 h 1047"/>
                  <a:gd name="T22" fmla="*/ 381 w 474"/>
                  <a:gd name="T23" fmla="*/ 637 h 1047"/>
                  <a:gd name="T24" fmla="*/ 418 w 474"/>
                  <a:gd name="T25" fmla="*/ 540 h 1047"/>
                  <a:gd name="T26" fmla="*/ 331 w 474"/>
                  <a:gd name="T27" fmla="*/ 511 h 1047"/>
                  <a:gd name="T28" fmla="*/ 393 w 474"/>
                  <a:gd name="T29" fmla="*/ 444 h 1047"/>
                  <a:gd name="T30" fmla="*/ 313 w 474"/>
                  <a:gd name="T31" fmla="*/ 416 h 1047"/>
                  <a:gd name="T32" fmla="*/ 257 w 474"/>
                  <a:gd name="T33" fmla="*/ 486 h 1047"/>
                  <a:gd name="T34" fmla="*/ 231 w 474"/>
                  <a:gd name="T35" fmla="*/ 545 h 1047"/>
                  <a:gd name="T36" fmla="*/ 217 w 474"/>
                  <a:gd name="T37" fmla="*/ 591 h 1047"/>
                  <a:gd name="T38" fmla="*/ 186 w 474"/>
                  <a:gd name="T39" fmla="*/ 644 h 1047"/>
                  <a:gd name="T40" fmla="*/ 218 w 474"/>
                  <a:gd name="T41" fmla="*/ 671 h 1047"/>
                  <a:gd name="T42" fmla="*/ 214 w 474"/>
                  <a:gd name="T43" fmla="*/ 725 h 1047"/>
                  <a:gd name="T44" fmla="*/ 213 w 474"/>
                  <a:gd name="T45" fmla="*/ 779 h 1047"/>
                  <a:gd name="T46" fmla="*/ 284 w 474"/>
                  <a:gd name="T47" fmla="*/ 776 h 1047"/>
                  <a:gd name="T48" fmla="*/ 263 w 474"/>
                  <a:gd name="T49" fmla="*/ 826 h 1047"/>
                  <a:gd name="T50" fmla="*/ 274 w 474"/>
                  <a:gd name="T51" fmla="*/ 880 h 1047"/>
                  <a:gd name="T52" fmla="*/ 253 w 474"/>
                  <a:gd name="T53" fmla="*/ 948 h 1047"/>
                  <a:gd name="T54" fmla="*/ 155 w 474"/>
                  <a:gd name="T55" fmla="*/ 960 h 1047"/>
                  <a:gd name="T56" fmla="*/ 151 w 474"/>
                  <a:gd name="T57" fmla="*/ 1019 h 1047"/>
                  <a:gd name="T58" fmla="*/ 82 w 474"/>
                  <a:gd name="T59" fmla="*/ 1048 h 1047"/>
                  <a:gd name="T60" fmla="*/ 124 w 474"/>
                  <a:gd name="T61" fmla="*/ 1087 h 1047"/>
                  <a:gd name="T62" fmla="*/ 226 w 474"/>
                  <a:gd name="T63" fmla="*/ 1096 h 1047"/>
                  <a:gd name="T64" fmla="*/ 169 w 474"/>
                  <a:gd name="T65" fmla="*/ 1143 h 1047"/>
                  <a:gd name="T66" fmla="*/ 51 w 474"/>
                  <a:gd name="T67" fmla="*/ 1186 h 1047"/>
                  <a:gd name="T68" fmla="*/ 81 w 474"/>
                  <a:gd name="T69" fmla="*/ 686 h 1047"/>
                  <a:gd name="T70" fmla="*/ 132 w 474"/>
                  <a:gd name="T71" fmla="*/ 744 h 1047"/>
                  <a:gd name="T72" fmla="*/ 137 w 474"/>
                  <a:gd name="T73" fmla="*/ 817 h 1047"/>
                  <a:gd name="T74" fmla="*/ 63 w 474"/>
                  <a:gd name="T75" fmla="*/ 790 h 1047"/>
                  <a:gd name="T76" fmla="*/ 21 w 474"/>
                  <a:gd name="T77" fmla="*/ 750 h 1047"/>
                  <a:gd name="T78" fmla="*/ 533 w 474"/>
                  <a:gd name="T79" fmla="*/ 327 h 1047"/>
                  <a:gd name="T80" fmla="*/ 544 w 474"/>
                  <a:gd name="T81" fmla="*/ 262 h 1047"/>
                  <a:gd name="T82" fmla="*/ 444 w 474"/>
                  <a:gd name="T83" fmla="*/ 388 h 1047"/>
                  <a:gd name="T84" fmla="*/ 412 w 474"/>
                  <a:gd name="T85" fmla="*/ 413 h 1047"/>
                  <a:gd name="T86" fmla="*/ 346 w 474"/>
                  <a:gd name="T87" fmla="*/ 38 h 1047"/>
                  <a:gd name="T88" fmla="*/ 380 w 474"/>
                  <a:gd name="T89" fmla="*/ 0 h 1047"/>
                  <a:gd name="T90" fmla="*/ 387 w 474"/>
                  <a:gd name="T91" fmla="*/ 8 h 1047"/>
                  <a:gd name="T92" fmla="*/ 195 w 474"/>
                  <a:gd name="T93" fmla="*/ 408 h 1047"/>
                  <a:gd name="T94" fmla="*/ 175 w 474"/>
                  <a:gd name="T95" fmla="*/ 454 h 1047"/>
                  <a:gd name="T96" fmla="*/ 192 w 474"/>
                  <a:gd name="T97" fmla="*/ 488 h 1047"/>
                  <a:gd name="T98" fmla="*/ 183 w 474"/>
                  <a:gd name="T99" fmla="*/ 831 h 1047"/>
                  <a:gd name="T100" fmla="*/ 182 w 474"/>
                  <a:gd name="T101" fmla="*/ 848 h 1047"/>
                  <a:gd name="T102" fmla="*/ 280 w 474"/>
                  <a:gd name="T103" fmla="*/ 1222 h 10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4"/>
                  <a:gd name="T157" fmla="*/ 0 h 1047"/>
                  <a:gd name="T158" fmla="*/ 474 w 474"/>
                  <a:gd name="T159" fmla="*/ 1047 h 10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4" h="1047">
                    <a:moveTo>
                      <a:pt x="0" y="1023"/>
                    </a:moveTo>
                    <a:lnTo>
                      <a:pt x="16" y="1030"/>
                    </a:lnTo>
                    <a:lnTo>
                      <a:pt x="35" y="1023"/>
                    </a:lnTo>
                    <a:lnTo>
                      <a:pt x="56" y="1009"/>
                    </a:lnTo>
                    <a:lnTo>
                      <a:pt x="82" y="1013"/>
                    </a:lnTo>
                    <a:lnTo>
                      <a:pt x="99" y="1025"/>
                    </a:lnTo>
                    <a:lnTo>
                      <a:pt x="118" y="1018"/>
                    </a:lnTo>
                    <a:lnTo>
                      <a:pt x="133" y="1004"/>
                    </a:lnTo>
                    <a:lnTo>
                      <a:pt x="153" y="1011"/>
                    </a:lnTo>
                    <a:lnTo>
                      <a:pt x="190" y="1014"/>
                    </a:lnTo>
                    <a:lnTo>
                      <a:pt x="204" y="1024"/>
                    </a:lnTo>
                    <a:lnTo>
                      <a:pt x="228" y="999"/>
                    </a:lnTo>
                    <a:lnTo>
                      <a:pt x="252" y="1023"/>
                    </a:lnTo>
                    <a:lnTo>
                      <a:pt x="286" y="1031"/>
                    </a:lnTo>
                    <a:lnTo>
                      <a:pt x="305" y="1033"/>
                    </a:lnTo>
                    <a:lnTo>
                      <a:pt x="335" y="1038"/>
                    </a:lnTo>
                    <a:lnTo>
                      <a:pt x="349" y="1028"/>
                    </a:lnTo>
                    <a:lnTo>
                      <a:pt x="373" y="1028"/>
                    </a:lnTo>
                    <a:lnTo>
                      <a:pt x="380" y="1022"/>
                    </a:lnTo>
                    <a:lnTo>
                      <a:pt x="381" y="1007"/>
                    </a:lnTo>
                    <a:lnTo>
                      <a:pt x="373" y="997"/>
                    </a:lnTo>
                    <a:lnTo>
                      <a:pt x="355" y="999"/>
                    </a:lnTo>
                    <a:lnTo>
                      <a:pt x="358" y="980"/>
                    </a:lnTo>
                    <a:lnTo>
                      <a:pt x="377" y="975"/>
                    </a:lnTo>
                    <a:lnTo>
                      <a:pt x="390" y="962"/>
                    </a:lnTo>
                    <a:lnTo>
                      <a:pt x="409" y="946"/>
                    </a:lnTo>
                    <a:lnTo>
                      <a:pt x="428" y="927"/>
                    </a:lnTo>
                    <a:lnTo>
                      <a:pt x="419" y="894"/>
                    </a:lnTo>
                    <a:lnTo>
                      <a:pt x="404" y="874"/>
                    </a:lnTo>
                    <a:lnTo>
                      <a:pt x="391" y="874"/>
                    </a:lnTo>
                    <a:lnTo>
                      <a:pt x="378" y="875"/>
                    </a:lnTo>
                    <a:lnTo>
                      <a:pt x="370" y="879"/>
                    </a:lnTo>
                    <a:lnTo>
                      <a:pt x="351" y="869"/>
                    </a:lnTo>
                    <a:lnTo>
                      <a:pt x="364" y="859"/>
                    </a:lnTo>
                    <a:lnTo>
                      <a:pt x="374" y="850"/>
                    </a:lnTo>
                    <a:lnTo>
                      <a:pt x="369" y="831"/>
                    </a:lnTo>
                    <a:lnTo>
                      <a:pt x="361" y="814"/>
                    </a:lnTo>
                    <a:lnTo>
                      <a:pt x="339" y="805"/>
                    </a:lnTo>
                    <a:lnTo>
                      <a:pt x="346" y="795"/>
                    </a:lnTo>
                    <a:lnTo>
                      <a:pt x="363" y="795"/>
                    </a:lnTo>
                    <a:lnTo>
                      <a:pt x="363" y="766"/>
                    </a:lnTo>
                    <a:lnTo>
                      <a:pt x="360" y="744"/>
                    </a:lnTo>
                    <a:lnTo>
                      <a:pt x="350" y="729"/>
                    </a:lnTo>
                    <a:lnTo>
                      <a:pt x="337" y="718"/>
                    </a:lnTo>
                    <a:lnTo>
                      <a:pt x="331" y="706"/>
                    </a:lnTo>
                    <a:lnTo>
                      <a:pt x="339" y="696"/>
                    </a:lnTo>
                    <a:lnTo>
                      <a:pt x="329" y="663"/>
                    </a:lnTo>
                    <a:lnTo>
                      <a:pt x="322" y="634"/>
                    </a:lnTo>
                    <a:lnTo>
                      <a:pt x="316" y="615"/>
                    </a:lnTo>
                    <a:lnTo>
                      <a:pt x="306" y="595"/>
                    </a:lnTo>
                    <a:lnTo>
                      <a:pt x="291" y="591"/>
                    </a:lnTo>
                    <a:lnTo>
                      <a:pt x="276" y="588"/>
                    </a:lnTo>
                    <a:lnTo>
                      <a:pt x="262" y="580"/>
                    </a:lnTo>
                    <a:lnTo>
                      <a:pt x="261" y="569"/>
                    </a:lnTo>
                    <a:lnTo>
                      <a:pt x="274" y="569"/>
                    </a:lnTo>
                    <a:lnTo>
                      <a:pt x="288" y="568"/>
                    </a:lnTo>
                    <a:lnTo>
                      <a:pt x="301" y="555"/>
                    </a:lnTo>
                    <a:lnTo>
                      <a:pt x="291" y="546"/>
                    </a:lnTo>
                    <a:lnTo>
                      <a:pt x="302" y="543"/>
                    </a:lnTo>
                    <a:lnTo>
                      <a:pt x="320" y="536"/>
                    </a:lnTo>
                    <a:lnTo>
                      <a:pt x="335" y="517"/>
                    </a:lnTo>
                    <a:lnTo>
                      <a:pt x="355" y="497"/>
                    </a:lnTo>
                    <a:lnTo>
                      <a:pt x="370" y="479"/>
                    </a:lnTo>
                    <a:lnTo>
                      <a:pt x="368" y="461"/>
                    </a:lnTo>
                    <a:lnTo>
                      <a:pt x="351" y="454"/>
                    </a:lnTo>
                    <a:lnTo>
                      <a:pt x="325" y="452"/>
                    </a:lnTo>
                    <a:lnTo>
                      <a:pt x="304" y="449"/>
                    </a:lnTo>
                    <a:lnTo>
                      <a:pt x="286" y="446"/>
                    </a:lnTo>
                    <a:lnTo>
                      <a:pt x="269" y="444"/>
                    </a:lnTo>
                    <a:lnTo>
                      <a:pt x="278" y="430"/>
                    </a:lnTo>
                    <a:lnTo>
                      <a:pt x="287" y="421"/>
                    </a:lnTo>
                    <a:lnTo>
                      <a:pt x="303" y="420"/>
                    </a:lnTo>
                    <a:lnTo>
                      <a:pt x="320" y="406"/>
                    </a:lnTo>
                    <a:lnTo>
                      <a:pt x="332" y="386"/>
                    </a:lnTo>
                    <a:lnTo>
                      <a:pt x="330" y="373"/>
                    </a:lnTo>
                    <a:lnTo>
                      <a:pt x="325" y="366"/>
                    </a:lnTo>
                    <a:lnTo>
                      <a:pt x="310" y="365"/>
                    </a:lnTo>
                    <a:lnTo>
                      <a:pt x="293" y="370"/>
                    </a:lnTo>
                    <a:lnTo>
                      <a:pt x="278" y="353"/>
                    </a:lnTo>
                    <a:lnTo>
                      <a:pt x="263" y="350"/>
                    </a:lnTo>
                    <a:lnTo>
                      <a:pt x="248" y="362"/>
                    </a:lnTo>
                    <a:lnTo>
                      <a:pt x="236" y="376"/>
                    </a:lnTo>
                    <a:lnTo>
                      <a:pt x="233" y="399"/>
                    </a:lnTo>
                    <a:lnTo>
                      <a:pt x="232" y="408"/>
                    </a:lnTo>
                    <a:lnTo>
                      <a:pt x="216" y="409"/>
                    </a:lnTo>
                    <a:lnTo>
                      <a:pt x="202" y="414"/>
                    </a:lnTo>
                    <a:lnTo>
                      <a:pt x="195" y="421"/>
                    </a:lnTo>
                    <a:lnTo>
                      <a:pt x="196" y="438"/>
                    </a:lnTo>
                    <a:lnTo>
                      <a:pt x="193" y="450"/>
                    </a:lnTo>
                    <a:lnTo>
                      <a:pt x="194" y="458"/>
                    </a:lnTo>
                    <a:lnTo>
                      <a:pt x="176" y="468"/>
                    </a:lnTo>
                    <a:lnTo>
                      <a:pt x="164" y="469"/>
                    </a:lnTo>
                    <a:lnTo>
                      <a:pt x="159" y="491"/>
                    </a:lnTo>
                    <a:lnTo>
                      <a:pt x="163" y="502"/>
                    </a:lnTo>
                    <a:lnTo>
                      <a:pt x="182" y="497"/>
                    </a:lnTo>
                    <a:lnTo>
                      <a:pt x="192" y="497"/>
                    </a:lnTo>
                    <a:lnTo>
                      <a:pt x="191" y="504"/>
                    </a:lnTo>
                    <a:lnTo>
                      <a:pt x="179" y="518"/>
                    </a:lnTo>
                    <a:lnTo>
                      <a:pt x="167" y="519"/>
                    </a:lnTo>
                    <a:lnTo>
                      <a:pt x="156" y="542"/>
                    </a:lnTo>
                    <a:lnTo>
                      <a:pt x="152" y="554"/>
                    </a:lnTo>
                    <a:lnTo>
                      <a:pt x="143" y="579"/>
                    </a:lnTo>
                    <a:lnTo>
                      <a:pt x="153" y="584"/>
                    </a:lnTo>
                    <a:lnTo>
                      <a:pt x="166" y="569"/>
                    </a:lnTo>
                    <a:lnTo>
                      <a:pt x="183" y="564"/>
                    </a:lnTo>
                    <a:lnTo>
                      <a:pt x="193" y="551"/>
                    </a:lnTo>
                    <a:lnTo>
                      <a:pt x="205" y="564"/>
                    </a:lnTo>
                    <a:lnTo>
                      <a:pt x="194" y="586"/>
                    </a:lnTo>
                    <a:lnTo>
                      <a:pt x="186" y="600"/>
                    </a:lnTo>
                    <a:lnTo>
                      <a:pt x="180" y="610"/>
                    </a:lnTo>
                    <a:lnTo>
                      <a:pt x="172" y="621"/>
                    </a:lnTo>
                    <a:lnTo>
                      <a:pt x="156" y="631"/>
                    </a:lnTo>
                    <a:lnTo>
                      <a:pt x="158" y="641"/>
                    </a:lnTo>
                    <a:lnTo>
                      <a:pt x="159" y="660"/>
                    </a:lnTo>
                    <a:lnTo>
                      <a:pt x="179" y="655"/>
                    </a:lnTo>
                    <a:lnTo>
                      <a:pt x="190" y="646"/>
                    </a:lnTo>
                    <a:lnTo>
                      <a:pt x="206" y="658"/>
                    </a:lnTo>
                    <a:lnTo>
                      <a:pt x="214" y="664"/>
                    </a:lnTo>
                    <a:lnTo>
                      <a:pt x="227" y="653"/>
                    </a:lnTo>
                    <a:lnTo>
                      <a:pt x="239" y="653"/>
                    </a:lnTo>
                    <a:lnTo>
                      <a:pt x="252" y="663"/>
                    </a:lnTo>
                    <a:lnTo>
                      <a:pt x="240" y="673"/>
                    </a:lnTo>
                    <a:lnTo>
                      <a:pt x="235" y="679"/>
                    </a:lnTo>
                    <a:lnTo>
                      <a:pt x="229" y="686"/>
                    </a:lnTo>
                    <a:lnTo>
                      <a:pt x="221" y="695"/>
                    </a:lnTo>
                    <a:lnTo>
                      <a:pt x="215" y="712"/>
                    </a:lnTo>
                    <a:lnTo>
                      <a:pt x="220" y="720"/>
                    </a:lnTo>
                    <a:lnTo>
                      <a:pt x="235" y="712"/>
                    </a:lnTo>
                    <a:lnTo>
                      <a:pt x="238" y="727"/>
                    </a:lnTo>
                    <a:lnTo>
                      <a:pt x="230" y="740"/>
                    </a:lnTo>
                    <a:lnTo>
                      <a:pt x="228" y="754"/>
                    </a:lnTo>
                    <a:lnTo>
                      <a:pt x="224" y="771"/>
                    </a:lnTo>
                    <a:lnTo>
                      <a:pt x="233" y="782"/>
                    </a:lnTo>
                    <a:lnTo>
                      <a:pt x="227" y="797"/>
                    </a:lnTo>
                    <a:lnTo>
                      <a:pt x="213" y="797"/>
                    </a:lnTo>
                    <a:lnTo>
                      <a:pt x="198" y="788"/>
                    </a:lnTo>
                    <a:lnTo>
                      <a:pt x="180" y="786"/>
                    </a:lnTo>
                    <a:lnTo>
                      <a:pt x="161" y="788"/>
                    </a:lnTo>
                    <a:lnTo>
                      <a:pt x="145" y="800"/>
                    </a:lnTo>
                    <a:lnTo>
                      <a:pt x="130" y="807"/>
                    </a:lnTo>
                    <a:lnTo>
                      <a:pt x="131" y="818"/>
                    </a:lnTo>
                    <a:lnTo>
                      <a:pt x="146" y="817"/>
                    </a:lnTo>
                    <a:lnTo>
                      <a:pt x="144" y="836"/>
                    </a:lnTo>
                    <a:lnTo>
                      <a:pt x="136" y="848"/>
                    </a:lnTo>
                    <a:lnTo>
                      <a:pt x="127" y="857"/>
                    </a:lnTo>
                    <a:lnTo>
                      <a:pt x="120" y="865"/>
                    </a:lnTo>
                    <a:lnTo>
                      <a:pt x="117" y="873"/>
                    </a:lnTo>
                    <a:lnTo>
                      <a:pt x="103" y="873"/>
                    </a:lnTo>
                    <a:lnTo>
                      <a:pt x="88" y="869"/>
                    </a:lnTo>
                    <a:lnTo>
                      <a:pt x="69" y="881"/>
                    </a:lnTo>
                    <a:lnTo>
                      <a:pt x="59" y="889"/>
                    </a:lnTo>
                    <a:lnTo>
                      <a:pt x="66" y="900"/>
                    </a:lnTo>
                    <a:lnTo>
                      <a:pt x="88" y="892"/>
                    </a:lnTo>
                    <a:lnTo>
                      <a:pt x="104" y="898"/>
                    </a:lnTo>
                    <a:lnTo>
                      <a:pt x="104" y="914"/>
                    </a:lnTo>
                    <a:lnTo>
                      <a:pt x="123" y="905"/>
                    </a:lnTo>
                    <a:lnTo>
                      <a:pt x="130" y="918"/>
                    </a:lnTo>
                    <a:lnTo>
                      <a:pt x="137" y="934"/>
                    </a:lnTo>
                    <a:lnTo>
                      <a:pt x="158" y="922"/>
                    </a:lnTo>
                    <a:lnTo>
                      <a:pt x="190" y="922"/>
                    </a:lnTo>
                    <a:lnTo>
                      <a:pt x="200" y="931"/>
                    </a:lnTo>
                    <a:lnTo>
                      <a:pt x="186" y="941"/>
                    </a:lnTo>
                    <a:lnTo>
                      <a:pt x="170" y="953"/>
                    </a:lnTo>
                    <a:lnTo>
                      <a:pt x="156" y="965"/>
                    </a:lnTo>
                    <a:lnTo>
                      <a:pt x="142" y="961"/>
                    </a:lnTo>
                    <a:lnTo>
                      <a:pt x="118" y="956"/>
                    </a:lnTo>
                    <a:lnTo>
                      <a:pt x="105" y="953"/>
                    </a:lnTo>
                    <a:lnTo>
                      <a:pt x="87" y="971"/>
                    </a:lnTo>
                    <a:lnTo>
                      <a:pt x="67" y="985"/>
                    </a:lnTo>
                    <a:lnTo>
                      <a:pt x="43" y="997"/>
                    </a:lnTo>
                    <a:lnTo>
                      <a:pt x="24" y="1006"/>
                    </a:lnTo>
                    <a:lnTo>
                      <a:pt x="0" y="1023"/>
                    </a:lnTo>
                    <a:close/>
                    <a:moveTo>
                      <a:pt x="46" y="576"/>
                    </a:moveTo>
                    <a:lnTo>
                      <a:pt x="63" y="565"/>
                    </a:lnTo>
                    <a:lnTo>
                      <a:pt x="68" y="577"/>
                    </a:lnTo>
                    <a:lnTo>
                      <a:pt x="72" y="590"/>
                    </a:lnTo>
                    <a:lnTo>
                      <a:pt x="90" y="592"/>
                    </a:lnTo>
                    <a:lnTo>
                      <a:pt x="105" y="592"/>
                    </a:lnTo>
                    <a:lnTo>
                      <a:pt x="115" y="615"/>
                    </a:lnTo>
                    <a:lnTo>
                      <a:pt x="111" y="626"/>
                    </a:lnTo>
                    <a:lnTo>
                      <a:pt x="108" y="634"/>
                    </a:lnTo>
                    <a:lnTo>
                      <a:pt x="116" y="643"/>
                    </a:lnTo>
                    <a:lnTo>
                      <a:pt x="126" y="648"/>
                    </a:lnTo>
                    <a:lnTo>
                      <a:pt x="123" y="672"/>
                    </a:lnTo>
                    <a:lnTo>
                      <a:pt x="115" y="687"/>
                    </a:lnTo>
                    <a:lnTo>
                      <a:pt x="102" y="687"/>
                    </a:lnTo>
                    <a:lnTo>
                      <a:pt x="87" y="684"/>
                    </a:lnTo>
                    <a:lnTo>
                      <a:pt x="67" y="687"/>
                    </a:lnTo>
                    <a:lnTo>
                      <a:pt x="60" y="671"/>
                    </a:lnTo>
                    <a:lnTo>
                      <a:pt x="53" y="664"/>
                    </a:lnTo>
                    <a:lnTo>
                      <a:pt x="43" y="655"/>
                    </a:lnTo>
                    <a:lnTo>
                      <a:pt x="38" y="660"/>
                    </a:lnTo>
                    <a:lnTo>
                      <a:pt x="26" y="675"/>
                    </a:lnTo>
                    <a:lnTo>
                      <a:pt x="17" y="657"/>
                    </a:lnTo>
                    <a:lnTo>
                      <a:pt x="18" y="631"/>
                    </a:lnTo>
                    <a:lnTo>
                      <a:pt x="22" y="622"/>
                    </a:lnTo>
                    <a:lnTo>
                      <a:pt x="38" y="614"/>
                    </a:lnTo>
                    <a:lnTo>
                      <a:pt x="54" y="603"/>
                    </a:lnTo>
                    <a:lnTo>
                      <a:pt x="46" y="576"/>
                    </a:lnTo>
                    <a:close/>
                    <a:moveTo>
                      <a:pt x="448" y="275"/>
                    </a:moveTo>
                    <a:lnTo>
                      <a:pt x="457" y="269"/>
                    </a:lnTo>
                    <a:lnTo>
                      <a:pt x="466" y="249"/>
                    </a:lnTo>
                    <a:lnTo>
                      <a:pt x="474" y="235"/>
                    </a:lnTo>
                    <a:lnTo>
                      <a:pt x="467" y="211"/>
                    </a:lnTo>
                    <a:lnTo>
                      <a:pt x="457" y="220"/>
                    </a:lnTo>
                    <a:lnTo>
                      <a:pt x="447" y="240"/>
                    </a:lnTo>
                    <a:lnTo>
                      <a:pt x="432" y="257"/>
                    </a:lnTo>
                    <a:lnTo>
                      <a:pt x="438" y="270"/>
                    </a:lnTo>
                    <a:lnTo>
                      <a:pt x="448" y="275"/>
                    </a:lnTo>
                    <a:close/>
                    <a:moveTo>
                      <a:pt x="373" y="326"/>
                    </a:moveTo>
                    <a:lnTo>
                      <a:pt x="370" y="316"/>
                    </a:lnTo>
                    <a:lnTo>
                      <a:pt x="358" y="314"/>
                    </a:lnTo>
                    <a:lnTo>
                      <a:pt x="339" y="326"/>
                    </a:lnTo>
                    <a:lnTo>
                      <a:pt x="335" y="336"/>
                    </a:lnTo>
                    <a:lnTo>
                      <a:pt x="346" y="347"/>
                    </a:lnTo>
                    <a:lnTo>
                      <a:pt x="362" y="337"/>
                    </a:lnTo>
                    <a:lnTo>
                      <a:pt x="373" y="326"/>
                    </a:lnTo>
                    <a:close/>
                    <a:moveTo>
                      <a:pt x="288" y="64"/>
                    </a:moveTo>
                    <a:lnTo>
                      <a:pt x="290" y="57"/>
                    </a:lnTo>
                    <a:lnTo>
                      <a:pt x="291" y="32"/>
                    </a:lnTo>
                    <a:lnTo>
                      <a:pt x="279" y="23"/>
                    </a:lnTo>
                    <a:lnTo>
                      <a:pt x="273" y="34"/>
                    </a:lnTo>
                    <a:lnTo>
                      <a:pt x="280" y="50"/>
                    </a:lnTo>
                    <a:lnTo>
                      <a:pt x="288" y="64"/>
                    </a:lnTo>
                    <a:close/>
                    <a:moveTo>
                      <a:pt x="319" y="0"/>
                    </a:moveTo>
                    <a:lnTo>
                      <a:pt x="313" y="0"/>
                    </a:lnTo>
                    <a:lnTo>
                      <a:pt x="300" y="6"/>
                    </a:lnTo>
                    <a:lnTo>
                      <a:pt x="305" y="19"/>
                    </a:lnTo>
                    <a:lnTo>
                      <a:pt x="321" y="22"/>
                    </a:lnTo>
                    <a:lnTo>
                      <a:pt x="325" y="7"/>
                    </a:lnTo>
                    <a:lnTo>
                      <a:pt x="319" y="0"/>
                    </a:lnTo>
                    <a:close/>
                    <a:moveTo>
                      <a:pt x="147" y="382"/>
                    </a:moveTo>
                    <a:lnTo>
                      <a:pt x="147" y="364"/>
                    </a:lnTo>
                    <a:lnTo>
                      <a:pt x="150" y="355"/>
                    </a:lnTo>
                    <a:lnTo>
                      <a:pt x="164" y="343"/>
                    </a:lnTo>
                    <a:lnTo>
                      <a:pt x="191" y="343"/>
                    </a:lnTo>
                    <a:lnTo>
                      <a:pt x="200" y="360"/>
                    </a:lnTo>
                    <a:lnTo>
                      <a:pt x="183" y="368"/>
                    </a:lnTo>
                    <a:lnTo>
                      <a:pt x="156" y="382"/>
                    </a:lnTo>
                    <a:lnTo>
                      <a:pt x="147" y="382"/>
                    </a:lnTo>
                    <a:close/>
                    <a:moveTo>
                      <a:pt x="162" y="437"/>
                    </a:moveTo>
                    <a:lnTo>
                      <a:pt x="178" y="441"/>
                    </a:lnTo>
                    <a:lnTo>
                      <a:pt x="178" y="420"/>
                    </a:lnTo>
                    <a:lnTo>
                      <a:pt x="174" y="405"/>
                    </a:lnTo>
                    <a:lnTo>
                      <a:pt x="161" y="410"/>
                    </a:lnTo>
                    <a:lnTo>
                      <a:pt x="149" y="415"/>
                    </a:lnTo>
                    <a:lnTo>
                      <a:pt x="144" y="423"/>
                    </a:lnTo>
                    <a:lnTo>
                      <a:pt x="152" y="434"/>
                    </a:lnTo>
                    <a:lnTo>
                      <a:pt x="162" y="437"/>
                    </a:lnTo>
                    <a:close/>
                    <a:moveTo>
                      <a:pt x="154" y="699"/>
                    </a:moveTo>
                    <a:lnTo>
                      <a:pt x="167" y="694"/>
                    </a:lnTo>
                    <a:lnTo>
                      <a:pt x="176" y="699"/>
                    </a:lnTo>
                    <a:lnTo>
                      <a:pt x="172" y="716"/>
                    </a:lnTo>
                    <a:lnTo>
                      <a:pt x="160" y="723"/>
                    </a:lnTo>
                    <a:lnTo>
                      <a:pt x="153" y="713"/>
                    </a:lnTo>
                    <a:lnTo>
                      <a:pt x="145" y="710"/>
                    </a:lnTo>
                    <a:lnTo>
                      <a:pt x="154" y="699"/>
                    </a:lnTo>
                    <a:close/>
                    <a:moveTo>
                      <a:pt x="240" y="1042"/>
                    </a:moveTo>
                    <a:lnTo>
                      <a:pt x="234" y="1038"/>
                    </a:lnTo>
                    <a:lnTo>
                      <a:pt x="235" y="1028"/>
                    </a:lnTo>
                    <a:lnTo>
                      <a:pt x="250" y="1030"/>
                    </a:lnTo>
                    <a:lnTo>
                      <a:pt x="264" y="1039"/>
                    </a:lnTo>
                    <a:lnTo>
                      <a:pt x="250" y="1047"/>
                    </a:lnTo>
                    <a:lnTo>
                      <a:pt x="240" y="1042"/>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99" name="Freeform 37"/>
              <p:cNvSpPr>
                <a:spLocks noChangeAspect="1" noEditPoints="1"/>
              </p:cNvSpPr>
              <p:nvPr/>
            </p:nvSpPr>
            <p:spPr bwMode="auto">
              <a:xfrm>
                <a:off x="4921824" y="1300093"/>
                <a:ext cx="3343270" cy="3614484"/>
              </a:xfrm>
              <a:custGeom>
                <a:avLst/>
                <a:gdLst>
                  <a:gd name="T0" fmla="*/ 2463 w 2247"/>
                  <a:gd name="T1" fmla="*/ 1248 h 2460"/>
                  <a:gd name="T2" fmla="*/ 2311 w 2247"/>
                  <a:gd name="T3" fmla="*/ 1479 h 2460"/>
                  <a:gd name="T4" fmla="*/ 2380 w 2247"/>
                  <a:gd name="T5" fmla="*/ 1652 h 2460"/>
                  <a:gd name="T6" fmla="*/ 2280 w 2247"/>
                  <a:gd name="T7" fmla="*/ 1741 h 2460"/>
                  <a:gd name="T8" fmla="*/ 2060 w 2247"/>
                  <a:gd name="T9" fmla="*/ 1888 h 2460"/>
                  <a:gd name="T10" fmla="*/ 1822 w 2247"/>
                  <a:gd name="T11" fmla="*/ 1898 h 2460"/>
                  <a:gd name="T12" fmla="*/ 1726 w 2247"/>
                  <a:gd name="T13" fmla="*/ 2080 h 2460"/>
                  <a:gd name="T14" fmla="*/ 1638 w 2247"/>
                  <a:gd name="T15" fmla="*/ 2296 h 2460"/>
                  <a:gd name="T16" fmla="*/ 1863 w 2247"/>
                  <a:gd name="T17" fmla="*/ 2421 h 2460"/>
                  <a:gd name="T18" fmla="*/ 1738 w 2247"/>
                  <a:gd name="T19" fmla="*/ 2626 h 2460"/>
                  <a:gd name="T20" fmla="*/ 1865 w 2247"/>
                  <a:gd name="T21" fmla="*/ 2766 h 2460"/>
                  <a:gd name="T22" fmla="*/ 1791 w 2247"/>
                  <a:gd name="T23" fmla="*/ 2875 h 2460"/>
                  <a:gd name="T24" fmla="*/ 1580 w 2247"/>
                  <a:gd name="T25" fmla="*/ 2856 h 2460"/>
                  <a:gd name="T26" fmla="*/ 1348 w 2247"/>
                  <a:gd name="T27" fmla="*/ 2812 h 2460"/>
                  <a:gd name="T28" fmla="*/ 1079 w 2247"/>
                  <a:gd name="T29" fmla="*/ 2682 h 2460"/>
                  <a:gd name="T30" fmla="*/ 1198 w 2247"/>
                  <a:gd name="T31" fmla="*/ 2515 h 2460"/>
                  <a:gd name="T32" fmla="*/ 1211 w 2247"/>
                  <a:gd name="T33" fmla="*/ 2399 h 2460"/>
                  <a:gd name="T34" fmla="*/ 1174 w 2247"/>
                  <a:gd name="T35" fmla="*/ 2263 h 2460"/>
                  <a:gd name="T36" fmla="*/ 994 w 2247"/>
                  <a:gd name="T37" fmla="*/ 2229 h 2460"/>
                  <a:gd name="T38" fmla="*/ 800 w 2247"/>
                  <a:gd name="T39" fmla="*/ 2130 h 2460"/>
                  <a:gd name="T40" fmla="*/ 654 w 2247"/>
                  <a:gd name="T41" fmla="*/ 2107 h 2460"/>
                  <a:gd name="T42" fmla="*/ 678 w 2247"/>
                  <a:gd name="T43" fmla="*/ 1948 h 2460"/>
                  <a:gd name="T44" fmla="*/ 575 w 2247"/>
                  <a:gd name="T45" fmla="*/ 1795 h 2460"/>
                  <a:gd name="T46" fmla="*/ 415 w 2247"/>
                  <a:gd name="T47" fmla="*/ 1709 h 2460"/>
                  <a:gd name="T48" fmla="*/ 373 w 2247"/>
                  <a:gd name="T49" fmla="*/ 1594 h 2460"/>
                  <a:gd name="T50" fmla="*/ 389 w 2247"/>
                  <a:gd name="T51" fmla="*/ 1515 h 2460"/>
                  <a:gd name="T52" fmla="*/ 385 w 2247"/>
                  <a:gd name="T53" fmla="*/ 1414 h 2460"/>
                  <a:gd name="T54" fmla="*/ 416 w 2247"/>
                  <a:gd name="T55" fmla="*/ 1271 h 2460"/>
                  <a:gd name="T56" fmla="*/ 479 w 2247"/>
                  <a:gd name="T57" fmla="*/ 1102 h 2460"/>
                  <a:gd name="T58" fmla="*/ 390 w 2247"/>
                  <a:gd name="T59" fmla="*/ 809 h 2460"/>
                  <a:gd name="T60" fmla="*/ 354 w 2247"/>
                  <a:gd name="T61" fmla="*/ 573 h 2460"/>
                  <a:gd name="T62" fmla="*/ 393 w 2247"/>
                  <a:gd name="T63" fmla="*/ 352 h 2460"/>
                  <a:gd name="T64" fmla="*/ 483 w 2247"/>
                  <a:gd name="T65" fmla="*/ 358 h 2460"/>
                  <a:gd name="T66" fmla="*/ 660 w 2247"/>
                  <a:gd name="T67" fmla="*/ 379 h 2460"/>
                  <a:gd name="T68" fmla="*/ 843 w 2247"/>
                  <a:gd name="T69" fmla="*/ 540 h 2460"/>
                  <a:gd name="T70" fmla="*/ 569 w 2247"/>
                  <a:gd name="T71" fmla="*/ 631 h 2460"/>
                  <a:gd name="T72" fmla="*/ 620 w 2247"/>
                  <a:gd name="T73" fmla="*/ 748 h 2460"/>
                  <a:gd name="T74" fmla="*/ 703 w 2247"/>
                  <a:gd name="T75" fmla="*/ 794 h 2460"/>
                  <a:gd name="T76" fmla="*/ 820 w 2247"/>
                  <a:gd name="T77" fmla="*/ 718 h 2460"/>
                  <a:gd name="T78" fmla="*/ 989 w 2247"/>
                  <a:gd name="T79" fmla="*/ 552 h 2460"/>
                  <a:gd name="T80" fmla="*/ 918 w 2247"/>
                  <a:gd name="T81" fmla="*/ 340 h 2460"/>
                  <a:gd name="T82" fmla="*/ 1020 w 2247"/>
                  <a:gd name="T83" fmla="*/ 473 h 2460"/>
                  <a:gd name="T84" fmla="*/ 1198 w 2247"/>
                  <a:gd name="T85" fmla="*/ 183 h 2460"/>
                  <a:gd name="T86" fmla="*/ 1280 w 2247"/>
                  <a:gd name="T87" fmla="*/ 138 h 2460"/>
                  <a:gd name="T88" fmla="*/ 1450 w 2247"/>
                  <a:gd name="T89" fmla="*/ 29 h 2460"/>
                  <a:gd name="T90" fmla="*/ 64 w 2247"/>
                  <a:gd name="T91" fmla="*/ 1830 h 2460"/>
                  <a:gd name="T92" fmla="*/ 146 w 2247"/>
                  <a:gd name="T93" fmla="*/ 1914 h 2460"/>
                  <a:gd name="T94" fmla="*/ 6 w 2247"/>
                  <a:gd name="T95" fmla="*/ 1904 h 2460"/>
                  <a:gd name="T96" fmla="*/ 582 w 2247"/>
                  <a:gd name="T97" fmla="*/ 1205 h 2460"/>
                  <a:gd name="T98" fmla="*/ 489 w 2247"/>
                  <a:gd name="T99" fmla="*/ 1228 h 2460"/>
                  <a:gd name="T100" fmla="*/ 763 w 2247"/>
                  <a:gd name="T101" fmla="*/ 1136 h 2460"/>
                  <a:gd name="T102" fmla="*/ 680 w 2247"/>
                  <a:gd name="T103" fmla="*/ 1052 h 2460"/>
                  <a:gd name="T104" fmla="*/ 706 w 2247"/>
                  <a:gd name="T105" fmla="*/ 1151 h 2460"/>
                  <a:gd name="T106" fmla="*/ 882 w 2247"/>
                  <a:gd name="T107" fmla="*/ 1266 h 2460"/>
                  <a:gd name="T108" fmla="*/ 953 w 2247"/>
                  <a:gd name="T109" fmla="*/ 1405 h 2460"/>
                  <a:gd name="T110" fmla="*/ 868 w 2247"/>
                  <a:gd name="T111" fmla="*/ 1397 h 2460"/>
                  <a:gd name="T112" fmla="*/ 868 w 2247"/>
                  <a:gd name="T113" fmla="*/ 1291 h 2460"/>
                  <a:gd name="T114" fmla="*/ 1098 w 2247"/>
                  <a:gd name="T115" fmla="*/ 232 h 24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47"/>
                  <a:gd name="T175" fmla="*/ 0 h 2460"/>
                  <a:gd name="T176" fmla="*/ 2247 w 2247"/>
                  <a:gd name="T177" fmla="*/ 2460 h 24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47" h="2460">
                    <a:moveTo>
                      <a:pt x="1241" y="0"/>
                    </a:moveTo>
                    <a:lnTo>
                      <a:pt x="2245" y="0"/>
                    </a:lnTo>
                    <a:lnTo>
                      <a:pt x="2247" y="853"/>
                    </a:lnTo>
                    <a:lnTo>
                      <a:pt x="2205" y="899"/>
                    </a:lnTo>
                    <a:lnTo>
                      <a:pt x="2164" y="932"/>
                    </a:lnTo>
                    <a:lnTo>
                      <a:pt x="2134" y="977"/>
                    </a:lnTo>
                    <a:lnTo>
                      <a:pt x="2119" y="979"/>
                    </a:lnTo>
                    <a:lnTo>
                      <a:pt x="2072" y="1028"/>
                    </a:lnTo>
                    <a:lnTo>
                      <a:pt x="2072" y="1050"/>
                    </a:lnTo>
                    <a:lnTo>
                      <a:pt x="2020" y="1085"/>
                    </a:lnTo>
                    <a:lnTo>
                      <a:pt x="1967" y="1153"/>
                    </a:lnTo>
                    <a:lnTo>
                      <a:pt x="1937" y="1172"/>
                    </a:lnTo>
                    <a:lnTo>
                      <a:pt x="1915" y="1188"/>
                    </a:lnTo>
                    <a:lnTo>
                      <a:pt x="1917" y="1205"/>
                    </a:lnTo>
                    <a:lnTo>
                      <a:pt x="1946" y="1200"/>
                    </a:lnTo>
                    <a:lnTo>
                      <a:pt x="1951" y="1209"/>
                    </a:lnTo>
                    <a:lnTo>
                      <a:pt x="1935" y="1232"/>
                    </a:lnTo>
                    <a:lnTo>
                      <a:pt x="1944" y="1244"/>
                    </a:lnTo>
                    <a:lnTo>
                      <a:pt x="1982" y="1232"/>
                    </a:lnTo>
                    <a:lnTo>
                      <a:pt x="1990" y="1244"/>
                    </a:lnTo>
                    <a:lnTo>
                      <a:pt x="1962" y="1254"/>
                    </a:lnTo>
                    <a:lnTo>
                      <a:pt x="1956" y="1278"/>
                    </a:lnTo>
                    <a:lnTo>
                      <a:pt x="1978" y="1307"/>
                    </a:lnTo>
                    <a:lnTo>
                      <a:pt x="1954" y="1363"/>
                    </a:lnTo>
                    <a:lnTo>
                      <a:pt x="1959" y="1390"/>
                    </a:lnTo>
                    <a:lnTo>
                      <a:pt x="1992" y="1378"/>
                    </a:lnTo>
                    <a:lnTo>
                      <a:pt x="2002" y="1390"/>
                    </a:lnTo>
                    <a:lnTo>
                      <a:pt x="2038" y="1383"/>
                    </a:lnTo>
                    <a:lnTo>
                      <a:pt x="2057" y="1426"/>
                    </a:lnTo>
                    <a:lnTo>
                      <a:pt x="2038" y="1452"/>
                    </a:lnTo>
                    <a:lnTo>
                      <a:pt x="2009" y="1456"/>
                    </a:lnTo>
                    <a:lnTo>
                      <a:pt x="1990" y="1454"/>
                    </a:lnTo>
                    <a:lnTo>
                      <a:pt x="1983" y="1484"/>
                    </a:lnTo>
                    <a:lnTo>
                      <a:pt x="1965" y="1478"/>
                    </a:lnTo>
                    <a:lnTo>
                      <a:pt x="1927" y="1494"/>
                    </a:lnTo>
                    <a:lnTo>
                      <a:pt x="1918" y="1465"/>
                    </a:lnTo>
                    <a:lnTo>
                      <a:pt x="1899" y="1463"/>
                    </a:lnTo>
                    <a:lnTo>
                      <a:pt x="1879" y="1483"/>
                    </a:lnTo>
                    <a:lnTo>
                      <a:pt x="1877" y="1511"/>
                    </a:lnTo>
                    <a:lnTo>
                      <a:pt x="1843" y="1509"/>
                    </a:lnTo>
                    <a:lnTo>
                      <a:pt x="1781" y="1569"/>
                    </a:lnTo>
                    <a:lnTo>
                      <a:pt x="1762" y="1579"/>
                    </a:lnTo>
                    <a:lnTo>
                      <a:pt x="1758" y="1561"/>
                    </a:lnTo>
                    <a:lnTo>
                      <a:pt x="1731" y="1559"/>
                    </a:lnTo>
                    <a:lnTo>
                      <a:pt x="1733" y="1588"/>
                    </a:lnTo>
                    <a:lnTo>
                      <a:pt x="1715" y="1593"/>
                    </a:lnTo>
                    <a:lnTo>
                      <a:pt x="1701" y="1557"/>
                    </a:lnTo>
                    <a:lnTo>
                      <a:pt x="1663" y="1558"/>
                    </a:lnTo>
                    <a:lnTo>
                      <a:pt x="1639" y="1547"/>
                    </a:lnTo>
                    <a:lnTo>
                      <a:pt x="1600" y="1575"/>
                    </a:lnTo>
                    <a:lnTo>
                      <a:pt x="1589" y="1550"/>
                    </a:lnTo>
                    <a:lnTo>
                      <a:pt x="1560" y="1564"/>
                    </a:lnTo>
                    <a:lnTo>
                      <a:pt x="1560" y="1585"/>
                    </a:lnTo>
                    <a:lnTo>
                      <a:pt x="1533" y="1597"/>
                    </a:lnTo>
                    <a:lnTo>
                      <a:pt x="1526" y="1574"/>
                    </a:lnTo>
                    <a:lnTo>
                      <a:pt x="1507" y="1584"/>
                    </a:lnTo>
                    <a:lnTo>
                      <a:pt x="1488" y="1622"/>
                    </a:lnTo>
                    <a:lnTo>
                      <a:pt x="1456" y="1653"/>
                    </a:lnTo>
                    <a:lnTo>
                      <a:pt x="1459" y="1677"/>
                    </a:lnTo>
                    <a:lnTo>
                      <a:pt x="1443" y="1686"/>
                    </a:lnTo>
                    <a:lnTo>
                      <a:pt x="1420" y="1701"/>
                    </a:lnTo>
                    <a:lnTo>
                      <a:pt x="1435" y="1723"/>
                    </a:lnTo>
                    <a:lnTo>
                      <a:pt x="1452" y="1750"/>
                    </a:lnTo>
                    <a:lnTo>
                      <a:pt x="1419" y="1780"/>
                    </a:lnTo>
                    <a:lnTo>
                      <a:pt x="1408" y="1751"/>
                    </a:lnTo>
                    <a:lnTo>
                      <a:pt x="1383" y="1734"/>
                    </a:lnTo>
                    <a:lnTo>
                      <a:pt x="1363" y="1764"/>
                    </a:lnTo>
                    <a:lnTo>
                      <a:pt x="1360" y="1826"/>
                    </a:lnTo>
                    <a:lnTo>
                      <a:pt x="1377" y="1843"/>
                    </a:lnTo>
                    <a:lnTo>
                      <a:pt x="1369" y="1885"/>
                    </a:lnTo>
                    <a:lnTo>
                      <a:pt x="1365" y="1923"/>
                    </a:lnTo>
                    <a:lnTo>
                      <a:pt x="1378" y="1932"/>
                    </a:lnTo>
                    <a:lnTo>
                      <a:pt x="1397" y="1914"/>
                    </a:lnTo>
                    <a:lnTo>
                      <a:pt x="1411" y="1922"/>
                    </a:lnTo>
                    <a:lnTo>
                      <a:pt x="1411" y="1945"/>
                    </a:lnTo>
                    <a:lnTo>
                      <a:pt x="1446" y="1951"/>
                    </a:lnTo>
                    <a:lnTo>
                      <a:pt x="1452" y="1939"/>
                    </a:lnTo>
                    <a:lnTo>
                      <a:pt x="1509" y="1973"/>
                    </a:lnTo>
                    <a:lnTo>
                      <a:pt x="1536" y="1998"/>
                    </a:lnTo>
                    <a:lnTo>
                      <a:pt x="1525" y="2026"/>
                    </a:lnTo>
                    <a:lnTo>
                      <a:pt x="1567" y="2037"/>
                    </a:lnTo>
                    <a:lnTo>
                      <a:pt x="1557" y="2047"/>
                    </a:lnTo>
                    <a:lnTo>
                      <a:pt x="1546" y="2055"/>
                    </a:lnTo>
                    <a:lnTo>
                      <a:pt x="1535" y="2071"/>
                    </a:lnTo>
                    <a:lnTo>
                      <a:pt x="1518" y="2093"/>
                    </a:lnTo>
                    <a:lnTo>
                      <a:pt x="1500" y="2106"/>
                    </a:lnTo>
                    <a:lnTo>
                      <a:pt x="1497" y="2129"/>
                    </a:lnTo>
                    <a:lnTo>
                      <a:pt x="1490" y="2155"/>
                    </a:lnTo>
                    <a:lnTo>
                      <a:pt x="1481" y="2189"/>
                    </a:lnTo>
                    <a:lnTo>
                      <a:pt x="1462" y="2209"/>
                    </a:lnTo>
                    <a:lnTo>
                      <a:pt x="1479" y="2222"/>
                    </a:lnTo>
                    <a:lnTo>
                      <a:pt x="1497" y="2226"/>
                    </a:lnTo>
                    <a:lnTo>
                      <a:pt x="1514" y="2239"/>
                    </a:lnTo>
                    <a:lnTo>
                      <a:pt x="1519" y="2254"/>
                    </a:lnTo>
                    <a:lnTo>
                      <a:pt x="1531" y="2254"/>
                    </a:lnTo>
                    <a:lnTo>
                      <a:pt x="1540" y="2260"/>
                    </a:lnTo>
                    <a:lnTo>
                      <a:pt x="1545" y="2291"/>
                    </a:lnTo>
                    <a:lnTo>
                      <a:pt x="1546" y="2311"/>
                    </a:lnTo>
                    <a:lnTo>
                      <a:pt x="1569" y="2327"/>
                    </a:lnTo>
                    <a:lnTo>
                      <a:pt x="1591" y="2347"/>
                    </a:lnTo>
                    <a:lnTo>
                      <a:pt x="1610" y="2372"/>
                    </a:lnTo>
                    <a:lnTo>
                      <a:pt x="1630" y="2386"/>
                    </a:lnTo>
                    <a:lnTo>
                      <a:pt x="1623" y="2404"/>
                    </a:lnTo>
                    <a:lnTo>
                      <a:pt x="1608" y="2427"/>
                    </a:lnTo>
                    <a:lnTo>
                      <a:pt x="1586" y="2460"/>
                    </a:lnTo>
                    <a:lnTo>
                      <a:pt x="1547" y="2448"/>
                    </a:lnTo>
                    <a:lnTo>
                      <a:pt x="1529" y="2429"/>
                    </a:lnTo>
                    <a:lnTo>
                      <a:pt x="1507" y="2419"/>
                    </a:lnTo>
                    <a:lnTo>
                      <a:pt x="1499" y="2427"/>
                    </a:lnTo>
                    <a:lnTo>
                      <a:pt x="1473" y="2416"/>
                    </a:lnTo>
                    <a:lnTo>
                      <a:pt x="1448" y="2411"/>
                    </a:lnTo>
                    <a:lnTo>
                      <a:pt x="1458" y="2391"/>
                    </a:lnTo>
                    <a:lnTo>
                      <a:pt x="1444" y="2381"/>
                    </a:lnTo>
                    <a:lnTo>
                      <a:pt x="1415" y="2383"/>
                    </a:lnTo>
                    <a:lnTo>
                      <a:pt x="1390" y="2398"/>
                    </a:lnTo>
                    <a:lnTo>
                      <a:pt x="1359" y="2403"/>
                    </a:lnTo>
                    <a:lnTo>
                      <a:pt x="1329" y="2403"/>
                    </a:lnTo>
                    <a:lnTo>
                      <a:pt x="1324" y="2388"/>
                    </a:lnTo>
                    <a:lnTo>
                      <a:pt x="1300" y="2388"/>
                    </a:lnTo>
                    <a:lnTo>
                      <a:pt x="1276" y="2386"/>
                    </a:lnTo>
                    <a:lnTo>
                      <a:pt x="1264" y="2371"/>
                    </a:lnTo>
                    <a:lnTo>
                      <a:pt x="1228" y="2379"/>
                    </a:lnTo>
                    <a:lnTo>
                      <a:pt x="1204" y="2369"/>
                    </a:lnTo>
                    <a:lnTo>
                      <a:pt x="1177" y="2371"/>
                    </a:lnTo>
                    <a:lnTo>
                      <a:pt x="1156" y="2368"/>
                    </a:lnTo>
                    <a:lnTo>
                      <a:pt x="1134" y="2366"/>
                    </a:lnTo>
                    <a:lnTo>
                      <a:pt x="1115" y="2388"/>
                    </a:lnTo>
                    <a:lnTo>
                      <a:pt x="1096" y="2368"/>
                    </a:lnTo>
                    <a:lnTo>
                      <a:pt x="1059" y="2350"/>
                    </a:lnTo>
                    <a:lnTo>
                      <a:pt x="1029" y="2337"/>
                    </a:lnTo>
                    <a:lnTo>
                      <a:pt x="1000" y="2322"/>
                    </a:lnTo>
                    <a:lnTo>
                      <a:pt x="973" y="2322"/>
                    </a:lnTo>
                    <a:lnTo>
                      <a:pt x="926" y="2298"/>
                    </a:lnTo>
                    <a:lnTo>
                      <a:pt x="906" y="2290"/>
                    </a:lnTo>
                    <a:lnTo>
                      <a:pt x="908" y="2256"/>
                    </a:lnTo>
                    <a:lnTo>
                      <a:pt x="937" y="2254"/>
                    </a:lnTo>
                    <a:lnTo>
                      <a:pt x="963" y="2206"/>
                    </a:lnTo>
                    <a:lnTo>
                      <a:pt x="985" y="2198"/>
                    </a:lnTo>
                    <a:lnTo>
                      <a:pt x="979" y="2184"/>
                    </a:lnTo>
                    <a:lnTo>
                      <a:pt x="937" y="2173"/>
                    </a:lnTo>
                    <a:lnTo>
                      <a:pt x="929" y="2158"/>
                    </a:lnTo>
                    <a:lnTo>
                      <a:pt x="975" y="2154"/>
                    </a:lnTo>
                    <a:lnTo>
                      <a:pt x="972" y="2138"/>
                    </a:lnTo>
                    <a:lnTo>
                      <a:pt x="1008" y="2116"/>
                    </a:lnTo>
                    <a:lnTo>
                      <a:pt x="994" y="2099"/>
                    </a:lnTo>
                    <a:lnTo>
                      <a:pt x="939" y="2116"/>
                    </a:lnTo>
                    <a:lnTo>
                      <a:pt x="940" y="2093"/>
                    </a:lnTo>
                    <a:lnTo>
                      <a:pt x="941" y="2076"/>
                    </a:lnTo>
                    <a:lnTo>
                      <a:pt x="975" y="2069"/>
                    </a:lnTo>
                    <a:lnTo>
                      <a:pt x="981" y="2051"/>
                    </a:lnTo>
                    <a:lnTo>
                      <a:pt x="997" y="2048"/>
                    </a:lnTo>
                    <a:lnTo>
                      <a:pt x="1019" y="2042"/>
                    </a:lnTo>
                    <a:lnTo>
                      <a:pt x="1019" y="2018"/>
                    </a:lnTo>
                    <a:lnTo>
                      <a:pt x="1012" y="1985"/>
                    </a:lnTo>
                    <a:lnTo>
                      <a:pt x="1002" y="1981"/>
                    </a:lnTo>
                    <a:lnTo>
                      <a:pt x="1002" y="1968"/>
                    </a:lnTo>
                    <a:lnTo>
                      <a:pt x="1013" y="1960"/>
                    </a:lnTo>
                    <a:lnTo>
                      <a:pt x="1009" y="1953"/>
                    </a:lnTo>
                    <a:lnTo>
                      <a:pt x="1000" y="1953"/>
                    </a:lnTo>
                    <a:lnTo>
                      <a:pt x="1014" y="1926"/>
                    </a:lnTo>
                    <a:lnTo>
                      <a:pt x="1010" y="1904"/>
                    </a:lnTo>
                    <a:lnTo>
                      <a:pt x="988" y="1904"/>
                    </a:lnTo>
                    <a:lnTo>
                      <a:pt x="972" y="1894"/>
                    </a:lnTo>
                    <a:lnTo>
                      <a:pt x="954" y="1890"/>
                    </a:lnTo>
                    <a:lnTo>
                      <a:pt x="937" y="1889"/>
                    </a:lnTo>
                    <a:lnTo>
                      <a:pt x="925" y="1898"/>
                    </a:lnTo>
                    <a:lnTo>
                      <a:pt x="904" y="1881"/>
                    </a:lnTo>
                    <a:lnTo>
                      <a:pt x="891" y="1898"/>
                    </a:lnTo>
                    <a:lnTo>
                      <a:pt x="874" y="1888"/>
                    </a:lnTo>
                    <a:lnTo>
                      <a:pt x="862" y="1866"/>
                    </a:lnTo>
                    <a:lnTo>
                      <a:pt x="836" y="1875"/>
                    </a:lnTo>
                    <a:lnTo>
                      <a:pt x="801" y="1887"/>
                    </a:lnTo>
                    <a:lnTo>
                      <a:pt x="783" y="1874"/>
                    </a:lnTo>
                    <a:lnTo>
                      <a:pt x="764" y="1879"/>
                    </a:lnTo>
                    <a:lnTo>
                      <a:pt x="754" y="1856"/>
                    </a:lnTo>
                    <a:lnTo>
                      <a:pt x="748" y="1831"/>
                    </a:lnTo>
                    <a:lnTo>
                      <a:pt x="730" y="1816"/>
                    </a:lnTo>
                    <a:lnTo>
                      <a:pt x="720" y="1816"/>
                    </a:lnTo>
                    <a:lnTo>
                      <a:pt x="683" y="1816"/>
                    </a:lnTo>
                    <a:lnTo>
                      <a:pt x="673" y="1792"/>
                    </a:lnTo>
                    <a:lnTo>
                      <a:pt x="692" y="1777"/>
                    </a:lnTo>
                    <a:lnTo>
                      <a:pt x="678" y="1763"/>
                    </a:lnTo>
                    <a:lnTo>
                      <a:pt x="659" y="1748"/>
                    </a:lnTo>
                    <a:lnTo>
                      <a:pt x="644" y="1732"/>
                    </a:lnTo>
                    <a:lnTo>
                      <a:pt x="621" y="1744"/>
                    </a:lnTo>
                    <a:lnTo>
                      <a:pt x="590" y="1758"/>
                    </a:lnTo>
                    <a:lnTo>
                      <a:pt x="582" y="1776"/>
                    </a:lnTo>
                    <a:lnTo>
                      <a:pt x="567" y="1773"/>
                    </a:lnTo>
                    <a:lnTo>
                      <a:pt x="550" y="1773"/>
                    </a:lnTo>
                    <a:lnTo>
                      <a:pt x="544" y="1755"/>
                    </a:lnTo>
                    <a:lnTo>
                      <a:pt x="541" y="1731"/>
                    </a:lnTo>
                    <a:lnTo>
                      <a:pt x="532" y="1714"/>
                    </a:lnTo>
                    <a:lnTo>
                      <a:pt x="516" y="1703"/>
                    </a:lnTo>
                    <a:lnTo>
                      <a:pt x="525" y="1687"/>
                    </a:lnTo>
                    <a:lnTo>
                      <a:pt x="541" y="1699"/>
                    </a:lnTo>
                    <a:lnTo>
                      <a:pt x="560" y="1684"/>
                    </a:lnTo>
                    <a:lnTo>
                      <a:pt x="581" y="1669"/>
                    </a:lnTo>
                    <a:lnTo>
                      <a:pt x="570" y="1639"/>
                    </a:lnTo>
                    <a:lnTo>
                      <a:pt x="557" y="1636"/>
                    </a:lnTo>
                    <a:lnTo>
                      <a:pt x="551" y="1624"/>
                    </a:lnTo>
                    <a:lnTo>
                      <a:pt x="543" y="1606"/>
                    </a:lnTo>
                    <a:lnTo>
                      <a:pt x="524" y="1602"/>
                    </a:lnTo>
                    <a:lnTo>
                      <a:pt x="510" y="1588"/>
                    </a:lnTo>
                    <a:lnTo>
                      <a:pt x="492" y="1576"/>
                    </a:lnTo>
                    <a:lnTo>
                      <a:pt x="479" y="1552"/>
                    </a:lnTo>
                    <a:lnTo>
                      <a:pt x="490" y="1532"/>
                    </a:lnTo>
                    <a:lnTo>
                      <a:pt x="484" y="1510"/>
                    </a:lnTo>
                    <a:lnTo>
                      <a:pt x="478" y="1493"/>
                    </a:lnTo>
                    <a:lnTo>
                      <a:pt x="457" y="1476"/>
                    </a:lnTo>
                    <a:lnTo>
                      <a:pt x="438" y="1463"/>
                    </a:lnTo>
                    <a:lnTo>
                      <a:pt x="408" y="1489"/>
                    </a:lnTo>
                    <a:lnTo>
                      <a:pt x="401" y="1467"/>
                    </a:lnTo>
                    <a:lnTo>
                      <a:pt x="375" y="1460"/>
                    </a:lnTo>
                    <a:lnTo>
                      <a:pt x="355" y="1452"/>
                    </a:lnTo>
                    <a:lnTo>
                      <a:pt x="344" y="1448"/>
                    </a:lnTo>
                    <a:lnTo>
                      <a:pt x="349" y="1438"/>
                    </a:lnTo>
                    <a:lnTo>
                      <a:pt x="352" y="1432"/>
                    </a:lnTo>
                    <a:lnTo>
                      <a:pt x="354" y="1420"/>
                    </a:lnTo>
                    <a:lnTo>
                      <a:pt x="344" y="1411"/>
                    </a:lnTo>
                    <a:lnTo>
                      <a:pt x="334" y="1400"/>
                    </a:lnTo>
                    <a:lnTo>
                      <a:pt x="325" y="1387"/>
                    </a:lnTo>
                    <a:lnTo>
                      <a:pt x="322" y="1372"/>
                    </a:lnTo>
                    <a:lnTo>
                      <a:pt x="332" y="1362"/>
                    </a:lnTo>
                    <a:lnTo>
                      <a:pt x="327" y="1352"/>
                    </a:lnTo>
                    <a:lnTo>
                      <a:pt x="314" y="1341"/>
                    </a:lnTo>
                    <a:lnTo>
                      <a:pt x="305" y="1335"/>
                    </a:lnTo>
                    <a:lnTo>
                      <a:pt x="307" y="1330"/>
                    </a:lnTo>
                    <a:lnTo>
                      <a:pt x="312" y="1321"/>
                    </a:lnTo>
                    <a:lnTo>
                      <a:pt x="316" y="1316"/>
                    </a:lnTo>
                    <a:lnTo>
                      <a:pt x="329" y="1306"/>
                    </a:lnTo>
                    <a:lnTo>
                      <a:pt x="350" y="1295"/>
                    </a:lnTo>
                    <a:lnTo>
                      <a:pt x="350" y="1283"/>
                    </a:lnTo>
                    <a:lnTo>
                      <a:pt x="345" y="1274"/>
                    </a:lnTo>
                    <a:lnTo>
                      <a:pt x="327" y="1275"/>
                    </a:lnTo>
                    <a:lnTo>
                      <a:pt x="318" y="1278"/>
                    </a:lnTo>
                    <a:lnTo>
                      <a:pt x="318" y="1268"/>
                    </a:lnTo>
                    <a:lnTo>
                      <a:pt x="324" y="1259"/>
                    </a:lnTo>
                    <a:lnTo>
                      <a:pt x="334" y="1249"/>
                    </a:lnTo>
                    <a:lnTo>
                      <a:pt x="325" y="1235"/>
                    </a:lnTo>
                    <a:lnTo>
                      <a:pt x="317" y="1228"/>
                    </a:lnTo>
                    <a:lnTo>
                      <a:pt x="322" y="1206"/>
                    </a:lnTo>
                    <a:lnTo>
                      <a:pt x="317" y="1202"/>
                    </a:lnTo>
                    <a:lnTo>
                      <a:pt x="324" y="1190"/>
                    </a:lnTo>
                    <a:lnTo>
                      <a:pt x="312" y="1182"/>
                    </a:lnTo>
                    <a:lnTo>
                      <a:pt x="329" y="1171"/>
                    </a:lnTo>
                    <a:lnTo>
                      <a:pt x="355" y="1146"/>
                    </a:lnTo>
                    <a:lnTo>
                      <a:pt x="369" y="1122"/>
                    </a:lnTo>
                    <a:lnTo>
                      <a:pt x="386" y="1127"/>
                    </a:lnTo>
                    <a:lnTo>
                      <a:pt x="396" y="1128"/>
                    </a:lnTo>
                    <a:lnTo>
                      <a:pt x="397" y="1105"/>
                    </a:lnTo>
                    <a:lnTo>
                      <a:pt x="352" y="1091"/>
                    </a:lnTo>
                    <a:lnTo>
                      <a:pt x="350" y="1069"/>
                    </a:lnTo>
                    <a:lnTo>
                      <a:pt x="329" y="1069"/>
                    </a:lnTo>
                    <a:lnTo>
                      <a:pt x="314" y="1087"/>
                    </a:lnTo>
                    <a:lnTo>
                      <a:pt x="306" y="1064"/>
                    </a:lnTo>
                    <a:lnTo>
                      <a:pt x="319" y="1044"/>
                    </a:lnTo>
                    <a:lnTo>
                      <a:pt x="340" y="1028"/>
                    </a:lnTo>
                    <a:lnTo>
                      <a:pt x="358" y="1004"/>
                    </a:lnTo>
                    <a:lnTo>
                      <a:pt x="374" y="980"/>
                    </a:lnTo>
                    <a:lnTo>
                      <a:pt x="394" y="941"/>
                    </a:lnTo>
                    <a:lnTo>
                      <a:pt x="403" y="927"/>
                    </a:lnTo>
                    <a:lnTo>
                      <a:pt x="419" y="886"/>
                    </a:lnTo>
                    <a:lnTo>
                      <a:pt x="415" y="858"/>
                    </a:lnTo>
                    <a:lnTo>
                      <a:pt x="387" y="831"/>
                    </a:lnTo>
                    <a:lnTo>
                      <a:pt x="362" y="810"/>
                    </a:lnTo>
                    <a:lnTo>
                      <a:pt x="360" y="768"/>
                    </a:lnTo>
                    <a:lnTo>
                      <a:pt x="353" y="745"/>
                    </a:lnTo>
                    <a:lnTo>
                      <a:pt x="349" y="725"/>
                    </a:lnTo>
                    <a:lnTo>
                      <a:pt x="329" y="718"/>
                    </a:lnTo>
                    <a:lnTo>
                      <a:pt x="328" y="681"/>
                    </a:lnTo>
                    <a:lnTo>
                      <a:pt x="315" y="661"/>
                    </a:lnTo>
                    <a:lnTo>
                      <a:pt x="329" y="640"/>
                    </a:lnTo>
                    <a:lnTo>
                      <a:pt x="329" y="623"/>
                    </a:lnTo>
                    <a:lnTo>
                      <a:pt x="320" y="605"/>
                    </a:lnTo>
                    <a:lnTo>
                      <a:pt x="305" y="579"/>
                    </a:lnTo>
                    <a:lnTo>
                      <a:pt x="294" y="555"/>
                    </a:lnTo>
                    <a:lnTo>
                      <a:pt x="298" y="542"/>
                    </a:lnTo>
                    <a:lnTo>
                      <a:pt x="301" y="506"/>
                    </a:lnTo>
                    <a:lnTo>
                      <a:pt x="298" y="482"/>
                    </a:lnTo>
                    <a:lnTo>
                      <a:pt x="301" y="461"/>
                    </a:lnTo>
                    <a:lnTo>
                      <a:pt x="287" y="449"/>
                    </a:lnTo>
                    <a:lnTo>
                      <a:pt x="271" y="419"/>
                    </a:lnTo>
                    <a:lnTo>
                      <a:pt x="260" y="407"/>
                    </a:lnTo>
                    <a:lnTo>
                      <a:pt x="277" y="372"/>
                    </a:lnTo>
                    <a:lnTo>
                      <a:pt x="299" y="336"/>
                    </a:lnTo>
                    <a:lnTo>
                      <a:pt x="310" y="312"/>
                    </a:lnTo>
                    <a:lnTo>
                      <a:pt x="307" y="303"/>
                    </a:lnTo>
                    <a:lnTo>
                      <a:pt x="331" y="296"/>
                    </a:lnTo>
                    <a:lnTo>
                      <a:pt x="349" y="282"/>
                    </a:lnTo>
                    <a:lnTo>
                      <a:pt x="365" y="255"/>
                    </a:lnTo>
                    <a:lnTo>
                      <a:pt x="380" y="262"/>
                    </a:lnTo>
                    <a:lnTo>
                      <a:pt x="402" y="269"/>
                    </a:lnTo>
                    <a:lnTo>
                      <a:pt x="393" y="278"/>
                    </a:lnTo>
                    <a:lnTo>
                      <a:pt x="377" y="286"/>
                    </a:lnTo>
                    <a:lnTo>
                      <a:pt x="371" y="293"/>
                    </a:lnTo>
                    <a:lnTo>
                      <a:pt x="384" y="301"/>
                    </a:lnTo>
                    <a:lnTo>
                      <a:pt x="406" y="301"/>
                    </a:lnTo>
                    <a:lnTo>
                      <a:pt x="406" y="319"/>
                    </a:lnTo>
                    <a:lnTo>
                      <a:pt x="421" y="315"/>
                    </a:lnTo>
                    <a:lnTo>
                      <a:pt x="432" y="300"/>
                    </a:lnTo>
                    <a:lnTo>
                      <a:pt x="450" y="300"/>
                    </a:lnTo>
                    <a:lnTo>
                      <a:pt x="462" y="286"/>
                    </a:lnTo>
                    <a:lnTo>
                      <a:pt x="493" y="295"/>
                    </a:lnTo>
                    <a:lnTo>
                      <a:pt x="523" y="305"/>
                    </a:lnTo>
                    <a:lnTo>
                      <a:pt x="548" y="318"/>
                    </a:lnTo>
                    <a:lnTo>
                      <a:pt x="555" y="319"/>
                    </a:lnTo>
                    <a:lnTo>
                      <a:pt x="569" y="333"/>
                    </a:lnTo>
                    <a:lnTo>
                      <a:pt x="577" y="354"/>
                    </a:lnTo>
                    <a:lnTo>
                      <a:pt x="607" y="364"/>
                    </a:lnTo>
                    <a:lnTo>
                      <a:pt x="617" y="365"/>
                    </a:lnTo>
                    <a:lnTo>
                      <a:pt x="635" y="377"/>
                    </a:lnTo>
                    <a:lnTo>
                      <a:pt x="659" y="394"/>
                    </a:lnTo>
                    <a:lnTo>
                      <a:pt x="695" y="391"/>
                    </a:lnTo>
                    <a:lnTo>
                      <a:pt x="709" y="425"/>
                    </a:lnTo>
                    <a:lnTo>
                      <a:pt x="709" y="454"/>
                    </a:lnTo>
                    <a:lnTo>
                      <a:pt x="701" y="487"/>
                    </a:lnTo>
                    <a:lnTo>
                      <a:pt x="684" y="519"/>
                    </a:lnTo>
                    <a:lnTo>
                      <a:pt x="659" y="543"/>
                    </a:lnTo>
                    <a:lnTo>
                      <a:pt x="636" y="539"/>
                    </a:lnTo>
                    <a:lnTo>
                      <a:pt x="613" y="541"/>
                    </a:lnTo>
                    <a:lnTo>
                      <a:pt x="577" y="546"/>
                    </a:lnTo>
                    <a:lnTo>
                      <a:pt x="552" y="543"/>
                    </a:lnTo>
                    <a:lnTo>
                      <a:pt x="511" y="531"/>
                    </a:lnTo>
                    <a:lnTo>
                      <a:pt x="479" y="531"/>
                    </a:lnTo>
                    <a:lnTo>
                      <a:pt x="452" y="529"/>
                    </a:lnTo>
                    <a:lnTo>
                      <a:pt x="437" y="498"/>
                    </a:lnTo>
                    <a:lnTo>
                      <a:pt x="413" y="506"/>
                    </a:lnTo>
                    <a:lnTo>
                      <a:pt x="433" y="533"/>
                    </a:lnTo>
                    <a:lnTo>
                      <a:pt x="445" y="552"/>
                    </a:lnTo>
                    <a:lnTo>
                      <a:pt x="455" y="566"/>
                    </a:lnTo>
                    <a:lnTo>
                      <a:pt x="485" y="578"/>
                    </a:lnTo>
                    <a:lnTo>
                      <a:pt x="513" y="596"/>
                    </a:lnTo>
                    <a:lnTo>
                      <a:pt x="522" y="629"/>
                    </a:lnTo>
                    <a:lnTo>
                      <a:pt x="534" y="658"/>
                    </a:lnTo>
                    <a:lnTo>
                      <a:pt x="550" y="683"/>
                    </a:lnTo>
                    <a:lnTo>
                      <a:pt x="570" y="706"/>
                    </a:lnTo>
                    <a:lnTo>
                      <a:pt x="591" y="723"/>
                    </a:lnTo>
                    <a:lnTo>
                      <a:pt x="624" y="728"/>
                    </a:lnTo>
                    <a:lnTo>
                      <a:pt x="651" y="720"/>
                    </a:lnTo>
                    <a:lnTo>
                      <a:pt x="644" y="694"/>
                    </a:lnTo>
                    <a:lnTo>
                      <a:pt x="619" y="680"/>
                    </a:lnTo>
                    <a:lnTo>
                      <a:pt x="591" y="668"/>
                    </a:lnTo>
                    <a:lnTo>
                      <a:pt x="599" y="651"/>
                    </a:lnTo>
                    <a:lnTo>
                      <a:pt x="629" y="661"/>
                    </a:lnTo>
                    <a:lnTo>
                      <a:pt x="637" y="650"/>
                    </a:lnTo>
                    <a:lnTo>
                      <a:pt x="655" y="655"/>
                    </a:lnTo>
                    <a:lnTo>
                      <a:pt x="706" y="658"/>
                    </a:lnTo>
                    <a:lnTo>
                      <a:pt x="736" y="644"/>
                    </a:lnTo>
                    <a:lnTo>
                      <a:pt x="740" y="629"/>
                    </a:lnTo>
                    <a:lnTo>
                      <a:pt x="717" y="612"/>
                    </a:lnTo>
                    <a:lnTo>
                      <a:pt x="690" y="604"/>
                    </a:lnTo>
                    <a:lnTo>
                      <a:pt x="708" y="577"/>
                    </a:lnTo>
                    <a:lnTo>
                      <a:pt x="727" y="543"/>
                    </a:lnTo>
                    <a:lnTo>
                      <a:pt x="752" y="512"/>
                    </a:lnTo>
                    <a:lnTo>
                      <a:pt x="758" y="486"/>
                    </a:lnTo>
                    <a:lnTo>
                      <a:pt x="791" y="476"/>
                    </a:lnTo>
                    <a:lnTo>
                      <a:pt x="796" y="491"/>
                    </a:lnTo>
                    <a:lnTo>
                      <a:pt x="810" y="503"/>
                    </a:lnTo>
                    <a:lnTo>
                      <a:pt x="833" y="497"/>
                    </a:lnTo>
                    <a:lnTo>
                      <a:pt x="832" y="464"/>
                    </a:lnTo>
                    <a:lnTo>
                      <a:pt x="828" y="430"/>
                    </a:lnTo>
                    <a:lnTo>
                      <a:pt x="809" y="410"/>
                    </a:lnTo>
                    <a:lnTo>
                      <a:pt x="783" y="403"/>
                    </a:lnTo>
                    <a:lnTo>
                      <a:pt x="791" y="376"/>
                    </a:lnTo>
                    <a:lnTo>
                      <a:pt x="784" y="346"/>
                    </a:lnTo>
                    <a:lnTo>
                      <a:pt x="779" y="318"/>
                    </a:lnTo>
                    <a:lnTo>
                      <a:pt x="739" y="306"/>
                    </a:lnTo>
                    <a:lnTo>
                      <a:pt x="745" y="286"/>
                    </a:lnTo>
                    <a:lnTo>
                      <a:pt x="772" y="286"/>
                    </a:lnTo>
                    <a:lnTo>
                      <a:pt x="810" y="275"/>
                    </a:lnTo>
                    <a:lnTo>
                      <a:pt x="824" y="296"/>
                    </a:lnTo>
                    <a:lnTo>
                      <a:pt x="851" y="297"/>
                    </a:lnTo>
                    <a:lnTo>
                      <a:pt x="853" y="320"/>
                    </a:lnTo>
                    <a:lnTo>
                      <a:pt x="838" y="333"/>
                    </a:lnTo>
                    <a:lnTo>
                      <a:pt x="821" y="348"/>
                    </a:lnTo>
                    <a:lnTo>
                      <a:pt x="821" y="370"/>
                    </a:lnTo>
                    <a:lnTo>
                      <a:pt x="844" y="379"/>
                    </a:lnTo>
                    <a:lnTo>
                      <a:pt x="858" y="398"/>
                    </a:lnTo>
                    <a:lnTo>
                      <a:pt x="902" y="394"/>
                    </a:lnTo>
                    <a:lnTo>
                      <a:pt x="911" y="360"/>
                    </a:lnTo>
                    <a:lnTo>
                      <a:pt x="916" y="339"/>
                    </a:lnTo>
                    <a:lnTo>
                      <a:pt x="938" y="322"/>
                    </a:lnTo>
                    <a:lnTo>
                      <a:pt x="938" y="297"/>
                    </a:lnTo>
                    <a:lnTo>
                      <a:pt x="970" y="254"/>
                    </a:lnTo>
                    <a:lnTo>
                      <a:pt x="995" y="224"/>
                    </a:lnTo>
                    <a:lnTo>
                      <a:pt x="1008" y="194"/>
                    </a:lnTo>
                    <a:lnTo>
                      <a:pt x="1008" y="154"/>
                    </a:lnTo>
                    <a:lnTo>
                      <a:pt x="1024" y="154"/>
                    </a:lnTo>
                    <a:lnTo>
                      <a:pt x="1027" y="128"/>
                    </a:lnTo>
                    <a:lnTo>
                      <a:pt x="1010" y="132"/>
                    </a:lnTo>
                    <a:lnTo>
                      <a:pt x="1024" y="112"/>
                    </a:lnTo>
                    <a:lnTo>
                      <a:pt x="1036" y="92"/>
                    </a:lnTo>
                    <a:lnTo>
                      <a:pt x="1043" y="95"/>
                    </a:lnTo>
                    <a:lnTo>
                      <a:pt x="1045" y="115"/>
                    </a:lnTo>
                    <a:lnTo>
                      <a:pt x="1057" y="125"/>
                    </a:lnTo>
                    <a:lnTo>
                      <a:pt x="1077" y="116"/>
                    </a:lnTo>
                    <a:lnTo>
                      <a:pt x="1087" y="120"/>
                    </a:lnTo>
                    <a:lnTo>
                      <a:pt x="1105" y="113"/>
                    </a:lnTo>
                    <a:lnTo>
                      <a:pt x="1127" y="97"/>
                    </a:lnTo>
                    <a:lnTo>
                      <a:pt x="1153" y="66"/>
                    </a:lnTo>
                    <a:lnTo>
                      <a:pt x="1177" y="51"/>
                    </a:lnTo>
                    <a:lnTo>
                      <a:pt x="1185" y="48"/>
                    </a:lnTo>
                    <a:lnTo>
                      <a:pt x="1178" y="31"/>
                    </a:lnTo>
                    <a:lnTo>
                      <a:pt x="1206" y="16"/>
                    </a:lnTo>
                    <a:lnTo>
                      <a:pt x="1220" y="24"/>
                    </a:lnTo>
                    <a:lnTo>
                      <a:pt x="1241" y="0"/>
                    </a:lnTo>
                    <a:close/>
                    <a:moveTo>
                      <a:pt x="5" y="1602"/>
                    </a:moveTo>
                    <a:lnTo>
                      <a:pt x="12" y="1588"/>
                    </a:lnTo>
                    <a:lnTo>
                      <a:pt x="0" y="1584"/>
                    </a:lnTo>
                    <a:lnTo>
                      <a:pt x="2" y="1565"/>
                    </a:lnTo>
                    <a:lnTo>
                      <a:pt x="16" y="1565"/>
                    </a:lnTo>
                    <a:lnTo>
                      <a:pt x="36" y="1567"/>
                    </a:lnTo>
                    <a:lnTo>
                      <a:pt x="49" y="1537"/>
                    </a:lnTo>
                    <a:lnTo>
                      <a:pt x="54" y="1540"/>
                    </a:lnTo>
                    <a:lnTo>
                      <a:pt x="72" y="1547"/>
                    </a:lnTo>
                    <a:lnTo>
                      <a:pt x="92" y="1550"/>
                    </a:lnTo>
                    <a:lnTo>
                      <a:pt x="107" y="1566"/>
                    </a:lnTo>
                    <a:lnTo>
                      <a:pt x="110" y="1578"/>
                    </a:lnTo>
                    <a:lnTo>
                      <a:pt x="123" y="1580"/>
                    </a:lnTo>
                    <a:lnTo>
                      <a:pt x="124" y="1592"/>
                    </a:lnTo>
                    <a:lnTo>
                      <a:pt x="132" y="1595"/>
                    </a:lnTo>
                    <a:lnTo>
                      <a:pt x="131" y="1610"/>
                    </a:lnTo>
                    <a:lnTo>
                      <a:pt x="123" y="1610"/>
                    </a:lnTo>
                    <a:lnTo>
                      <a:pt x="111" y="1613"/>
                    </a:lnTo>
                    <a:lnTo>
                      <a:pt x="91" y="1611"/>
                    </a:lnTo>
                    <a:lnTo>
                      <a:pt x="82" y="1615"/>
                    </a:lnTo>
                    <a:lnTo>
                      <a:pt x="60" y="1615"/>
                    </a:lnTo>
                    <a:lnTo>
                      <a:pt x="48" y="1615"/>
                    </a:lnTo>
                    <a:lnTo>
                      <a:pt x="37" y="1616"/>
                    </a:lnTo>
                    <a:lnTo>
                      <a:pt x="17" y="1610"/>
                    </a:lnTo>
                    <a:lnTo>
                      <a:pt x="7" y="1608"/>
                    </a:lnTo>
                    <a:lnTo>
                      <a:pt x="5" y="1602"/>
                    </a:lnTo>
                    <a:close/>
                    <a:moveTo>
                      <a:pt x="445" y="1119"/>
                    </a:moveTo>
                    <a:lnTo>
                      <a:pt x="454" y="1110"/>
                    </a:lnTo>
                    <a:lnTo>
                      <a:pt x="457" y="1100"/>
                    </a:lnTo>
                    <a:lnTo>
                      <a:pt x="471" y="1097"/>
                    </a:lnTo>
                    <a:lnTo>
                      <a:pt x="480" y="1105"/>
                    </a:lnTo>
                    <a:lnTo>
                      <a:pt x="498" y="1088"/>
                    </a:lnTo>
                    <a:lnTo>
                      <a:pt x="514" y="1061"/>
                    </a:lnTo>
                    <a:lnTo>
                      <a:pt x="510" y="1033"/>
                    </a:lnTo>
                    <a:lnTo>
                      <a:pt x="490" y="1014"/>
                    </a:lnTo>
                    <a:lnTo>
                      <a:pt x="468" y="999"/>
                    </a:lnTo>
                    <a:lnTo>
                      <a:pt x="441" y="988"/>
                    </a:lnTo>
                    <a:lnTo>
                      <a:pt x="423" y="974"/>
                    </a:lnTo>
                    <a:lnTo>
                      <a:pt x="412" y="966"/>
                    </a:lnTo>
                    <a:lnTo>
                      <a:pt x="399" y="985"/>
                    </a:lnTo>
                    <a:lnTo>
                      <a:pt x="381" y="1002"/>
                    </a:lnTo>
                    <a:lnTo>
                      <a:pt x="375" y="1020"/>
                    </a:lnTo>
                    <a:lnTo>
                      <a:pt x="394" y="1024"/>
                    </a:lnTo>
                    <a:lnTo>
                      <a:pt x="411" y="1033"/>
                    </a:lnTo>
                    <a:lnTo>
                      <a:pt x="416" y="1059"/>
                    </a:lnTo>
                    <a:lnTo>
                      <a:pt x="423" y="1078"/>
                    </a:lnTo>
                    <a:lnTo>
                      <a:pt x="430" y="1098"/>
                    </a:lnTo>
                    <a:lnTo>
                      <a:pt x="440" y="1110"/>
                    </a:lnTo>
                    <a:lnTo>
                      <a:pt x="445" y="1119"/>
                    </a:lnTo>
                    <a:close/>
                    <a:moveTo>
                      <a:pt x="624" y="1001"/>
                    </a:moveTo>
                    <a:lnTo>
                      <a:pt x="644" y="994"/>
                    </a:lnTo>
                    <a:lnTo>
                      <a:pt x="652" y="981"/>
                    </a:lnTo>
                    <a:lnTo>
                      <a:pt x="642" y="956"/>
                    </a:lnTo>
                    <a:lnTo>
                      <a:pt x="627" y="927"/>
                    </a:lnTo>
                    <a:lnTo>
                      <a:pt x="609" y="903"/>
                    </a:lnTo>
                    <a:lnTo>
                      <a:pt x="590" y="859"/>
                    </a:lnTo>
                    <a:lnTo>
                      <a:pt x="575" y="842"/>
                    </a:lnTo>
                    <a:lnTo>
                      <a:pt x="560" y="842"/>
                    </a:lnTo>
                    <a:lnTo>
                      <a:pt x="545" y="853"/>
                    </a:lnTo>
                    <a:lnTo>
                      <a:pt x="548" y="872"/>
                    </a:lnTo>
                    <a:lnTo>
                      <a:pt x="555" y="882"/>
                    </a:lnTo>
                    <a:lnTo>
                      <a:pt x="572" y="885"/>
                    </a:lnTo>
                    <a:lnTo>
                      <a:pt x="588" y="898"/>
                    </a:lnTo>
                    <a:lnTo>
                      <a:pt x="582" y="915"/>
                    </a:lnTo>
                    <a:lnTo>
                      <a:pt x="571" y="910"/>
                    </a:lnTo>
                    <a:lnTo>
                      <a:pt x="561" y="902"/>
                    </a:lnTo>
                    <a:lnTo>
                      <a:pt x="545" y="910"/>
                    </a:lnTo>
                    <a:lnTo>
                      <a:pt x="559" y="929"/>
                    </a:lnTo>
                    <a:lnTo>
                      <a:pt x="572" y="945"/>
                    </a:lnTo>
                    <a:lnTo>
                      <a:pt x="573" y="974"/>
                    </a:lnTo>
                    <a:lnTo>
                      <a:pt x="594" y="968"/>
                    </a:lnTo>
                    <a:lnTo>
                      <a:pt x="608" y="978"/>
                    </a:lnTo>
                    <a:lnTo>
                      <a:pt x="611" y="987"/>
                    </a:lnTo>
                    <a:lnTo>
                      <a:pt x="624" y="1001"/>
                    </a:lnTo>
                    <a:close/>
                    <a:moveTo>
                      <a:pt x="678" y="1053"/>
                    </a:moveTo>
                    <a:lnTo>
                      <a:pt x="695" y="1033"/>
                    </a:lnTo>
                    <a:lnTo>
                      <a:pt x="710" y="1033"/>
                    </a:lnTo>
                    <a:lnTo>
                      <a:pt x="715" y="1054"/>
                    </a:lnTo>
                    <a:lnTo>
                      <a:pt x="728" y="1061"/>
                    </a:lnTo>
                    <a:lnTo>
                      <a:pt x="742" y="1065"/>
                    </a:lnTo>
                    <a:lnTo>
                      <a:pt x="753" y="1067"/>
                    </a:lnTo>
                    <a:lnTo>
                      <a:pt x="755" y="1087"/>
                    </a:lnTo>
                    <a:lnTo>
                      <a:pt x="764" y="1099"/>
                    </a:lnTo>
                    <a:lnTo>
                      <a:pt x="776" y="1112"/>
                    </a:lnTo>
                    <a:lnTo>
                      <a:pt x="769" y="1136"/>
                    </a:lnTo>
                    <a:lnTo>
                      <a:pt x="755" y="1151"/>
                    </a:lnTo>
                    <a:lnTo>
                      <a:pt x="774" y="1160"/>
                    </a:lnTo>
                    <a:lnTo>
                      <a:pt x="791" y="1171"/>
                    </a:lnTo>
                    <a:lnTo>
                      <a:pt x="802" y="1182"/>
                    </a:lnTo>
                    <a:lnTo>
                      <a:pt x="812" y="1192"/>
                    </a:lnTo>
                    <a:lnTo>
                      <a:pt x="798" y="1216"/>
                    </a:lnTo>
                    <a:lnTo>
                      <a:pt x="779" y="1217"/>
                    </a:lnTo>
                    <a:lnTo>
                      <a:pt x="763" y="1206"/>
                    </a:lnTo>
                    <a:lnTo>
                      <a:pt x="745" y="1197"/>
                    </a:lnTo>
                    <a:lnTo>
                      <a:pt x="731" y="1192"/>
                    </a:lnTo>
                    <a:lnTo>
                      <a:pt x="716" y="1189"/>
                    </a:lnTo>
                    <a:lnTo>
                      <a:pt x="718" y="1177"/>
                    </a:lnTo>
                    <a:lnTo>
                      <a:pt x="730" y="1175"/>
                    </a:lnTo>
                    <a:lnTo>
                      <a:pt x="741" y="1180"/>
                    </a:lnTo>
                    <a:lnTo>
                      <a:pt x="752" y="1187"/>
                    </a:lnTo>
                    <a:lnTo>
                      <a:pt x="763" y="1171"/>
                    </a:lnTo>
                    <a:lnTo>
                      <a:pt x="752" y="1165"/>
                    </a:lnTo>
                    <a:lnTo>
                      <a:pt x="733" y="1153"/>
                    </a:lnTo>
                    <a:lnTo>
                      <a:pt x="742" y="1121"/>
                    </a:lnTo>
                    <a:lnTo>
                      <a:pt x="743" y="1103"/>
                    </a:lnTo>
                    <a:lnTo>
                      <a:pt x="741" y="1091"/>
                    </a:lnTo>
                    <a:lnTo>
                      <a:pt x="730" y="1086"/>
                    </a:lnTo>
                    <a:lnTo>
                      <a:pt x="721" y="1076"/>
                    </a:lnTo>
                    <a:lnTo>
                      <a:pt x="713" y="1066"/>
                    </a:lnTo>
                    <a:lnTo>
                      <a:pt x="696" y="1069"/>
                    </a:lnTo>
                    <a:lnTo>
                      <a:pt x="678" y="1053"/>
                    </a:lnTo>
                    <a:close/>
                    <a:moveTo>
                      <a:pt x="906" y="252"/>
                    </a:moveTo>
                    <a:lnTo>
                      <a:pt x="919" y="238"/>
                    </a:lnTo>
                    <a:lnTo>
                      <a:pt x="930" y="236"/>
                    </a:lnTo>
                    <a:lnTo>
                      <a:pt x="929" y="214"/>
                    </a:lnTo>
                    <a:lnTo>
                      <a:pt x="924" y="195"/>
                    </a:lnTo>
                    <a:lnTo>
                      <a:pt x="908" y="189"/>
                    </a:lnTo>
                    <a:lnTo>
                      <a:pt x="895" y="189"/>
                    </a:lnTo>
                    <a:lnTo>
                      <a:pt x="875" y="209"/>
                    </a:lnTo>
                    <a:lnTo>
                      <a:pt x="887" y="227"/>
                    </a:lnTo>
                    <a:lnTo>
                      <a:pt x="906" y="252"/>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00" name="Freeform 38"/>
              <p:cNvSpPr>
                <a:spLocks noChangeAspect="1"/>
              </p:cNvSpPr>
              <p:nvPr/>
            </p:nvSpPr>
            <p:spPr bwMode="auto">
              <a:xfrm>
                <a:off x="4309933" y="4865131"/>
                <a:ext cx="63043" cy="65516"/>
              </a:xfrm>
              <a:custGeom>
                <a:avLst/>
                <a:gdLst>
                  <a:gd name="T0" fmla="*/ 32 w 43"/>
                  <a:gd name="T1" fmla="*/ 0 h 45"/>
                  <a:gd name="T2" fmla="*/ 0 w 43"/>
                  <a:gd name="T3" fmla="*/ 19 h 45"/>
                  <a:gd name="T4" fmla="*/ 12 w 43"/>
                  <a:gd name="T5" fmla="*/ 49 h 45"/>
                  <a:gd name="T6" fmla="*/ 51 w 43"/>
                  <a:gd name="T7" fmla="*/ 53 h 45"/>
                  <a:gd name="T8" fmla="*/ 32 w 43"/>
                  <a:gd name="T9" fmla="*/ 0 h 45"/>
                  <a:gd name="T10" fmla="*/ 0 60000 65536"/>
                  <a:gd name="T11" fmla="*/ 0 60000 65536"/>
                  <a:gd name="T12" fmla="*/ 0 60000 65536"/>
                  <a:gd name="T13" fmla="*/ 0 60000 65536"/>
                  <a:gd name="T14" fmla="*/ 0 60000 65536"/>
                  <a:gd name="T15" fmla="*/ 0 w 43"/>
                  <a:gd name="T16" fmla="*/ 0 h 45"/>
                  <a:gd name="T17" fmla="*/ 43 w 43"/>
                  <a:gd name="T18" fmla="*/ 45 h 45"/>
                </a:gdLst>
                <a:ahLst/>
                <a:cxnLst>
                  <a:cxn ang="T10">
                    <a:pos x="T0" y="T1"/>
                  </a:cxn>
                  <a:cxn ang="T11">
                    <a:pos x="T2" y="T3"/>
                  </a:cxn>
                  <a:cxn ang="T12">
                    <a:pos x="T4" y="T5"/>
                  </a:cxn>
                  <a:cxn ang="T13">
                    <a:pos x="T6" y="T7"/>
                  </a:cxn>
                  <a:cxn ang="T14">
                    <a:pos x="T8" y="T9"/>
                  </a:cxn>
                </a:cxnLst>
                <a:rect l="T15" t="T16" r="T17" b="T18"/>
                <a:pathLst>
                  <a:path w="43" h="45">
                    <a:moveTo>
                      <a:pt x="27" y="0"/>
                    </a:moveTo>
                    <a:lnTo>
                      <a:pt x="0" y="16"/>
                    </a:lnTo>
                    <a:lnTo>
                      <a:pt x="10" y="42"/>
                    </a:lnTo>
                    <a:lnTo>
                      <a:pt x="43" y="45"/>
                    </a:lnTo>
                    <a:lnTo>
                      <a:pt x="27" y="0"/>
                    </a:lnTo>
                    <a:close/>
                  </a:path>
                </a:pathLst>
              </a:custGeom>
              <a:solidFill>
                <a:srgbClr val="DCDCDC"/>
              </a:solidFill>
              <a:ln w="0">
                <a:noFill/>
                <a:prstDash val="solid"/>
                <a:round/>
                <a:headEnd/>
                <a:tailEnd/>
              </a:ln>
            </p:spPr>
            <p:txBody>
              <a:bodyPr/>
              <a:lstStyle/>
              <a:p>
                <a:pPr defTabSz="457189"/>
                <a:endParaRPr lang="fr-FR" dirty="0">
                  <a:solidFill>
                    <a:prstClr val="black"/>
                  </a:solidFill>
                  <a:latin typeface="Arial"/>
                </a:endParaRPr>
              </a:p>
            </p:txBody>
          </p:sp>
          <p:sp>
            <p:nvSpPr>
              <p:cNvPr id="101" name="Freeform 39"/>
              <p:cNvSpPr>
                <a:spLocks noChangeAspect="1"/>
              </p:cNvSpPr>
              <p:nvPr/>
            </p:nvSpPr>
            <p:spPr bwMode="auto">
              <a:xfrm>
                <a:off x="4737638" y="4619139"/>
                <a:ext cx="383205" cy="474679"/>
              </a:xfrm>
              <a:custGeom>
                <a:avLst/>
                <a:gdLst>
                  <a:gd name="T0" fmla="*/ 38 w 261"/>
                  <a:gd name="T1" fmla="*/ 353 h 323"/>
                  <a:gd name="T2" fmla="*/ 12 w 261"/>
                  <a:gd name="T3" fmla="*/ 313 h 323"/>
                  <a:gd name="T4" fmla="*/ 10 w 261"/>
                  <a:gd name="T5" fmla="*/ 285 h 323"/>
                  <a:gd name="T6" fmla="*/ 21 w 261"/>
                  <a:gd name="T7" fmla="*/ 272 h 323"/>
                  <a:gd name="T8" fmla="*/ 23 w 261"/>
                  <a:gd name="T9" fmla="*/ 243 h 323"/>
                  <a:gd name="T10" fmla="*/ 53 w 261"/>
                  <a:gd name="T11" fmla="*/ 247 h 323"/>
                  <a:gd name="T12" fmla="*/ 71 w 261"/>
                  <a:gd name="T13" fmla="*/ 258 h 323"/>
                  <a:gd name="T14" fmla="*/ 84 w 261"/>
                  <a:gd name="T15" fmla="*/ 240 h 323"/>
                  <a:gd name="T16" fmla="*/ 95 w 261"/>
                  <a:gd name="T17" fmla="*/ 222 h 323"/>
                  <a:gd name="T18" fmla="*/ 109 w 261"/>
                  <a:gd name="T19" fmla="*/ 219 h 323"/>
                  <a:gd name="T20" fmla="*/ 93 w 261"/>
                  <a:gd name="T21" fmla="*/ 190 h 323"/>
                  <a:gd name="T22" fmla="*/ 77 w 261"/>
                  <a:gd name="T23" fmla="*/ 170 h 323"/>
                  <a:gd name="T24" fmla="*/ 82 w 261"/>
                  <a:gd name="T25" fmla="*/ 146 h 323"/>
                  <a:gd name="T26" fmla="*/ 71 w 261"/>
                  <a:gd name="T27" fmla="*/ 128 h 323"/>
                  <a:gd name="T28" fmla="*/ 89 w 261"/>
                  <a:gd name="T29" fmla="*/ 108 h 323"/>
                  <a:gd name="T30" fmla="*/ 81 w 261"/>
                  <a:gd name="T31" fmla="*/ 78 h 323"/>
                  <a:gd name="T32" fmla="*/ 51 w 261"/>
                  <a:gd name="T33" fmla="*/ 62 h 323"/>
                  <a:gd name="T34" fmla="*/ 44 w 261"/>
                  <a:gd name="T35" fmla="*/ 33 h 323"/>
                  <a:gd name="T36" fmla="*/ 84 w 261"/>
                  <a:gd name="T37" fmla="*/ 31 h 323"/>
                  <a:gd name="T38" fmla="*/ 112 w 261"/>
                  <a:gd name="T39" fmla="*/ 12 h 323"/>
                  <a:gd name="T40" fmla="*/ 143 w 261"/>
                  <a:gd name="T41" fmla="*/ 8 h 323"/>
                  <a:gd name="T42" fmla="*/ 146 w 261"/>
                  <a:gd name="T43" fmla="*/ 30 h 323"/>
                  <a:gd name="T44" fmla="*/ 159 w 261"/>
                  <a:gd name="T45" fmla="*/ 48 h 323"/>
                  <a:gd name="T46" fmla="*/ 182 w 261"/>
                  <a:gd name="T47" fmla="*/ 80 h 323"/>
                  <a:gd name="T48" fmla="*/ 207 w 261"/>
                  <a:gd name="T49" fmla="*/ 105 h 323"/>
                  <a:gd name="T50" fmla="*/ 186 w 261"/>
                  <a:gd name="T51" fmla="*/ 144 h 323"/>
                  <a:gd name="T52" fmla="*/ 209 w 261"/>
                  <a:gd name="T53" fmla="*/ 150 h 323"/>
                  <a:gd name="T54" fmla="*/ 239 w 261"/>
                  <a:gd name="T55" fmla="*/ 157 h 323"/>
                  <a:gd name="T56" fmla="*/ 266 w 261"/>
                  <a:gd name="T57" fmla="*/ 147 h 323"/>
                  <a:gd name="T58" fmla="*/ 285 w 261"/>
                  <a:gd name="T59" fmla="*/ 159 h 323"/>
                  <a:gd name="T60" fmla="*/ 268 w 261"/>
                  <a:gd name="T61" fmla="*/ 178 h 323"/>
                  <a:gd name="T62" fmla="*/ 286 w 261"/>
                  <a:gd name="T63" fmla="*/ 194 h 323"/>
                  <a:gd name="T64" fmla="*/ 266 w 261"/>
                  <a:gd name="T65" fmla="*/ 231 h 323"/>
                  <a:gd name="T66" fmla="*/ 297 w 261"/>
                  <a:gd name="T67" fmla="*/ 271 h 323"/>
                  <a:gd name="T68" fmla="*/ 300 w 261"/>
                  <a:gd name="T69" fmla="*/ 302 h 323"/>
                  <a:gd name="T70" fmla="*/ 274 w 261"/>
                  <a:gd name="T71" fmla="*/ 334 h 323"/>
                  <a:gd name="T72" fmla="*/ 283 w 261"/>
                  <a:gd name="T73" fmla="*/ 365 h 323"/>
                  <a:gd name="T74" fmla="*/ 255 w 261"/>
                  <a:gd name="T75" fmla="*/ 363 h 323"/>
                  <a:gd name="T76" fmla="*/ 211 w 261"/>
                  <a:gd name="T77" fmla="*/ 366 h 323"/>
                  <a:gd name="T78" fmla="*/ 185 w 261"/>
                  <a:gd name="T79" fmla="*/ 384 h 323"/>
                  <a:gd name="T80" fmla="*/ 160 w 261"/>
                  <a:gd name="T81" fmla="*/ 373 h 323"/>
                  <a:gd name="T82" fmla="*/ 138 w 261"/>
                  <a:gd name="T83" fmla="*/ 351 h 323"/>
                  <a:gd name="T84" fmla="*/ 101 w 261"/>
                  <a:gd name="T85" fmla="*/ 347 h 323"/>
                  <a:gd name="T86" fmla="*/ 89 w 261"/>
                  <a:gd name="T87" fmla="*/ 377 h 3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1"/>
                  <a:gd name="T133" fmla="*/ 0 h 323"/>
                  <a:gd name="T134" fmla="*/ 261 w 261"/>
                  <a:gd name="T135" fmla="*/ 323 h 3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1" h="323">
                    <a:moveTo>
                      <a:pt x="66" y="323"/>
                    </a:moveTo>
                    <a:lnTo>
                      <a:pt x="32" y="297"/>
                    </a:lnTo>
                    <a:lnTo>
                      <a:pt x="0" y="281"/>
                    </a:lnTo>
                    <a:lnTo>
                      <a:pt x="10" y="263"/>
                    </a:lnTo>
                    <a:lnTo>
                      <a:pt x="10" y="252"/>
                    </a:lnTo>
                    <a:lnTo>
                      <a:pt x="8" y="240"/>
                    </a:lnTo>
                    <a:lnTo>
                      <a:pt x="13" y="236"/>
                    </a:lnTo>
                    <a:lnTo>
                      <a:pt x="18" y="229"/>
                    </a:lnTo>
                    <a:lnTo>
                      <a:pt x="20" y="218"/>
                    </a:lnTo>
                    <a:lnTo>
                      <a:pt x="19" y="204"/>
                    </a:lnTo>
                    <a:lnTo>
                      <a:pt x="34" y="204"/>
                    </a:lnTo>
                    <a:lnTo>
                      <a:pt x="45" y="208"/>
                    </a:lnTo>
                    <a:lnTo>
                      <a:pt x="50" y="216"/>
                    </a:lnTo>
                    <a:lnTo>
                      <a:pt x="60" y="217"/>
                    </a:lnTo>
                    <a:lnTo>
                      <a:pt x="70" y="213"/>
                    </a:lnTo>
                    <a:lnTo>
                      <a:pt x="71" y="202"/>
                    </a:lnTo>
                    <a:lnTo>
                      <a:pt x="73" y="195"/>
                    </a:lnTo>
                    <a:lnTo>
                      <a:pt x="80" y="187"/>
                    </a:lnTo>
                    <a:lnTo>
                      <a:pt x="89" y="189"/>
                    </a:lnTo>
                    <a:lnTo>
                      <a:pt x="92" y="184"/>
                    </a:lnTo>
                    <a:lnTo>
                      <a:pt x="87" y="172"/>
                    </a:lnTo>
                    <a:lnTo>
                      <a:pt x="78" y="160"/>
                    </a:lnTo>
                    <a:lnTo>
                      <a:pt x="64" y="153"/>
                    </a:lnTo>
                    <a:lnTo>
                      <a:pt x="65" y="143"/>
                    </a:lnTo>
                    <a:lnTo>
                      <a:pt x="70" y="132"/>
                    </a:lnTo>
                    <a:lnTo>
                      <a:pt x="69" y="123"/>
                    </a:lnTo>
                    <a:lnTo>
                      <a:pt x="69" y="113"/>
                    </a:lnTo>
                    <a:lnTo>
                      <a:pt x="60" y="108"/>
                    </a:lnTo>
                    <a:lnTo>
                      <a:pt x="70" y="98"/>
                    </a:lnTo>
                    <a:lnTo>
                      <a:pt x="75" y="91"/>
                    </a:lnTo>
                    <a:lnTo>
                      <a:pt x="78" y="79"/>
                    </a:lnTo>
                    <a:lnTo>
                      <a:pt x="68" y="66"/>
                    </a:lnTo>
                    <a:lnTo>
                      <a:pt x="55" y="58"/>
                    </a:lnTo>
                    <a:lnTo>
                      <a:pt x="43" y="52"/>
                    </a:lnTo>
                    <a:lnTo>
                      <a:pt x="41" y="43"/>
                    </a:lnTo>
                    <a:lnTo>
                      <a:pt x="37" y="28"/>
                    </a:lnTo>
                    <a:lnTo>
                      <a:pt x="55" y="31"/>
                    </a:lnTo>
                    <a:lnTo>
                      <a:pt x="71" y="26"/>
                    </a:lnTo>
                    <a:lnTo>
                      <a:pt x="86" y="19"/>
                    </a:lnTo>
                    <a:lnTo>
                      <a:pt x="94" y="10"/>
                    </a:lnTo>
                    <a:lnTo>
                      <a:pt x="108" y="0"/>
                    </a:lnTo>
                    <a:lnTo>
                      <a:pt x="120" y="7"/>
                    </a:lnTo>
                    <a:lnTo>
                      <a:pt x="121" y="19"/>
                    </a:lnTo>
                    <a:lnTo>
                      <a:pt x="123" y="25"/>
                    </a:lnTo>
                    <a:lnTo>
                      <a:pt x="125" y="30"/>
                    </a:lnTo>
                    <a:lnTo>
                      <a:pt x="134" y="40"/>
                    </a:lnTo>
                    <a:lnTo>
                      <a:pt x="142" y="55"/>
                    </a:lnTo>
                    <a:lnTo>
                      <a:pt x="153" y="67"/>
                    </a:lnTo>
                    <a:lnTo>
                      <a:pt x="168" y="77"/>
                    </a:lnTo>
                    <a:lnTo>
                      <a:pt x="174" y="88"/>
                    </a:lnTo>
                    <a:lnTo>
                      <a:pt x="168" y="110"/>
                    </a:lnTo>
                    <a:lnTo>
                      <a:pt x="157" y="121"/>
                    </a:lnTo>
                    <a:lnTo>
                      <a:pt x="164" y="128"/>
                    </a:lnTo>
                    <a:lnTo>
                      <a:pt x="176" y="126"/>
                    </a:lnTo>
                    <a:lnTo>
                      <a:pt x="185" y="127"/>
                    </a:lnTo>
                    <a:lnTo>
                      <a:pt x="201" y="132"/>
                    </a:lnTo>
                    <a:lnTo>
                      <a:pt x="212" y="137"/>
                    </a:lnTo>
                    <a:lnTo>
                      <a:pt x="224" y="124"/>
                    </a:lnTo>
                    <a:lnTo>
                      <a:pt x="234" y="122"/>
                    </a:lnTo>
                    <a:lnTo>
                      <a:pt x="240" y="134"/>
                    </a:lnTo>
                    <a:lnTo>
                      <a:pt x="237" y="140"/>
                    </a:lnTo>
                    <a:lnTo>
                      <a:pt x="226" y="150"/>
                    </a:lnTo>
                    <a:lnTo>
                      <a:pt x="241" y="158"/>
                    </a:lnTo>
                    <a:lnTo>
                      <a:pt x="241" y="163"/>
                    </a:lnTo>
                    <a:lnTo>
                      <a:pt x="233" y="173"/>
                    </a:lnTo>
                    <a:lnTo>
                      <a:pt x="224" y="194"/>
                    </a:lnTo>
                    <a:lnTo>
                      <a:pt x="230" y="212"/>
                    </a:lnTo>
                    <a:lnTo>
                      <a:pt x="250" y="228"/>
                    </a:lnTo>
                    <a:lnTo>
                      <a:pt x="261" y="242"/>
                    </a:lnTo>
                    <a:lnTo>
                      <a:pt x="253" y="254"/>
                    </a:lnTo>
                    <a:lnTo>
                      <a:pt x="240" y="268"/>
                    </a:lnTo>
                    <a:lnTo>
                      <a:pt x="231" y="281"/>
                    </a:lnTo>
                    <a:lnTo>
                      <a:pt x="231" y="293"/>
                    </a:lnTo>
                    <a:lnTo>
                      <a:pt x="238" y="307"/>
                    </a:lnTo>
                    <a:lnTo>
                      <a:pt x="227" y="307"/>
                    </a:lnTo>
                    <a:lnTo>
                      <a:pt x="215" y="305"/>
                    </a:lnTo>
                    <a:lnTo>
                      <a:pt x="192" y="305"/>
                    </a:lnTo>
                    <a:lnTo>
                      <a:pt x="178" y="308"/>
                    </a:lnTo>
                    <a:lnTo>
                      <a:pt x="167" y="315"/>
                    </a:lnTo>
                    <a:lnTo>
                      <a:pt x="156" y="323"/>
                    </a:lnTo>
                    <a:lnTo>
                      <a:pt x="141" y="322"/>
                    </a:lnTo>
                    <a:lnTo>
                      <a:pt x="135" y="314"/>
                    </a:lnTo>
                    <a:lnTo>
                      <a:pt x="125" y="304"/>
                    </a:lnTo>
                    <a:lnTo>
                      <a:pt x="116" y="295"/>
                    </a:lnTo>
                    <a:lnTo>
                      <a:pt x="101" y="291"/>
                    </a:lnTo>
                    <a:lnTo>
                      <a:pt x="85" y="292"/>
                    </a:lnTo>
                    <a:lnTo>
                      <a:pt x="79" y="306"/>
                    </a:lnTo>
                    <a:lnTo>
                      <a:pt x="75" y="317"/>
                    </a:lnTo>
                    <a:lnTo>
                      <a:pt x="66" y="323"/>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02" name="Freeform 40"/>
              <p:cNvSpPr>
                <a:spLocks noChangeAspect="1"/>
              </p:cNvSpPr>
              <p:nvPr/>
            </p:nvSpPr>
            <p:spPr bwMode="auto">
              <a:xfrm>
                <a:off x="4664706" y="4235934"/>
                <a:ext cx="421525" cy="202728"/>
              </a:xfrm>
              <a:custGeom>
                <a:avLst/>
                <a:gdLst>
                  <a:gd name="T0" fmla="*/ 0 w 287"/>
                  <a:gd name="T1" fmla="*/ 76 h 138"/>
                  <a:gd name="T2" fmla="*/ 1 w 287"/>
                  <a:gd name="T3" fmla="*/ 93 h 138"/>
                  <a:gd name="T4" fmla="*/ 6 w 287"/>
                  <a:gd name="T5" fmla="*/ 105 h 138"/>
                  <a:gd name="T6" fmla="*/ 7 w 287"/>
                  <a:gd name="T7" fmla="*/ 131 h 138"/>
                  <a:gd name="T8" fmla="*/ 15 w 287"/>
                  <a:gd name="T9" fmla="*/ 135 h 138"/>
                  <a:gd name="T10" fmla="*/ 27 w 287"/>
                  <a:gd name="T11" fmla="*/ 146 h 138"/>
                  <a:gd name="T12" fmla="*/ 34 w 287"/>
                  <a:gd name="T13" fmla="*/ 159 h 138"/>
                  <a:gd name="T14" fmla="*/ 50 w 287"/>
                  <a:gd name="T15" fmla="*/ 163 h 138"/>
                  <a:gd name="T16" fmla="*/ 70 w 287"/>
                  <a:gd name="T17" fmla="*/ 160 h 138"/>
                  <a:gd name="T18" fmla="*/ 97 w 287"/>
                  <a:gd name="T19" fmla="*/ 158 h 138"/>
                  <a:gd name="T20" fmla="*/ 119 w 287"/>
                  <a:gd name="T21" fmla="*/ 164 h 138"/>
                  <a:gd name="T22" fmla="*/ 125 w 287"/>
                  <a:gd name="T23" fmla="*/ 157 h 138"/>
                  <a:gd name="T24" fmla="*/ 130 w 287"/>
                  <a:gd name="T25" fmla="*/ 145 h 138"/>
                  <a:gd name="T26" fmla="*/ 143 w 287"/>
                  <a:gd name="T27" fmla="*/ 146 h 138"/>
                  <a:gd name="T28" fmla="*/ 151 w 287"/>
                  <a:gd name="T29" fmla="*/ 151 h 138"/>
                  <a:gd name="T30" fmla="*/ 156 w 287"/>
                  <a:gd name="T31" fmla="*/ 134 h 138"/>
                  <a:gd name="T32" fmla="*/ 169 w 287"/>
                  <a:gd name="T33" fmla="*/ 133 h 138"/>
                  <a:gd name="T34" fmla="*/ 183 w 287"/>
                  <a:gd name="T35" fmla="*/ 127 h 138"/>
                  <a:gd name="T36" fmla="*/ 202 w 287"/>
                  <a:gd name="T37" fmla="*/ 127 h 138"/>
                  <a:gd name="T38" fmla="*/ 216 w 287"/>
                  <a:gd name="T39" fmla="*/ 109 h 138"/>
                  <a:gd name="T40" fmla="*/ 226 w 287"/>
                  <a:gd name="T41" fmla="*/ 90 h 138"/>
                  <a:gd name="T42" fmla="*/ 236 w 287"/>
                  <a:gd name="T43" fmla="*/ 89 h 138"/>
                  <a:gd name="T44" fmla="*/ 248 w 287"/>
                  <a:gd name="T45" fmla="*/ 84 h 138"/>
                  <a:gd name="T46" fmla="*/ 263 w 287"/>
                  <a:gd name="T47" fmla="*/ 84 h 138"/>
                  <a:gd name="T48" fmla="*/ 273 w 287"/>
                  <a:gd name="T49" fmla="*/ 93 h 138"/>
                  <a:gd name="T50" fmla="*/ 291 w 287"/>
                  <a:gd name="T51" fmla="*/ 101 h 138"/>
                  <a:gd name="T52" fmla="*/ 309 w 287"/>
                  <a:gd name="T53" fmla="*/ 99 h 138"/>
                  <a:gd name="T54" fmla="*/ 318 w 287"/>
                  <a:gd name="T55" fmla="*/ 93 h 138"/>
                  <a:gd name="T56" fmla="*/ 302 w 287"/>
                  <a:gd name="T57" fmla="*/ 75 h 138"/>
                  <a:gd name="T58" fmla="*/ 311 w 287"/>
                  <a:gd name="T59" fmla="*/ 69 h 138"/>
                  <a:gd name="T60" fmla="*/ 320 w 287"/>
                  <a:gd name="T61" fmla="*/ 63 h 138"/>
                  <a:gd name="T62" fmla="*/ 331 w 287"/>
                  <a:gd name="T63" fmla="*/ 56 h 138"/>
                  <a:gd name="T64" fmla="*/ 341 w 287"/>
                  <a:gd name="T65" fmla="*/ 44 h 138"/>
                  <a:gd name="T66" fmla="*/ 326 w 287"/>
                  <a:gd name="T67" fmla="*/ 32 h 138"/>
                  <a:gd name="T68" fmla="*/ 315 w 287"/>
                  <a:gd name="T69" fmla="*/ 24 h 138"/>
                  <a:gd name="T70" fmla="*/ 297 w 287"/>
                  <a:gd name="T71" fmla="*/ 21 h 138"/>
                  <a:gd name="T72" fmla="*/ 272 w 287"/>
                  <a:gd name="T73" fmla="*/ 15 h 138"/>
                  <a:gd name="T74" fmla="*/ 254 w 287"/>
                  <a:gd name="T75" fmla="*/ 15 h 138"/>
                  <a:gd name="T76" fmla="*/ 244 w 287"/>
                  <a:gd name="T77" fmla="*/ 32 h 138"/>
                  <a:gd name="T78" fmla="*/ 228 w 287"/>
                  <a:gd name="T79" fmla="*/ 26 h 138"/>
                  <a:gd name="T80" fmla="*/ 216 w 287"/>
                  <a:gd name="T81" fmla="*/ 20 h 138"/>
                  <a:gd name="T82" fmla="*/ 194 w 287"/>
                  <a:gd name="T83" fmla="*/ 36 h 138"/>
                  <a:gd name="T84" fmla="*/ 189 w 287"/>
                  <a:gd name="T85" fmla="*/ 24 h 138"/>
                  <a:gd name="T86" fmla="*/ 178 w 287"/>
                  <a:gd name="T87" fmla="*/ 10 h 138"/>
                  <a:gd name="T88" fmla="*/ 165 w 287"/>
                  <a:gd name="T89" fmla="*/ 0 h 138"/>
                  <a:gd name="T90" fmla="*/ 137 w 287"/>
                  <a:gd name="T91" fmla="*/ 27 h 138"/>
                  <a:gd name="T92" fmla="*/ 122 w 287"/>
                  <a:gd name="T93" fmla="*/ 6 h 138"/>
                  <a:gd name="T94" fmla="*/ 106 w 287"/>
                  <a:gd name="T95" fmla="*/ 12 h 138"/>
                  <a:gd name="T96" fmla="*/ 74 w 287"/>
                  <a:gd name="T97" fmla="*/ 30 h 138"/>
                  <a:gd name="T98" fmla="*/ 52 w 287"/>
                  <a:gd name="T99" fmla="*/ 44 h 138"/>
                  <a:gd name="T100" fmla="*/ 32 w 287"/>
                  <a:gd name="T101" fmla="*/ 50 h 138"/>
                  <a:gd name="T102" fmla="*/ 14 w 287"/>
                  <a:gd name="T103" fmla="*/ 64 h 138"/>
                  <a:gd name="T104" fmla="*/ 0 w 287"/>
                  <a:gd name="T105" fmla="*/ 76 h 13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7"/>
                  <a:gd name="T160" fmla="*/ 0 h 138"/>
                  <a:gd name="T161" fmla="*/ 287 w 287"/>
                  <a:gd name="T162" fmla="*/ 138 h 13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7" h="138">
                    <a:moveTo>
                      <a:pt x="0" y="64"/>
                    </a:moveTo>
                    <a:lnTo>
                      <a:pt x="1" y="78"/>
                    </a:lnTo>
                    <a:lnTo>
                      <a:pt x="5" y="88"/>
                    </a:lnTo>
                    <a:lnTo>
                      <a:pt x="6" y="110"/>
                    </a:lnTo>
                    <a:lnTo>
                      <a:pt x="13" y="114"/>
                    </a:lnTo>
                    <a:lnTo>
                      <a:pt x="23" y="123"/>
                    </a:lnTo>
                    <a:lnTo>
                      <a:pt x="29" y="134"/>
                    </a:lnTo>
                    <a:lnTo>
                      <a:pt x="42" y="137"/>
                    </a:lnTo>
                    <a:lnTo>
                      <a:pt x="59" y="135"/>
                    </a:lnTo>
                    <a:lnTo>
                      <a:pt x="82" y="133"/>
                    </a:lnTo>
                    <a:lnTo>
                      <a:pt x="100" y="138"/>
                    </a:lnTo>
                    <a:lnTo>
                      <a:pt x="105" y="132"/>
                    </a:lnTo>
                    <a:lnTo>
                      <a:pt x="109" y="122"/>
                    </a:lnTo>
                    <a:lnTo>
                      <a:pt x="120" y="123"/>
                    </a:lnTo>
                    <a:lnTo>
                      <a:pt x="127" y="127"/>
                    </a:lnTo>
                    <a:lnTo>
                      <a:pt x="131" y="113"/>
                    </a:lnTo>
                    <a:lnTo>
                      <a:pt x="142" y="112"/>
                    </a:lnTo>
                    <a:lnTo>
                      <a:pt x="154" y="107"/>
                    </a:lnTo>
                    <a:lnTo>
                      <a:pt x="170" y="107"/>
                    </a:lnTo>
                    <a:lnTo>
                      <a:pt x="182" y="92"/>
                    </a:lnTo>
                    <a:lnTo>
                      <a:pt x="190" y="76"/>
                    </a:lnTo>
                    <a:lnTo>
                      <a:pt x="199" y="75"/>
                    </a:lnTo>
                    <a:lnTo>
                      <a:pt x="209" y="71"/>
                    </a:lnTo>
                    <a:lnTo>
                      <a:pt x="221" y="71"/>
                    </a:lnTo>
                    <a:lnTo>
                      <a:pt x="230" y="78"/>
                    </a:lnTo>
                    <a:lnTo>
                      <a:pt x="245" y="85"/>
                    </a:lnTo>
                    <a:lnTo>
                      <a:pt x="260" y="83"/>
                    </a:lnTo>
                    <a:lnTo>
                      <a:pt x="268" y="78"/>
                    </a:lnTo>
                    <a:lnTo>
                      <a:pt x="254" y="63"/>
                    </a:lnTo>
                    <a:lnTo>
                      <a:pt x="262" y="58"/>
                    </a:lnTo>
                    <a:lnTo>
                      <a:pt x="269" y="53"/>
                    </a:lnTo>
                    <a:lnTo>
                      <a:pt x="279" y="47"/>
                    </a:lnTo>
                    <a:lnTo>
                      <a:pt x="287" y="37"/>
                    </a:lnTo>
                    <a:lnTo>
                      <a:pt x="274" y="27"/>
                    </a:lnTo>
                    <a:lnTo>
                      <a:pt x="265" y="20"/>
                    </a:lnTo>
                    <a:lnTo>
                      <a:pt x="250" y="18"/>
                    </a:lnTo>
                    <a:lnTo>
                      <a:pt x="229" y="13"/>
                    </a:lnTo>
                    <a:lnTo>
                      <a:pt x="214" y="13"/>
                    </a:lnTo>
                    <a:lnTo>
                      <a:pt x="205" y="27"/>
                    </a:lnTo>
                    <a:lnTo>
                      <a:pt x="192" y="22"/>
                    </a:lnTo>
                    <a:lnTo>
                      <a:pt x="182" y="17"/>
                    </a:lnTo>
                    <a:lnTo>
                      <a:pt x="163" y="30"/>
                    </a:lnTo>
                    <a:lnTo>
                      <a:pt x="159" y="20"/>
                    </a:lnTo>
                    <a:lnTo>
                      <a:pt x="150" y="8"/>
                    </a:lnTo>
                    <a:lnTo>
                      <a:pt x="139" y="0"/>
                    </a:lnTo>
                    <a:lnTo>
                      <a:pt x="115" y="23"/>
                    </a:lnTo>
                    <a:lnTo>
                      <a:pt x="103" y="5"/>
                    </a:lnTo>
                    <a:lnTo>
                      <a:pt x="89" y="10"/>
                    </a:lnTo>
                    <a:lnTo>
                      <a:pt x="62" y="25"/>
                    </a:lnTo>
                    <a:lnTo>
                      <a:pt x="44" y="37"/>
                    </a:lnTo>
                    <a:lnTo>
                      <a:pt x="27" y="42"/>
                    </a:lnTo>
                    <a:lnTo>
                      <a:pt x="12" y="54"/>
                    </a:lnTo>
                    <a:lnTo>
                      <a:pt x="0" y="64"/>
                    </a:lnTo>
                    <a:close/>
                  </a:path>
                </a:pathLst>
              </a:custGeom>
              <a:no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03" name="Freeform 41"/>
              <p:cNvSpPr>
                <a:spLocks noChangeAspect="1"/>
              </p:cNvSpPr>
              <p:nvPr/>
            </p:nvSpPr>
            <p:spPr bwMode="auto">
              <a:xfrm>
                <a:off x="4377921" y="4543734"/>
                <a:ext cx="250937" cy="131031"/>
              </a:xfrm>
              <a:custGeom>
                <a:avLst/>
                <a:gdLst>
                  <a:gd name="T0" fmla="*/ 0 w 171"/>
                  <a:gd name="T1" fmla="*/ 106 h 89"/>
                  <a:gd name="T2" fmla="*/ 1 w 171"/>
                  <a:gd name="T3" fmla="*/ 83 h 89"/>
                  <a:gd name="T4" fmla="*/ 4 w 171"/>
                  <a:gd name="T5" fmla="*/ 74 h 89"/>
                  <a:gd name="T6" fmla="*/ 31 w 171"/>
                  <a:gd name="T7" fmla="*/ 63 h 89"/>
                  <a:gd name="T8" fmla="*/ 28 w 171"/>
                  <a:gd name="T9" fmla="*/ 42 h 89"/>
                  <a:gd name="T10" fmla="*/ 6 w 171"/>
                  <a:gd name="T11" fmla="*/ 37 h 89"/>
                  <a:gd name="T12" fmla="*/ 8 w 171"/>
                  <a:gd name="T13" fmla="*/ 24 h 89"/>
                  <a:gd name="T14" fmla="*/ 18 w 171"/>
                  <a:gd name="T15" fmla="*/ 2 h 89"/>
                  <a:gd name="T16" fmla="*/ 40 w 171"/>
                  <a:gd name="T17" fmla="*/ 6 h 89"/>
                  <a:gd name="T18" fmla="*/ 57 w 171"/>
                  <a:gd name="T19" fmla="*/ 12 h 89"/>
                  <a:gd name="T20" fmla="*/ 71 w 171"/>
                  <a:gd name="T21" fmla="*/ 14 h 89"/>
                  <a:gd name="T22" fmla="*/ 81 w 171"/>
                  <a:gd name="T23" fmla="*/ 25 h 89"/>
                  <a:gd name="T24" fmla="*/ 89 w 171"/>
                  <a:gd name="T25" fmla="*/ 35 h 89"/>
                  <a:gd name="T26" fmla="*/ 97 w 171"/>
                  <a:gd name="T27" fmla="*/ 31 h 89"/>
                  <a:gd name="T28" fmla="*/ 100 w 171"/>
                  <a:gd name="T29" fmla="*/ 17 h 89"/>
                  <a:gd name="T30" fmla="*/ 106 w 171"/>
                  <a:gd name="T31" fmla="*/ 8 h 89"/>
                  <a:gd name="T32" fmla="*/ 118 w 171"/>
                  <a:gd name="T33" fmla="*/ 7 h 89"/>
                  <a:gd name="T34" fmla="*/ 128 w 171"/>
                  <a:gd name="T35" fmla="*/ 7 h 89"/>
                  <a:gd name="T36" fmla="*/ 139 w 171"/>
                  <a:gd name="T37" fmla="*/ 8 h 89"/>
                  <a:gd name="T38" fmla="*/ 144 w 171"/>
                  <a:gd name="T39" fmla="*/ 17 h 89"/>
                  <a:gd name="T40" fmla="*/ 154 w 171"/>
                  <a:gd name="T41" fmla="*/ 25 h 89"/>
                  <a:gd name="T42" fmla="*/ 158 w 171"/>
                  <a:gd name="T43" fmla="*/ 13 h 89"/>
                  <a:gd name="T44" fmla="*/ 165 w 171"/>
                  <a:gd name="T45" fmla="*/ 0 h 89"/>
                  <a:gd name="T46" fmla="*/ 176 w 171"/>
                  <a:gd name="T47" fmla="*/ 0 h 89"/>
                  <a:gd name="T48" fmla="*/ 183 w 171"/>
                  <a:gd name="T49" fmla="*/ 7 h 89"/>
                  <a:gd name="T50" fmla="*/ 195 w 171"/>
                  <a:gd name="T51" fmla="*/ 14 h 89"/>
                  <a:gd name="T52" fmla="*/ 203 w 171"/>
                  <a:gd name="T53" fmla="*/ 23 h 89"/>
                  <a:gd name="T54" fmla="*/ 189 w 171"/>
                  <a:gd name="T55" fmla="*/ 33 h 89"/>
                  <a:gd name="T56" fmla="*/ 177 w 171"/>
                  <a:gd name="T57" fmla="*/ 43 h 89"/>
                  <a:gd name="T58" fmla="*/ 160 w 171"/>
                  <a:gd name="T59" fmla="*/ 61 h 89"/>
                  <a:gd name="T60" fmla="*/ 140 w 171"/>
                  <a:gd name="T61" fmla="*/ 73 h 89"/>
                  <a:gd name="T62" fmla="*/ 132 w 171"/>
                  <a:gd name="T63" fmla="*/ 86 h 89"/>
                  <a:gd name="T64" fmla="*/ 109 w 171"/>
                  <a:gd name="T65" fmla="*/ 93 h 89"/>
                  <a:gd name="T66" fmla="*/ 89 w 171"/>
                  <a:gd name="T67" fmla="*/ 96 h 89"/>
                  <a:gd name="T68" fmla="*/ 76 w 171"/>
                  <a:gd name="T69" fmla="*/ 98 h 89"/>
                  <a:gd name="T70" fmla="*/ 68 w 171"/>
                  <a:gd name="T71" fmla="*/ 94 h 89"/>
                  <a:gd name="T72" fmla="*/ 57 w 171"/>
                  <a:gd name="T73" fmla="*/ 91 h 89"/>
                  <a:gd name="T74" fmla="*/ 34 w 171"/>
                  <a:gd name="T75" fmla="*/ 98 h 89"/>
                  <a:gd name="T76" fmla="*/ 26 w 171"/>
                  <a:gd name="T77" fmla="*/ 99 h 89"/>
                  <a:gd name="T78" fmla="*/ 0 w 171"/>
                  <a:gd name="T79" fmla="*/ 106 h 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1"/>
                  <a:gd name="T121" fmla="*/ 0 h 89"/>
                  <a:gd name="T122" fmla="*/ 171 w 171"/>
                  <a:gd name="T123" fmla="*/ 89 h 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1" h="89">
                    <a:moveTo>
                      <a:pt x="0" y="89"/>
                    </a:moveTo>
                    <a:lnTo>
                      <a:pt x="1" y="70"/>
                    </a:lnTo>
                    <a:lnTo>
                      <a:pt x="3" y="62"/>
                    </a:lnTo>
                    <a:lnTo>
                      <a:pt x="26" y="53"/>
                    </a:lnTo>
                    <a:lnTo>
                      <a:pt x="24" y="35"/>
                    </a:lnTo>
                    <a:lnTo>
                      <a:pt x="5" y="31"/>
                    </a:lnTo>
                    <a:lnTo>
                      <a:pt x="7" y="20"/>
                    </a:lnTo>
                    <a:lnTo>
                      <a:pt x="15" y="2"/>
                    </a:lnTo>
                    <a:lnTo>
                      <a:pt x="34" y="5"/>
                    </a:lnTo>
                    <a:lnTo>
                      <a:pt x="48" y="10"/>
                    </a:lnTo>
                    <a:lnTo>
                      <a:pt x="60" y="12"/>
                    </a:lnTo>
                    <a:lnTo>
                      <a:pt x="68" y="21"/>
                    </a:lnTo>
                    <a:lnTo>
                      <a:pt x="75" y="29"/>
                    </a:lnTo>
                    <a:lnTo>
                      <a:pt x="82" y="26"/>
                    </a:lnTo>
                    <a:lnTo>
                      <a:pt x="84" y="14"/>
                    </a:lnTo>
                    <a:lnTo>
                      <a:pt x="89" y="7"/>
                    </a:lnTo>
                    <a:lnTo>
                      <a:pt x="99" y="6"/>
                    </a:lnTo>
                    <a:lnTo>
                      <a:pt x="108" y="6"/>
                    </a:lnTo>
                    <a:lnTo>
                      <a:pt x="117" y="7"/>
                    </a:lnTo>
                    <a:lnTo>
                      <a:pt x="121" y="14"/>
                    </a:lnTo>
                    <a:lnTo>
                      <a:pt x="130" y="21"/>
                    </a:lnTo>
                    <a:lnTo>
                      <a:pt x="133" y="11"/>
                    </a:lnTo>
                    <a:lnTo>
                      <a:pt x="139" y="0"/>
                    </a:lnTo>
                    <a:lnTo>
                      <a:pt x="148" y="0"/>
                    </a:lnTo>
                    <a:lnTo>
                      <a:pt x="154" y="6"/>
                    </a:lnTo>
                    <a:lnTo>
                      <a:pt x="164" y="12"/>
                    </a:lnTo>
                    <a:lnTo>
                      <a:pt x="171" y="19"/>
                    </a:lnTo>
                    <a:lnTo>
                      <a:pt x="159" y="28"/>
                    </a:lnTo>
                    <a:lnTo>
                      <a:pt x="149" y="36"/>
                    </a:lnTo>
                    <a:lnTo>
                      <a:pt x="135" y="51"/>
                    </a:lnTo>
                    <a:lnTo>
                      <a:pt x="118" y="61"/>
                    </a:lnTo>
                    <a:lnTo>
                      <a:pt x="111" y="72"/>
                    </a:lnTo>
                    <a:lnTo>
                      <a:pt x="92" y="78"/>
                    </a:lnTo>
                    <a:lnTo>
                      <a:pt x="75" y="81"/>
                    </a:lnTo>
                    <a:lnTo>
                      <a:pt x="64" y="82"/>
                    </a:lnTo>
                    <a:lnTo>
                      <a:pt x="57" y="79"/>
                    </a:lnTo>
                    <a:lnTo>
                      <a:pt x="48" y="76"/>
                    </a:lnTo>
                    <a:lnTo>
                      <a:pt x="29" y="82"/>
                    </a:lnTo>
                    <a:lnTo>
                      <a:pt x="22" y="83"/>
                    </a:lnTo>
                    <a:lnTo>
                      <a:pt x="0" y="89"/>
                    </a:lnTo>
                    <a:close/>
                  </a:path>
                </a:pathLst>
              </a:custGeom>
              <a:no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04" name="Freeform 42"/>
              <p:cNvSpPr>
                <a:spLocks noChangeAspect="1" noEditPoints="1"/>
              </p:cNvSpPr>
              <p:nvPr/>
            </p:nvSpPr>
            <p:spPr bwMode="auto">
              <a:xfrm>
                <a:off x="4377921" y="1840288"/>
                <a:ext cx="736742" cy="1734309"/>
              </a:xfrm>
              <a:custGeom>
                <a:avLst/>
                <a:gdLst>
                  <a:gd name="T0" fmla="*/ 540 w 502"/>
                  <a:gd name="T1" fmla="*/ 357 h 1180"/>
                  <a:gd name="T2" fmla="*/ 496 w 502"/>
                  <a:gd name="T3" fmla="*/ 436 h 1180"/>
                  <a:gd name="T4" fmla="*/ 478 w 502"/>
                  <a:gd name="T5" fmla="*/ 505 h 1180"/>
                  <a:gd name="T6" fmla="*/ 414 w 502"/>
                  <a:gd name="T7" fmla="*/ 580 h 1180"/>
                  <a:gd name="T8" fmla="*/ 351 w 502"/>
                  <a:gd name="T9" fmla="*/ 642 h 1180"/>
                  <a:gd name="T10" fmla="*/ 309 w 502"/>
                  <a:gd name="T11" fmla="*/ 742 h 1180"/>
                  <a:gd name="T12" fmla="*/ 304 w 502"/>
                  <a:gd name="T13" fmla="*/ 854 h 1180"/>
                  <a:gd name="T14" fmla="*/ 375 w 502"/>
                  <a:gd name="T15" fmla="*/ 885 h 1180"/>
                  <a:gd name="T16" fmla="*/ 359 w 502"/>
                  <a:gd name="T17" fmla="*/ 954 h 1180"/>
                  <a:gd name="T18" fmla="*/ 286 w 502"/>
                  <a:gd name="T19" fmla="*/ 960 h 1180"/>
                  <a:gd name="T20" fmla="*/ 251 w 502"/>
                  <a:gd name="T21" fmla="*/ 968 h 1180"/>
                  <a:gd name="T22" fmla="*/ 324 w 502"/>
                  <a:gd name="T23" fmla="*/ 987 h 1180"/>
                  <a:gd name="T24" fmla="*/ 319 w 502"/>
                  <a:gd name="T25" fmla="*/ 1039 h 1180"/>
                  <a:gd name="T26" fmla="*/ 252 w 502"/>
                  <a:gd name="T27" fmla="*/ 1039 h 1180"/>
                  <a:gd name="T28" fmla="*/ 277 w 502"/>
                  <a:gd name="T29" fmla="*/ 1081 h 1180"/>
                  <a:gd name="T30" fmla="*/ 260 w 502"/>
                  <a:gd name="T31" fmla="*/ 1185 h 1180"/>
                  <a:gd name="T32" fmla="*/ 201 w 502"/>
                  <a:gd name="T33" fmla="*/ 1302 h 1180"/>
                  <a:gd name="T34" fmla="*/ 139 w 502"/>
                  <a:gd name="T35" fmla="*/ 1292 h 1180"/>
                  <a:gd name="T36" fmla="*/ 134 w 502"/>
                  <a:gd name="T37" fmla="*/ 1349 h 1180"/>
                  <a:gd name="T38" fmla="*/ 90 w 502"/>
                  <a:gd name="T39" fmla="*/ 1357 h 1180"/>
                  <a:gd name="T40" fmla="*/ 69 w 502"/>
                  <a:gd name="T41" fmla="*/ 1332 h 1180"/>
                  <a:gd name="T42" fmla="*/ 70 w 502"/>
                  <a:gd name="T43" fmla="*/ 1251 h 1180"/>
                  <a:gd name="T44" fmla="*/ 32 w 502"/>
                  <a:gd name="T45" fmla="*/ 1169 h 1180"/>
                  <a:gd name="T46" fmla="*/ 20 w 502"/>
                  <a:gd name="T47" fmla="*/ 1080 h 1180"/>
                  <a:gd name="T48" fmla="*/ 0 w 502"/>
                  <a:gd name="T49" fmla="*/ 1039 h 1180"/>
                  <a:gd name="T50" fmla="*/ 17 w 502"/>
                  <a:gd name="T51" fmla="*/ 977 h 1180"/>
                  <a:gd name="T52" fmla="*/ 37 w 502"/>
                  <a:gd name="T53" fmla="*/ 933 h 1180"/>
                  <a:gd name="T54" fmla="*/ 65 w 502"/>
                  <a:gd name="T55" fmla="*/ 791 h 1180"/>
                  <a:gd name="T56" fmla="*/ 69 w 502"/>
                  <a:gd name="T57" fmla="*/ 740 h 1180"/>
                  <a:gd name="T58" fmla="*/ 99 w 502"/>
                  <a:gd name="T59" fmla="*/ 530 h 1180"/>
                  <a:gd name="T60" fmla="*/ 178 w 502"/>
                  <a:gd name="T61" fmla="*/ 487 h 1180"/>
                  <a:gd name="T62" fmla="*/ 203 w 502"/>
                  <a:gd name="T63" fmla="*/ 354 h 1180"/>
                  <a:gd name="T64" fmla="*/ 254 w 502"/>
                  <a:gd name="T65" fmla="*/ 241 h 1180"/>
                  <a:gd name="T66" fmla="*/ 331 w 502"/>
                  <a:gd name="T67" fmla="*/ 138 h 1180"/>
                  <a:gd name="T68" fmla="*/ 374 w 502"/>
                  <a:gd name="T69" fmla="*/ 70 h 1180"/>
                  <a:gd name="T70" fmla="*/ 454 w 502"/>
                  <a:gd name="T71" fmla="*/ 7 h 1180"/>
                  <a:gd name="T72" fmla="*/ 489 w 502"/>
                  <a:gd name="T73" fmla="*/ 39 h 1180"/>
                  <a:gd name="T74" fmla="*/ 553 w 502"/>
                  <a:gd name="T75" fmla="*/ 111 h 1180"/>
                  <a:gd name="T76" fmla="*/ 577 w 502"/>
                  <a:gd name="T77" fmla="*/ 178 h 1180"/>
                  <a:gd name="T78" fmla="*/ 583 w 502"/>
                  <a:gd name="T79" fmla="*/ 298 h 1180"/>
                  <a:gd name="T80" fmla="*/ 158 w 502"/>
                  <a:gd name="T81" fmla="*/ 1377 h 1180"/>
                  <a:gd name="T82" fmla="*/ 146 w 502"/>
                  <a:gd name="T83" fmla="*/ 1399 h 1180"/>
                  <a:gd name="T84" fmla="*/ 345 w 502"/>
                  <a:gd name="T85" fmla="*/ 1222 h 1180"/>
                  <a:gd name="T86" fmla="*/ 381 w 502"/>
                  <a:gd name="T87" fmla="*/ 1165 h 1180"/>
                  <a:gd name="T88" fmla="*/ 366 w 502"/>
                  <a:gd name="T89" fmla="*/ 1128 h 1180"/>
                  <a:gd name="T90" fmla="*/ 331 w 502"/>
                  <a:gd name="T91" fmla="*/ 1187 h 1180"/>
                  <a:gd name="T92" fmla="*/ 345 w 502"/>
                  <a:gd name="T93" fmla="*/ 1222 h 1180"/>
                  <a:gd name="T94" fmla="*/ 42 w 502"/>
                  <a:gd name="T95" fmla="*/ 1040 h 1180"/>
                  <a:gd name="T96" fmla="*/ 63 w 502"/>
                  <a:gd name="T97" fmla="*/ 999 h 1180"/>
                  <a:gd name="T98" fmla="*/ 109 w 502"/>
                  <a:gd name="T99" fmla="*/ 993 h 1180"/>
                  <a:gd name="T100" fmla="*/ 114 w 502"/>
                  <a:gd name="T101" fmla="*/ 1018 h 1180"/>
                  <a:gd name="T102" fmla="*/ 46 w 502"/>
                  <a:gd name="T103" fmla="*/ 1061 h 1180"/>
                  <a:gd name="T104" fmla="*/ 133 w 502"/>
                  <a:gd name="T105" fmla="*/ 1080 h 1180"/>
                  <a:gd name="T106" fmla="*/ 163 w 502"/>
                  <a:gd name="T107" fmla="*/ 1034 h 1180"/>
                  <a:gd name="T108" fmla="*/ 151 w 502"/>
                  <a:gd name="T109" fmla="*/ 1075 h 1180"/>
                  <a:gd name="T110" fmla="*/ 128 w 502"/>
                  <a:gd name="T111" fmla="*/ 1121 h 11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2"/>
                  <a:gd name="T169" fmla="*/ 0 h 1180"/>
                  <a:gd name="T170" fmla="*/ 502 w 502"/>
                  <a:gd name="T171" fmla="*/ 1180 h 118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2" h="1180">
                    <a:moveTo>
                      <a:pt x="502" y="277"/>
                    </a:moveTo>
                    <a:lnTo>
                      <a:pt x="469" y="276"/>
                    </a:lnTo>
                    <a:lnTo>
                      <a:pt x="455" y="300"/>
                    </a:lnTo>
                    <a:lnTo>
                      <a:pt x="430" y="322"/>
                    </a:lnTo>
                    <a:lnTo>
                      <a:pt x="412" y="347"/>
                    </a:lnTo>
                    <a:lnTo>
                      <a:pt x="418" y="367"/>
                    </a:lnTo>
                    <a:lnTo>
                      <a:pt x="422" y="388"/>
                    </a:lnTo>
                    <a:lnTo>
                      <a:pt x="415" y="419"/>
                    </a:lnTo>
                    <a:lnTo>
                      <a:pt x="403" y="425"/>
                    </a:lnTo>
                    <a:lnTo>
                      <a:pt x="389" y="446"/>
                    </a:lnTo>
                    <a:lnTo>
                      <a:pt x="380" y="466"/>
                    </a:lnTo>
                    <a:lnTo>
                      <a:pt x="349" y="488"/>
                    </a:lnTo>
                    <a:lnTo>
                      <a:pt x="329" y="510"/>
                    </a:lnTo>
                    <a:lnTo>
                      <a:pt x="310" y="521"/>
                    </a:lnTo>
                    <a:lnTo>
                      <a:pt x="296" y="540"/>
                    </a:lnTo>
                    <a:lnTo>
                      <a:pt x="286" y="559"/>
                    </a:lnTo>
                    <a:lnTo>
                      <a:pt x="272" y="580"/>
                    </a:lnTo>
                    <a:lnTo>
                      <a:pt x="260" y="624"/>
                    </a:lnTo>
                    <a:lnTo>
                      <a:pt x="255" y="662"/>
                    </a:lnTo>
                    <a:lnTo>
                      <a:pt x="253" y="699"/>
                    </a:lnTo>
                    <a:lnTo>
                      <a:pt x="256" y="718"/>
                    </a:lnTo>
                    <a:lnTo>
                      <a:pt x="275" y="720"/>
                    </a:lnTo>
                    <a:lnTo>
                      <a:pt x="289" y="739"/>
                    </a:lnTo>
                    <a:lnTo>
                      <a:pt x="316" y="744"/>
                    </a:lnTo>
                    <a:lnTo>
                      <a:pt x="323" y="773"/>
                    </a:lnTo>
                    <a:lnTo>
                      <a:pt x="325" y="794"/>
                    </a:lnTo>
                    <a:lnTo>
                      <a:pt x="302" y="802"/>
                    </a:lnTo>
                    <a:lnTo>
                      <a:pt x="283" y="804"/>
                    </a:lnTo>
                    <a:lnTo>
                      <a:pt x="255" y="807"/>
                    </a:lnTo>
                    <a:lnTo>
                      <a:pt x="241" y="807"/>
                    </a:lnTo>
                    <a:lnTo>
                      <a:pt x="216" y="801"/>
                    </a:lnTo>
                    <a:lnTo>
                      <a:pt x="212" y="800"/>
                    </a:lnTo>
                    <a:lnTo>
                      <a:pt x="211" y="814"/>
                    </a:lnTo>
                    <a:lnTo>
                      <a:pt x="214" y="823"/>
                    </a:lnTo>
                    <a:lnTo>
                      <a:pt x="244" y="829"/>
                    </a:lnTo>
                    <a:lnTo>
                      <a:pt x="273" y="830"/>
                    </a:lnTo>
                    <a:lnTo>
                      <a:pt x="297" y="833"/>
                    </a:lnTo>
                    <a:lnTo>
                      <a:pt x="290" y="869"/>
                    </a:lnTo>
                    <a:lnTo>
                      <a:pt x="269" y="874"/>
                    </a:lnTo>
                    <a:lnTo>
                      <a:pt x="247" y="874"/>
                    </a:lnTo>
                    <a:lnTo>
                      <a:pt x="231" y="873"/>
                    </a:lnTo>
                    <a:lnTo>
                      <a:pt x="212" y="874"/>
                    </a:lnTo>
                    <a:lnTo>
                      <a:pt x="212" y="887"/>
                    </a:lnTo>
                    <a:lnTo>
                      <a:pt x="229" y="895"/>
                    </a:lnTo>
                    <a:lnTo>
                      <a:pt x="233" y="909"/>
                    </a:lnTo>
                    <a:lnTo>
                      <a:pt x="228" y="930"/>
                    </a:lnTo>
                    <a:lnTo>
                      <a:pt x="221" y="958"/>
                    </a:lnTo>
                    <a:lnTo>
                      <a:pt x="219" y="997"/>
                    </a:lnTo>
                    <a:lnTo>
                      <a:pt x="200" y="1047"/>
                    </a:lnTo>
                    <a:lnTo>
                      <a:pt x="180" y="1078"/>
                    </a:lnTo>
                    <a:lnTo>
                      <a:pt x="169" y="1095"/>
                    </a:lnTo>
                    <a:lnTo>
                      <a:pt x="152" y="1066"/>
                    </a:lnTo>
                    <a:lnTo>
                      <a:pt x="129" y="1076"/>
                    </a:lnTo>
                    <a:lnTo>
                      <a:pt x="117" y="1087"/>
                    </a:lnTo>
                    <a:lnTo>
                      <a:pt x="110" y="1091"/>
                    </a:lnTo>
                    <a:lnTo>
                      <a:pt x="113" y="1121"/>
                    </a:lnTo>
                    <a:lnTo>
                      <a:pt x="113" y="1135"/>
                    </a:lnTo>
                    <a:lnTo>
                      <a:pt x="103" y="1144"/>
                    </a:lnTo>
                    <a:lnTo>
                      <a:pt x="89" y="1134"/>
                    </a:lnTo>
                    <a:lnTo>
                      <a:pt x="76" y="1141"/>
                    </a:lnTo>
                    <a:lnTo>
                      <a:pt x="57" y="1143"/>
                    </a:lnTo>
                    <a:lnTo>
                      <a:pt x="42" y="1139"/>
                    </a:lnTo>
                    <a:lnTo>
                      <a:pt x="58" y="1120"/>
                    </a:lnTo>
                    <a:lnTo>
                      <a:pt x="51" y="1083"/>
                    </a:lnTo>
                    <a:lnTo>
                      <a:pt x="45" y="1060"/>
                    </a:lnTo>
                    <a:lnTo>
                      <a:pt x="59" y="1052"/>
                    </a:lnTo>
                    <a:lnTo>
                      <a:pt x="59" y="1031"/>
                    </a:lnTo>
                    <a:lnTo>
                      <a:pt x="41" y="1032"/>
                    </a:lnTo>
                    <a:lnTo>
                      <a:pt x="27" y="983"/>
                    </a:lnTo>
                    <a:lnTo>
                      <a:pt x="15" y="943"/>
                    </a:lnTo>
                    <a:lnTo>
                      <a:pt x="10" y="922"/>
                    </a:lnTo>
                    <a:lnTo>
                      <a:pt x="17" y="908"/>
                    </a:lnTo>
                    <a:lnTo>
                      <a:pt x="17" y="888"/>
                    </a:lnTo>
                    <a:lnTo>
                      <a:pt x="0" y="896"/>
                    </a:lnTo>
                    <a:lnTo>
                      <a:pt x="0" y="874"/>
                    </a:lnTo>
                    <a:lnTo>
                      <a:pt x="3" y="846"/>
                    </a:lnTo>
                    <a:lnTo>
                      <a:pt x="5" y="836"/>
                    </a:lnTo>
                    <a:lnTo>
                      <a:pt x="14" y="822"/>
                    </a:lnTo>
                    <a:lnTo>
                      <a:pt x="25" y="821"/>
                    </a:lnTo>
                    <a:lnTo>
                      <a:pt x="25" y="792"/>
                    </a:lnTo>
                    <a:lnTo>
                      <a:pt x="31" y="785"/>
                    </a:lnTo>
                    <a:lnTo>
                      <a:pt x="38" y="776"/>
                    </a:lnTo>
                    <a:lnTo>
                      <a:pt x="46" y="723"/>
                    </a:lnTo>
                    <a:lnTo>
                      <a:pt x="55" y="665"/>
                    </a:lnTo>
                    <a:lnTo>
                      <a:pt x="72" y="648"/>
                    </a:lnTo>
                    <a:lnTo>
                      <a:pt x="65" y="635"/>
                    </a:lnTo>
                    <a:lnTo>
                      <a:pt x="58" y="622"/>
                    </a:lnTo>
                    <a:lnTo>
                      <a:pt x="59" y="570"/>
                    </a:lnTo>
                    <a:lnTo>
                      <a:pt x="58" y="474"/>
                    </a:lnTo>
                    <a:lnTo>
                      <a:pt x="83" y="446"/>
                    </a:lnTo>
                    <a:lnTo>
                      <a:pt x="111" y="422"/>
                    </a:lnTo>
                    <a:lnTo>
                      <a:pt x="135" y="431"/>
                    </a:lnTo>
                    <a:lnTo>
                      <a:pt x="150" y="410"/>
                    </a:lnTo>
                    <a:lnTo>
                      <a:pt x="140" y="385"/>
                    </a:lnTo>
                    <a:lnTo>
                      <a:pt x="157" y="335"/>
                    </a:lnTo>
                    <a:lnTo>
                      <a:pt x="171" y="298"/>
                    </a:lnTo>
                    <a:lnTo>
                      <a:pt x="187" y="252"/>
                    </a:lnTo>
                    <a:lnTo>
                      <a:pt x="202" y="234"/>
                    </a:lnTo>
                    <a:lnTo>
                      <a:pt x="214" y="203"/>
                    </a:lnTo>
                    <a:lnTo>
                      <a:pt x="236" y="175"/>
                    </a:lnTo>
                    <a:lnTo>
                      <a:pt x="257" y="141"/>
                    </a:lnTo>
                    <a:lnTo>
                      <a:pt x="279" y="116"/>
                    </a:lnTo>
                    <a:lnTo>
                      <a:pt x="292" y="95"/>
                    </a:lnTo>
                    <a:lnTo>
                      <a:pt x="310" y="76"/>
                    </a:lnTo>
                    <a:lnTo>
                      <a:pt x="315" y="59"/>
                    </a:lnTo>
                    <a:lnTo>
                      <a:pt x="368" y="50"/>
                    </a:lnTo>
                    <a:lnTo>
                      <a:pt x="382" y="30"/>
                    </a:lnTo>
                    <a:lnTo>
                      <a:pt x="382" y="6"/>
                    </a:lnTo>
                    <a:lnTo>
                      <a:pt x="399" y="0"/>
                    </a:lnTo>
                    <a:lnTo>
                      <a:pt x="400" y="21"/>
                    </a:lnTo>
                    <a:lnTo>
                      <a:pt x="412" y="33"/>
                    </a:lnTo>
                    <a:lnTo>
                      <a:pt x="426" y="48"/>
                    </a:lnTo>
                    <a:lnTo>
                      <a:pt x="457" y="62"/>
                    </a:lnTo>
                    <a:lnTo>
                      <a:pt x="466" y="93"/>
                    </a:lnTo>
                    <a:lnTo>
                      <a:pt x="471" y="113"/>
                    </a:lnTo>
                    <a:lnTo>
                      <a:pt x="472" y="134"/>
                    </a:lnTo>
                    <a:lnTo>
                      <a:pt x="486" y="150"/>
                    </a:lnTo>
                    <a:lnTo>
                      <a:pt x="491" y="194"/>
                    </a:lnTo>
                    <a:lnTo>
                      <a:pt x="491" y="218"/>
                    </a:lnTo>
                    <a:lnTo>
                      <a:pt x="491" y="251"/>
                    </a:lnTo>
                    <a:lnTo>
                      <a:pt x="502" y="277"/>
                    </a:lnTo>
                    <a:close/>
                    <a:moveTo>
                      <a:pt x="123" y="1150"/>
                    </a:moveTo>
                    <a:lnTo>
                      <a:pt x="133" y="1158"/>
                    </a:lnTo>
                    <a:lnTo>
                      <a:pt x="140" y="1169"/>
                    </a:lnTo>
                    <a:lnTo>
                      <a:pt x="135" y="1180"/>
                    </a:lnTo>
                    <a:lnTo>
                      <a:pt x="123" y="1177"/>
                    </a:lnTo>
                    <a:lnTo>
                      <a:pt x="117" y="1167"/>
                    </a:lnTo>
                    <a:lnTo>
                      <a:pt x="123" y="1150"/>
                    </a:lnTo>
                    <a:close/>
                    <a:moveTo>
                      <a:pt x="291" y="1028"/>
                    </a:moveTo>
                    <a:lnTo>
                      <a:pt x="298" y="1014"/>
                    </a:lnTo>
                    <a:lnTo>
                      <a:pt x="305" y="994"/>
                    </a:lnTo>
                    <a:lnTo>
                      <a:pt x="321" y="980"/>
                    </a:lnTo>
                    <a:lnTo>
                      <a:pt x="321" y="961"/>
                    </a:lnTo>
                    <a:lnTo>
                      <a:pt x="329" y="949"/>
                    </a:lnTo>
                    <a:lnTo>
                      <a:pt x="308" y="949"/>
                    </a:lnTo>
                    <a:lnTo>
                      <a:pt x="294" y="963"/>
                    </a:lnTo>
                    <a:lnTo>
                      <a:pt x="292" y="977"/>
                    </a:lnTo>
                    <a:lnTo>
                      <a:pt x="279" y="998"/>
                    </a:lnTo>
                    <a:lnTo>
                      <a:pt x="284" y="1010"/>
                    </a:lnTo>
                    <a:lnTo>
                      <a:pt x="281" y="1022"/>
                    </a:lnTo>
                    <a:lnTo>
                      <a:pt x="291" y="1028"/>
                    </a:lnTo>
                    <a:close/>
                    <a:moveTo>
                      <a:pt x="39" y="892"/>
                    </a:moveTo>
                    <a:lnTo>
                      <a:pt x="32" y="885"/>
                    </a:lnTo>
                    <a:lnTo>
                      <a:pt x="35" y="875"/>
                    </a:lnTo>
                    <a:lnTo>
                      <a:pt x="38" y="860"/>
                    </a:lnTo>
                    <a:lnTo>
                      <a:pt x="48" y="860"/>
                    </a:lnTo>
                    <a:lnTo>
                      <a:pt x="53" y="840"/>
                    </a:lnTo>
                    <a:lnTo>
                      <a:pt x="60" y="822"/>
                    </a:lnTo>
                    <a:lnTo>
                      <a:pt x="81" y="817"/>
                    </a:lnTo>
                    <a:lnTo>
                      <a:pt x="92" y="835"/>
                    </a:lnTo>
                    <a:lnTo>
                      <a:pt x="110" y="832"/>
                    </a:lnTo>
                    <a:lnTo>
                      <a:pt x="111" y="849"/>
                    </a:lnTo>
                    <a:lnTo>
                      <a:pt x="96" y="856"/>
                    </a:lnTo>
                    <a:lnTo>
                      <a:pt x="84" y="872"/>
                    </a:lnTo>
                    <a:lnTo>
                      <a:pt x="69" y="881"/>
                    </a:lnTo>
                    <a:lnTo>
                      <a:pt x="39" y="892"/>
                    </a:lnTo>
                    <a:close/>
                    <a:moveTo>
                      <a:pt x="108" y="935"/>
                    </a:moveTo>
                    <a:lnTo>
                      <a:pt x="107" y="925"/>
                    </a:lnTo>
                    <a:lnTo>
                      <a:pt x="112" y="908"/>
                    </a:lnTo>
                    <a:lnTo>
                      <a:pt x="119" y="896"/>
                    </a:lnTo>
                    <a:lnTo>
                      <a:pt x="128" y="886"/>
                    </a:lnTo>
                    <a:lnTo>
                      <a:pt x="137" y="870"/>
                    </a:lnTo>
                    <a:lnTo>
                      <a:pt x="146" y="879"/>
                    </a:lnTo>
                    <a:lnTo>
                      <a:pt x="138" y="893"/>
                    </a:lnTo>
                    <a:lnTo>
                      <a:pt x="127" y="904"/>
                    </a:lnTo>
                    <a:lnTo>
                      <a:pt x="123" y="919"/>
                    </a:lnTo>
                    <a:lnTo>
                      <a:pt x="118" y="939"/>
                    </a:lnTo>
                    <a:lnTo>
                      <a:pt x="108" y="943"/>
                    </a:lnTo>
                    <a:lnTo>
                      <a:pt x="108" y="935"/>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05" name="Freeform 43"/>
              <p:cNvSpPr>
                <a:spLocks noChangeAspect="1"/>
              </p:cNvSpPr>
              <p:nvPr/>
            </p:nvSpPr>
            <p:spPr bwMode="auto">
              <a:xfrm>
                <a:off x="3780863" y="4383035"/>
                <a:ext cx="374552" cy="213853"/>
              </a:xfrm>
              <a:custGeom>
                <a:avLst/>
                <a:gdLst>
                  <a:gd name="T0" fmla="*/ 103 w 255"/>
                  <a:gd name="T1" fmla="*/ 21 h 146"/>
                  <a:gd name="T2" fmla="*/ 86 w 255"/>
                  <a:gd name="T3" fmla="*/ 17 h 146"/>
                  <a:gd name="T4" fmla="*/ 51 w 255"/>
                  <a:gd name="T5" fmla="*/ 34 h 146"/>
                  <a:gd name="T6" fmla="*/ 34 w 255"/>
                  <a:gd name="T7" fmla="*/ 59 h 146"/>
                  <a:gd name="T8" fmla="*/ 12 w 255"/>
                  <a:gd name="T9" fmla="*/ 88 h 146"/>
                  <a:gd name="T10" fmla="*/ 0 w 255"/>
                  <a:gd name="T11" fmla="*/ 118 h 146"/>
                  <a:gd name="T12" fmla="*/ 31 w 255"/>
                  <a:gd name="T13" fmla="*/ 102 h 146"/>
                  <a:gd name="T14" fmla="*/ 49 w 255"/>
                  <a:gd name="T15" fmla="*/ 118 h 146"/>
                  <a:gd name="T16" fmla="*/ 57 w 255"/>
                  <a:gd name="T17" fmla="*/ 146 h 146"/>
                  <a:gd name="T18" fmla="*/ 83 w 255"/>
                  <a:gd name="T19" fmla="*/ 161 h 146"/>
                  <a:gd name="T20" fmla="*/ 105 w 255"/>
                  <a:gd name="T21" fmla="*/ 156 h 146"/>
                  <a:gd name="T22" fmla="*/ 126 w 255"/>
                  <a:gd name="T23" fmla="*/ 142 h 146"/>
                  <a:gd name="T24" fmla="*/ 144 w 255"/>
                  <a:gd name="T25" fmla="*/ 136 h 146"/>
                  <a:gd name="T26" fmla="*/ 169 w 255"/>
                  <a:gd name="T27" fmla="*/ 159 h 146"/>
                  <a:gd name="T28" fmla="*/ 197 w 255"/>
                  <a:gd name="T29" fmla="*/ 164 h 146"/>
                  <a:gd name="T30" fmla="*/ 206 w 255"/>
                  <a:gd name="T31" fmla="*/ 142 h 146"/>
                  <a:gd name="T32" fmla="*/ 214 w 255"/>
                  <a:gd name="T33" fmla="*/ 129 h 146"/>
                  <a:gd name="T34" fmla="*/ 242 w 255"/>
                  <a:gd name="T35" fmla="*/ 140 h 146"/>
                  <a:gd name="T36" fmla="*/ 258 w 255"/>
                  <a:gd name="T37" fmla="*/ 153 h 146"/>
                  <a:gd name="T38" fmla="*/ 265 w 255"/>
                  <a:gd name="T39" fmla="*/ 135 h 146"/>
                  <a:gd name="T40" fmla="*/ 280 w 255"/>
                  <a:gd name="T41" fmla="*/ 128 h 146"/>
                  <a:gd name="T42" fmla="*/ 297 w 255"/>
                  <a:gd name="T43" fmla="*/ 113 h 146"/>
                  <a:gd name="T44" fmla="*/ 297 w 255"/>
                  <a:gd name="T45" fmla="*/ 96 h 146"/>
                  <a:gd name="T46" fmla="*/ 283 w 255"/>
                  <a:gd name="T47" fmla="*/ 73 h 146"/>
                  <a:gd name="T48" fmla="*/ 257 w 255"/>
                  <a:gd name="T49" fmla="*/ 71 h 146"/>
                  <a:gd name="T50" fmla="*/ 267 w 255"/>
                  <a:gd name="T51" fmla="*/ 53 h 146"/>
                  <a:gd name="T52" fmla="*/ 279 w 255"/>
                  <a:gd name="T53" fmla="*/ 37 h 146"/>
                  <a:gd name="T54" fmla="*/ 240 w 255"/>
                  <a:gd name="T55" fmla="*/ 33 h 146"/>
                  <a:gd name="T56" fmla="*/ 226 w 255"/>
                  <a:gd name="T57" fmla="*/ 13 h 146"/>
                  <a:gd name="T58" fmla="*/ 194 w 255"/>
                  <a:gd name="T59" fmla="*/ 17 h 146"/>
                  <a:gd name="T60" fmla="*/ 177 w 255"/>
                  <a:gd name="T61" fmla="*/ 0 h 146"/>
                  <a:gd name="T62" fmla="*/ 135 w 255"/>
                  <a:gd name="T63" fmla="*/ 26 h 146"/>
                  <a:gd name="T64" fmla="*/ 111 w 255"/>
                  <a:gd name="T65" fmla="*/ 14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5"/>
                  <a:gd name="T100" fmla="*/ 0 h 146"/>
                  <a:gd name="T101" fmla="*/ 255 w 255"/>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5" h="146">
                    <a:moveTo>
                      <a:pt x="93" y="12"/>
                    </a:moveTo>
                    <a:lnTo>
                      <a:pt x="87" y="18"/>
                    </a:lnTo>
                    <a:lnTo>
                      <a:pt x="80" y="17"/>
                    </a:lnTo>
                    <a:lnTo>
                      <a:pt x="72" y="14"/>
                    </a:lnTo>
                    <a:lnTo>
                      <a:pt x="56" y="21"/>
                    </a:lnTo>
                    <a:lnTo>
                      <a:pt x="43" y="29"/>
                    </a:lnTo>
                    <a:lnTo>
                      <a:pt x="33" y="40"/>
                    </a:lnTo>
                    <a:lnTo>
                      <a:pt x="29" y="50"/>
                    </a:lnTo>
                    <a:lnTo>
                      <a:pt x="22" y="66"/>
                    </a:lnTo>
                    <a:lnTo>
                      <a:pt x="10" y="74"/>
                    </a:lnTo>
                    <a:lnTo>
                      <a:pt x="0" y="88"/>
                    </a:lnTo>
                    <a:lnTo>
                      <a:pt x="0" y="100"/>
                    </a:lnTo>
                    <a:lnTo>
                      <a:pt x="8" y="100"/>
                    </a:lnTo>
                    <a:lnTo>
                      <a:pt x="26" y="86"/>
                    </a:lnTo>
                    <a:lnTo>
                      <a:pt x="34" y="86"/>
                    </a:lnTo>
                    <a:lnTo>
                      <a:pt x="41" y="100"/>
                    </a:lnTo>
                    <a:lnTo>
                      <a:pt x="45" y="110"/>
                    </a:lnTo>
                    <a:lnTo>
                      <a:pt x="48" y="123"/>
                    </a:lnTo>
                    <a:lnTo>
                      <a:pt x="53" y="131"/>
                    </a:lnTo>
                    <a:lnTo>
                      <a:pt x="70" y="136"/>
                    </a:lnTo>
                    <a:lnTo>
                      <a:pt x="80" y="135"/>
                    </a:lnTo>
                    <a:lnTo>
                      <a:pt x="88" y="132"/>
                    </a:lnTo>
                    <a:lnTo>
                      <a:pt x="99" y="132"/>
                    </a:lnTo>
                    <a:lnTo>
                      <a:pt x="106" y="120"/>
                    </a:lnTo>
                    <a:lnTo>
                      <a:pt x="115" y="108"/>
                    </a:lnTo>
                    <a:lnTo>
                      <a:pt x="121" y="115"/>
                    </a:lnTo>
                    <a:lnTo>
                      <a:pt x="132" y="122"/>
                    </a:lnTo>
                    <a:lnTo>
                      <a:pt x="142" y="134"/>
                    </a:lnTo>
                    <a:lnTo>
                      <a:pt x="152" y="146"/>
                    </a:lnTo>
                    <a:lnTo>
                      <a:pt x="166" y="138"/>
                    </a:lnTo>
                    <a:lnTo>
                      <a:pt x="171" y="129"/>
                    </a:lnTo>
                    <a:lnTo>
                      <a:pt x="173" y="120"/>
                    </a:lnTo>
                    <a:lnTo>
                      <a:pt x="173" y="112"/>
                    </a:lnTo>
                    <a:lnTo>
                      <a:pt x="180" y="109"/>
                    </a:lnTo>
                    <a:lnTo>
                      <a:pt x="194" y="113"/>
                    </a:lnTo>
                    <a:lnTo>
                      <a:pt x="204" y="118"/>
                    </a:lnTo>
                    <a:lnTo>
                      <a:pt x="212" y="124"/>
                    </a:lnTo>
                    <a:lnTo>
                      <a:pt x="217" y="129"/>
                    </a:lnTo>
                    <a:lnTo>
                      <a:pt x="226" y="122"/>
                    </a:lnTo>
                    <a:lnTo>
                      <a:pt x="223" y="114"/>
                    </a:lnTo>
                    <a:lnTo>
                      <a:pt x="224" y="108"/>
                    </a:lnTo>
                    <a:lnTo>
                      <a:pt x="236" y="108"/>
                    </a:lnTo>
                    <a:lnTo>
                      <a:pt x="243" y="100"/>
                    </a:lnTo>
                    <a:lnTo>
                      <a:pt x="250" y="95"/>
                    </a:lnTo>
                    <a:lnTo>
                      <a:pt x="255" y="86"/>
                    </a:lnTo>
                    <a:lnTo>
                      <a:pt x="250" y="81"/>
                    </a:lnTo>
                    <a:lnTo>
                      <a:pt x="245" y="70"/>
                    </a:lnTo>
                    <a:lnTo>
                      <a:pt x="238" y="62"/>
                    </a:lnTo>
                    <a:lnTo>
                      <a:pt x="226" y="60"/>
                    </a:lnTo>
                    <a:lnTo>
                      <a:pt x="216" y="60"/>
                    </a:lnTo>
                    <a:lnTo>
                      <a:pt x="219" y="50"/>
                    </a:lnTo>
                    <a:lnTo>
                      <a:pt x="225" y="45"/>
                    </a:lnTo>
                    <a:lnTo>
                      <a:pt x="238" y="40"/>
                    </a:lnTo>
                    <a:lnTo>
                      <a:pt x="235" y="31"/>
                    </a:lnTo>
                    <a:lnTo>
                      <a:pt x="214" y="28"/>
                    </a:lnTo>
                    <a:lnTo>
                      <a:pt x="202" y="28"/>
                    </a:lnTo>
                    <a:lnTo>
                      <a:pt x="195" y="19"/>
                    </a:lnTo>
                    <a:lnTo>
                      <a:pt x="190" y="11"/>
                    </a:lnTo>
                    <a:lnTo>
                      <a:pt x="180" y="2"/>
                    </a:lnTo>
                    <a:lnTo>
                      <a:pt x="163" y="14"/>
                    </a:lnTo>
                    <a:lnTo>
                      <a:pt x="161" y="3"/>
                    </a:lnTo>
                    <a:lnTo>
                      <a:pt x="149" y="0"/>
                    </a:lnTo>
                    <a:lnTo>
                      <a:pt x="129" y="22"/>
                    </a:lnTo>
                    <a:lnTo>
                      <a:pt x="114" y="22"/>
                    </a:lnTo>
                    <a:lnTo>
                      <a:pt x="102" y="14"/>
                    </a:lnTo>
                    <a:lnTo>
                      <a:pt x="93" y="12"/>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06" name="Freeform 44"/>
              <p:cNvSpPr>
                <a:spLocks noChangeAspect="1"/>
              </p:cNvSpPr>
              <p:nvPr/>
            </p:nvSpPr>
            <p:spPr bwMode="auto">
              <a:xfrm>
                <a:off x="4323530" y="4039387"/>
                <a:ext cx="493221" cy="290494"/>
              </a:xfrm>
              <a:custGeom>
                <a:avLst/>
                <a:gdLst>
                  <a:gd name="T0" fmla="*/ 87 w 336"/>
                  <a:gd name="T1" fmla="*/ 234 h 198"/>
                  <a:gd name="T2" fmla="*/ 118 w 336"/>
                  <a:gd name="T3" fmla="*/ 233 h 198"/>
                  <a:gd name="T4" fmla="*/ 141 w 336"/>
                  <a:gd name="T5" fmla="*/ 222 h 198"/>
                  <a:gd name="T6" fmla="*/ 170 w 336"/>
                  <a:gd name="T7" fmla="*/ 205 h 198"/>
                  <a:gd name="T8" fmla="*/ 207 w 336"/>
                  <a:gd name="T9" fmla="*/ 211 h 198"/>
                  <a:gd name="T10" fmla="*/ 239 w 336"/>
                  <a:gd name="T11" fmla="*/ 221 h 198"/>
                  <a:gd name="T12" fmla="*/ 276 w 336"/>
                  <a:gd name="T13" fmla="*/ 235 h 198"/>
                  <a:gd name="T14" fmla="*/ 308 w 336"/>
                  <a:gd name="T15" fmla="*/ 209 h 198"/>
                  <a:gd name="T16" fmla="*/ 349 w 336"/>
                  <a:gd name="T17" fmla="*/ 189 h 198"/>
                  <a:gd name="T18" fmla="*/ 398 w 336"/>
                  <a:gd name="T19" fmla="*/ 165 h 198"/>
                  <a:gd name="T20" fmla="*/ 387 w 336"/>
                  <a:gd name="T21" fmla="*/ 134 h 198"/>
                  <a:gd name="T22" fmla="*/ 353 w 336"/>
                  <a:gd name="T23" fmla="*/ 116 h 198"/>
                  <a:gd name="T24" fmla="*/ 335 w 336"/>
                  <a:gd name="T25" fmla="*/ 112 h 198"/>
                  <a:gd name="T26" fmla="*/ 318 w 336"/>
                  <a:gd name="T27" fmla="*/ 87 h 198"/>
                  <a:gd name="T28" fmla="*/ 295 w 336"/>
                  <a:gd name="T29" fmla="*/ 72 h 198"/>
                  <a:gd name="T30" fmla="*/ 277 w 336"/>
                  <a:gd name="T31" fmla="*/ 97 h 198"/>
                  <a:gd name="T32" fmla="*/ 247 w 336"/>
                  <a:gd name="T33" fmla="*/ 89 h 198"/>
                  <a:gd name="T34" fmla="*/ 247 w 336"/>
                  <a:gd name="T35" fmla="*/ 68 h 198"/>
                  <a:gd name="T36" fmla="*/ 239 w 336"/>
                  <a:gd name="T37" fmla="*/ 43 h 198"/>
                  <a:gd name="T38" fmla="*/ 217 w 336"/>
                  <a:gd name="T39" fmla="*/ 52 h 198"/>
                  <a:gd name="T40" fmla="*/ 185 w 336"/>
                  <a:gd name="T41" fmla="*/ 38 h 198"/>
                  <a:gd name="T42" fmla="*/ 162 w 336"/>
                  <a:gd name="T43" fmla="*/ 18 h 198"/>
                  <a:gd name="T44" fmla="*/ 137 w 336"/>
                  <a:gd name="T45" fmla="*/ 20 h 198"/>
                  <a:gd name="T46" fmla="*/ 121 w 336"/>
                  <a:gd name="T47" fmla="*/ 7 h 198"/>
                  <a:gd name="T48" fmla="*/ 110 w 336"/>
                  <a:gd name="T49" fmla="*/ 28 h 198"/>
                  <a:gd name="T50" fmla="*/ 81 w 336"/>
                  <a:gd name="T51" fmla="*/ 34 h 198"/>
                  <a:gd name="T52" fmla="*/ 48 w 336"/>
                  <a:gd name="T53" fmla="*/ 52 h 198"/>
                  <a:gd name="T54" fmla="*/ 21 w 336"/>
                  <a:gd name="T55" fmla="*/ 74 h 198"/>
                  <a:gd name="T56" fmla="*/ 2 w 336"/>
                  <a:gd name="T57" fmla="*/ 95 h 198"/>
                  <a:gd name="T58" fmla="*/ 5 w 336"/>
                  <a:gd name="T59" fmla="*/ 134 h 198"/>
                  <a:gd name="T60" fmla="*/ 27 w 336"/>
                  <a:gd name="T61" fmla="*/ 163 h 198"/>
                  <a:gd name="T62" fmla="*/ 43 w 336"/>
                  <a:gd name="T63" fmla="*/ 179 h 198"/>
                  <a:gd name="T64" fmla="*/ 68 w 336"/>
                  <a:gd name="T65" fmla="*/ 201 h 198"/>
                  <a:gd name="T66" fmla="*/ 81 w 336"/>
                  <a:gd name="T67" fmla="*/ 223 h 1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36"/>
                  <a:gd name="T103" fmla="*/ 0 h 198"/>
                  <a:gd name="T104" fmla="*/ 336 w 336"/>
                  <a:gd name="T105" fmla="*/ 198 h 1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36" h="198">
                    <a:moveTo>
                      <a:pt x="68" y="188"/>
                    </a:moveTo>
                    <a:lnTo>
                      <a:pt x="73" y="197"/>
                    </a:lnTo>
                    <a:lnTo>
                      <a:pt x="85" y="197"/>
                    </a:lnTo>
                    <a:lnTo>
                      <a:pt x="99" y="196"/>
                    </a:lnTo>
                    <a:lnTo>
                      <a:pt x="110" y="196"/>
                    </a:lnTo>
                    <a:lnTo>
                      <a:pt x="119" y="187"/>
                    </a:lnTo>
                    <a:lnTo>
                      <a:pt x="128" y="172"/>
                    </a:lnTo>
                    <a:lnTo>
                      <a:pt x="143" y="173"/>
                    </a:lnTo>
                    <a:lnTo>
                      <a:pt x="164" y="174"/>
                    </a:lnTo>
                    <a:lnTo>
                      <a:pt x="174" y="178"/>
                    </a:lnTo>
                    <a:lnTo>
                      <a:pt x="189" y="183"/>
                    </a:lnTo>
                    <a:lnTo>
                      <a:pt x="201" y="186"/>
                    </a:lnTo>
                    <a:lnTo>
                      <a:pt x="221" y="192"/>
                    </a:lnTo>
                    <a:lnTo>
                      <a:pt x="232" y="198"/>
                    </a:lnTo>
                    <a:lnTo>
                      <a:pt x="244" y="188"/>
                    </a:lnTo>
                    <a:lnTo>
                      <a:pt x="259" y="176"/>
                    </a:lnTo>
                    <a:lnTo>
                      <a:pt x="276" y="171"/>
                    </a:lnTo>
                    <a:lnTo>
                      <a:pt x="294" y="159"/>
                    </a:lnTo>
                    <a:lnTo>
                      <a:pt x="321" y="144"/>
                    </a:lnTo>
                    <a:lnTo>
                      <a:pt x="335" y="139"/>
                    </a:lnTo>
                    <a:lnTo>
                      <a:pt x="336" y="123"/>
                    </a:lnTo>
                    <a:lnTo>
                      <a:pt x="326" y="113"/>
                    </a:lnTo>
                    <a:lnTo>
                      <a:pt x="318" y="104"/>
                    </a:lnTo>
                    <a:lnTo>
                      <a:pt x="297" y="98"/>
                    </a:lnTo>
                    <a:lnTo>
                      <a:pt x="282" y="106"/>
                    </a:lnTo>
                    <a:lnTo>
                      <a:pt x="282" y="94"/>
                    </a:lnTo>
                    <a:lnTo>
                      <a:pt x="281" y="82"/>
                    </a:lnTo>
                    <a:lnTo>
                      <a:pt x="268" y="73"/>
                    </a:lnTo>
                    <a:lnTo>
                      <a:pt x="256" y="67"/>
                    </a:lnTo>
                    <a:lnTo>
                      <a:pt x="248" y="61"/>
                    </a:lnTo>
                    <a:lnTo>
                      <a:pt x="237" y="71"/>
                    </a:lnTo>
                    <a:lnTo>
                      <a:pt x="233" y="82"/>
                    </a:lnTo>
                    <a:lnTo>
                      <a:pt x="225" y="81"/>
                    </a:lnTo>
                    <a:lnTo>
                      <a:pt x="208" y="75"/>
                    </a:lnTo>
                    <a:lnTo>
                      <a:pt x="201" y="68"/>
                    </a:lnTo>
                    <a:lnTo>
                      <a:pt x="208" y="57"/>
                    </a:lnTo>
                    <a:lnTo>
                      <a:pt x="220" y="38"/>
                    </a:lnTo>
                    <a:lnTo>
                      <a:pt x="201" y="36"/>
                    </a:lnTo>
                    <a:lnTo>
                      <a:pt x="195" y="41"/>
                    </a:lnTo>
                    <a:lnTo>
                      <a:pt x="183" y="44"/>
                    </a:lnTo>
                    <a:lnTo>
                      <a:pt x="172" y="33"/>
                    </a:lnTo>
                    <a:lnTo>
                      <a:pt x="156" y="32"/>
                    </a:lnTo>
                    <a:lnTo>
                      <a:pt x="143" y="24"/>
                    </a:lnTo>
                    <a:lnTo>
                      <a:pt x="136" y="15"/>
                    </a:lnTo>
                    <a:lnTo>
                      <a:pt x="125" y="20"/>
                    </a:lnTo>
                    <a:lnTo>
                      <a:pt x="115" y="17"/>
                    </a:lnTo>
                    <a:lnTo>
                      <a:pt x="114" y="0"/>
                    </a:lnTo>
                    <a:lnTo>
                      <a:pt x="102" y="6"/>
                    </a:lnTo>
                    <a:lnTo>
                      <a:pt x="102" y="19"/>
                    </a:lnTo>
                    <a:lnTo>
                      <a:pt x="93" y="24"/>
                    </a:lnTo>
                    <a:lnTo>
                      <a:pt x="79" y="24"/>
                    </a:lnTo>
                    <a:lnTo>
                      <a:pt x="68" y="29"/>
                    </a:lnTo>
                    <a:lnTo>
                      <a:pt x="54" y="34"/>
                    </a:lnTo>
                    <a:lnTo>
                      <a:pt x="40" y="44"/>
                    </a:lnTo>
                    <a:lnTo>
                      <a:pt x="26" y="51"/>
                    </a:lnTo>
                    <a:lnTo>
                      <a:pt x="18" y="62"/>
                    </a:lnTo>
                    <a:lnTo>
                      <a:pt x="1" y="68"/>
                    </a:lnTo>
                    <a:lnTo>
                      <a:pt x="2" y="80"/>
                    </a:lnTo>
                    <a:lnTo>
                      <a:pt x="0" y="92"/>
                    </a:lnTo>
                    <a:lnTo>
                      <a:pt x="4" y="113"/>
                    </a:lnTo>
                    <a:lnTo>
                      <a:pt x="15" y="128"/>
                    </a:lnTo>
                    <a:lnTo>
                      <a:pt x="23" y="137"/>
                    </a:lnTo>
                    <a:lnTo>
                      <a:pt x="25" y="143"/>
                    </a:lnTo>
                    <a:lnTo>
                      <a:pt x="36" y="151"/>
                    </a:lnTo>
                    <a:lnTo>
                      <a:pt x="47" y="159"/>
                    </a:lnTo>
                    <a:lnTo>
                      <a:pt x="57" y="169"/>
                    </a:lnTo>
                    <a:lnTo>
                      <a:pt x="63" y="181"/>
                    </a:lnTo>
                    <a:lnTo>
                      <a:pt x="68" y="188"/>
                    </a:lnTo>
                    <a:close/>
                  </a:path>
                </a:pathLst>
              </a:custGeom>
              <a:solidFill>
                <a:schemeClr val="bg1">
                  <a:lumMod val="85000"/>
                </a:schemeClr>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07" name="Freeform 45"/>
              <p:cNvSpPr>
                <a:spLocks noChangeAspect="1" noEditPoints="1"/>
              </p:cNvSpPr>
              <p:nvPr/>
            </p:nvSpPr>
            <p:spPr bwMode="auto">
              <a:xfrm>
                <a:off x="5312445" y="4981329"/>
                <a:ext cx="1793645" cy="808438"/>
              </a:xfrm>
              <a:custGeom>
                <a:avLst/>
                <a:gdLst>
                  <a:gd name="T0" fmla="*/ 805 w 1221"/>
                  <a:gd name="T1" fmla="*/ 507 h 550"/>
                  <a:gd name="T2" fmla="*/ 663 w 1221"/>
                  <a:gd name="T3" fmla="*/ 585 h 550"/>
                  <a:gd name="T4" fmla="*/ 515 w 1221"/>
                  <a:gd name="T5" fmla="*/ 580 h 550"/>
                  <a:gd name="T6" fmla="*/ 358 w 1221"/>
                  <a:gd name="T7" fmla="*/ 636 h 550"/>
                  <a:gd name="T8" fmla="*/ 238 w 1221"/>
                  <a:gd name="T9" fmla="*/ 600 h 550"/>
                  <a:gd name="T10" fmla="*/ 181 w 1221"/>
                  <a:gd name="T11" fmla="*/ 570 h 550"/>
                  <a:gd name="T12" fmla="*/ 157 w 1221"/>
                  <a:gd name="T13" fmla="*/ 523 h 550"/>
                  <a:gd name="T14" fmla="*/ 119 w 1221"/>
                  <a:gd name="T15" fmla="*/ 474 h 550"/>
                  <a:gd name="T16" fmla="*/ 150 w 1221"/>
                  <a:gd name="T17" fmla="*/ 430 h 550"/>
                  <a:gd name="T18" fmla="*/ 124 w 1221"/>
                  <a:gd name="T19" fmla="*/ 383 h 550"/>
                  <a:gd name="T20" fmla="*/ 101 w 1221"/>
                  <a:gd name="T21" fmla="*/ 328 h 550"/>
                  <a:gd name="T22" fmla="*/ 128 w 1221"/>
                  <a:gd name="T23" fmla="*/ 250 h 550"/>
                  <a:gd name="T24" fmla="*/ 279 w 1221"/>
                  <a:gd name="T25" fmla="*/ 247 h 550"/>
                  <a:gd name="T26" fmla="*/ 327 w 1221"/>
                  <a:gd name="T27" fmla="*/ 210 h 550"/>
                  <a:gd name="T28" fmla="*/ 326 w 1221"/>
                  <a:gd name="T29" fmla="*/ 163 h 550"/>
                  <a:gd name="T30" fmla="*/ 484 w 1221"/>
                  <a:gd name="T31" fmla="*/ 101 h 550"/>
                  <a:gd name="T32" fmla="*/ 660 w 1221"/>
                  <a:gd name="T33" fmla="*/ 54 h 550"/>
                  <a:gd name="T34" fmla="*/ 717 w 1221"/>
                  <a:gd name="T35" fmla="*/ 74 h 550"/>
                  <a:gd name="T36" fmla="*/ 789 w 1221"/>
                  <a:gd name="T37" fmla="*/ 95 h 550"/>
                  <a:gd name="T38" fmla="*/ 901 w 1221"/>
                  <a:gd name="T39" fmla="*/ 115 h 550"/>
                  <a:gd name="T40" fmla="*/ 1146 w 1221"/>
                  <a:gd name="T41" fmla="*/ 17 h 550"/>
                  <a:gd name="T42" fmla="*/ 1209 w 1221"/>
                  <a:gd name="T43" fmla="*/ 17 h 550"/>
                  <a:gd name="T44" fmla="*/ 1275 w 1221"/>
                  <a:gd name="T45" fmla="*/ 26 h 550"/>
                  <a:gd name="T46" fmla="*/ 1300 w 1221"/>
                  <a:gd name="T47" fmla="*/ 100 h 550"/>
                  <a:gd name="T48" fmla="*/ 1380 w 1221"/>
                  <a:gd name="T49" fmla="*/ 128 h 550"/>
                  <a:gd name="T50" fmla="*/ 1365 w 1221"/>
                  <a:gd name="T51" fmla="*/ 213 h 550"/>
                  <a:gd name="T52" fmla="*/ 1406 w 1221"/>
                  <a:gd name="T53" fmla="*/ 323 h 550"/>
                  <a:gd name="T54" fmla="*/ 1425 w 1221"/>
                  <a:gd name="T55" fmla="*/ 390 h 550"/>
                  <a:gd name="T56" fmla="*/ 1371 w 1221"/>
                  <a:gd name="T57" fmla="*/ 395 h 550"/>
                  <a:gd name="T58" fmla="*/ 1266 w 1221"/>
                  <a:gd name="T59" fmla="*/ 410 h 550"/>
                  <a:gd name="T60" fmla="*/ 1185 w 1221"/>
                  <a:gd name="T61" fmla="*/ 446 h 550"/>
                  <a:gd name="T62" fmla="*/ 1065 w 1221"/>
                  <a:gd name="T63" fmla="*/ 491 h 550"/>
                  <a:gd name="T64" fmla="*/ 952 w 1221"/>
                  <a:gd name="T65" fmla="*/ 497 h 550"/>
                  <a:gd name="T66" fmla="*/ 864 w 1221"/>
                  <a:gd name="T67" fmla="*/ 528 h 550"/>
                  <a:gd name="T68" fmla="*/ 184 w 1221"/>
                  <a:gd name="T69" fmla="*/ 92 h 550"/>
                  <a:gd name="T70" fmla="*/ 263 w 1221"/>
                  <a:gd name="T71" fmla="*/ 159 h 550"/>
                  <a:gd name="T72" fmla="*/ 154 w 1221"/>
                  <a:gd name="T73" fmla="*/ 212 h 550"/>
                  <a:gd name="T74" fmla="*/ 70 w 1221"/>
                  <a:gd name="T75" fmla="*/ 225 h 550"/>
                  <a:gd name="T76" fmla="*/ 92 w 1221"/>
                  <a:gd name="T77" fmla="*/ 163 h 550"/>
                  <a:gd name="T78" fmla="*/ 103 w 1221"/>
                  <a:gd name="T79" fmla="*/ 98 h 550"/>
                  <a:gd name="T80" fmla="*/ 163 w 1221"/>
                  <a:gd name="T81" fmla="*/ 98 h 550"/>
                  <a:gd name="T82" fmla="*/ 201 w 1221"/>
                  <a:gd name="T83" fmla="*/ 633 h 550"/>
                  <a:gd name="T84" fmla="*/ 236 w 1221"/>
                  <a:gd name="T85" fmla="*/ 618 h 550"/>
                  <a:gd name="T86" fmla="*/ 213 w 1221"/>
                  <a:gd name="T87" fmla="*/ 640 h 550"/>
                  <a:gd name="T88" fmla="*/ 119 w 1221"/>
                  <a:gd name="T89" fmla="*/ 498 h 550"/>
                  <a:gd name="T90" fmla="*/ 87 w 1221"/>
                  <a:gd name="T91" fmla="*/ 514 h 550"/>
                  <a:gd name="T92" fmla="*/ 102 w 1221"/>
                  <a:gd name="T93" fmla="*/ 508 h 550"/>
                  <a:gd name="T94" fmla="*/ 70 w 1221"/>
                  <a:gd name="T95" fmla="*/ 460 h 550"/>
                  <a:gd name="T96" fmla="*/ 67 w 1221"/>
                  <a:gd name="T97" fmla="*/ 410 h 550"/>
                  <a:gd name="T98" fmla="*/ 70 w 1221"/>
                  <a:gd name="T99" fmla="*/ 371 h 550"/>
                  <a:gd name="T100" fmla="*/ 109 w 1221"/>
                  <a:gd name="T101" fmla="*/ 372 h 550"/>
                  <a:gd name="T102" fmla="*/ 69 w 1221"/>
                  <a:gd name="T103" fmla="*/ 352 h 550"/>
                  <a:gd name="T104" fmla="*/ 18 w 1221"/>
                  <a:gd name="T105" fmla="*/ 276 h 550"/>
                  <a:gd name="T106" fmla="*/ 0 w 1221"/>
                  <a:gd name="T107" fmla="*/ 312 h 5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21"/>
                  <a:gd name="T163" fmla="*/ 0 h 550"/>
                  <a:gd name="T164" fmla="*/ 1221 w 1221"/>
                  <a:gd name="T165" fmla="*/ 550 h 5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21" h="550">
                    <a:moveTo>
                      <a:pt x="703" y="497"/>
                    </a:moveTo>
                    <a:lnTo>
                      <a:pt x="671" y="484"/>
                    </a:lnTo>
                    <a:lnTo>
                      <a:pt x="698" y="435"/>
                    </a:lnTo>
                    <a:lnTo>
                      <a:pt x="677" y="426"/>
                    </a:lnTo>
                    <a:lnTo>
                      <a:pt x="652" y="463"/>
                    </a:lnTo>
                    <a:lnTo>
                      <a:pt x="634" y="458"/>
                    </a:lnTo>
                    <a:lnTo>
                      <a:pt x="614" y="440"/>
                    </a:lnTo>
                    <a:lnTo>
                      <a:pt x="558" y="492"/>
                    </a:lnTo>
                    <a:lnTo>
                      <a:pt x="532" y="495"/>
                    </a:lnTo>
                    <a:lnTo>
                      <a:pt x="519" y="517"/>
                    </a:lnTo>
                    <a:lnTo>
                      <a:pt x="478" y="515"/>
                    </a:lnTo>
                    <a:lnTo>
                      <a:pt x="433" y="488"/>
                    </a:lnTo>
                    <a:lnTo>
                      <a:pt x="395" y="469"/>
                    </a:lnTo>
                    <a:lnTo>
                      <a:pt x="363" y="466"/>
                    </a:lnTo>
                    <a:lnTo>
                      <a:pt x="352" y="505"/>
                    </a:lnTo>
                    <a:lnTo>
                      <a:pt x="301" y="535"/>
                    </a:lnTo>
                    <a:lnTo>
                      <a:pt x="265" y="514"/>
                    </a:lnTo>
                    <a:lnTo>
                      <a:pt x="261" y="493"/>
                    </a:lnTo>
                    <a:lnTo>
                      <a:pt x="217" y="485"/>
                    </a:lnTo>
                    <a:lnTo>
                      <a:pt x="200" y="505"/>
                    </a:lnTo>
                    <a:lnTo>
                      <a:pt x="188" y="494"/>
                    </a:lnTo>
                    <a:lnTo>
                      <a:pt x="201" y="473"/>
                    </a:lnTo>
                    <a:lnTo>
                      <a:pt x="189" y="464"/>
                    </a:lnTo>
                    <a:lnTo>
                      <a:pt x="152" y="479"/>
                    </a:lnTo>
                    <a:lnTo>
                      <a:pt x="145" y="470"/>
                    </a:lnTo>
                    <a:lnTo>
                      <a:pt x="162" y="447"/>
                    </a:lnTo>
                    <a:lnTo>
                      <a:pt x="155" y="435"/>
                    </a:lnTo>
                    <a:lnTo>
                      <a:pt x="132" y="440"/>
                    </a:lnTo>
                    <a:lnTo>
                      <a:pt x="128" y="428"/>
                    </a:lnTo>
                    <a:lnTo>
                      <a:pt x="141" y="406"/>
                    </a:lnTo>
                    <a:lnTo>
                      <a:pt x="134" y="392"/>
                    </a:lnTo>
                    <a:lnTo>
                      <a:pt x="100" y="399"/>
                    </a:lnTo>
                    <a:lnTo>
                      <a:pt x="85" y="385"/>
                    </a:lnTo>
                    <a:lnTo>
                      <a:pt x="92" y="352"/>
                    </a:lnTo>
                    <a:lnTo>
                      <a:pt x="106" y="362"/>
                    </a:lnTo>
                    <a:lnTo>
                      <a:pt x="126" y="362"/>
                    </a:lnTo>
                    <a:lnTo>
                      <a:pt x="113" y="344"/>
                    </a:lnTo>
                    <a:lnTo>
                      <a:pt x="124" y="327"/>
                    </a:lnTo>
                    <a:lnTo>
                      <a:pt x="116" y="319"/>
                    </a:lnTo>
                    <a:lnTo>
                      <a:pt x="104" y="322"/>
                    </a:lnTo>
                    <a:lnTo>
                      <a:pt x="103" y="299"/>
                    </a:lnTo>
                    <a:lnTo>
                      <a:pt x="112" y="284"/>
                    </a:lnTo>
                    <a:lnTo>
                      <a:pt x="112" y="267"/>
                    </a:lnTo>
                    <a:lnTo>
                      <a:pt x="85" y="276"/>
                    </a:lnTo>
                    <a:lnTo>
                      <a:pt x="75" y="261"/>
                    </a:lnTo>
                    <a:lnTo>
                      <a:pt x="75" y="242"/>
                    </a:lnTo>
                    <a:lnTo>
                      <a:pt x="93" y="228"/>
                    </a:lnTo>
                    <a:lnTo>
                      <a:pt x="108" y="210"/>
                    </a:lnTo>
                    <a:lnTo>
                      <a:pt x="135" y="202"/>
                    </a:lnTo>
                    <a:lnTo>
                      <a:pt x="150" y="216"/>
                    </a:lnTo>
                    <a:lnTo>
                      <a:pt x="177" y="184"/>
                    </a:lnTo>
                    <a:lnTo>
                      <a:pt x="235" y="208"/>
                    </a:lnTo>
                    <a:lnTo>
                      <a:pt x="247" y="189"/>
                    </a:lnTo>
                    <a:lnTo>
                      <a:pt x="234" y="184"/>
                    </a:lnTo>
                    <a:lnTo>
                      <a:pt x="234" y="176"/>
                    </a:lnTo>
                    <a:lnTo>
                      <a:pt x="275" y="177"/>
                    </a:lnTo>
                    <a:lnTo>
                      <a:pt x="276" y="161"/>
                    </a:lnTo>
                    <a:lnTo>
                      <a:pt x="244" y="154"/>
                    </a:lnTo>
                    <a:lnTo>
                      <a:pt x="247" y="137"/>
                    </a:lnTo>
                    <a:lnTo>
                      <a:pt x="274" y="137"/>
                    </a:lnTo>
                    <a:lnTo>
                      <a:pt x="310" y="134"/>
                    </a:lnTo>
                    <a:lnTo>
                      <a:pt x="362" y="139"/>
                    </a:lnTo>
                    <a:lnTo>
                      <a:pt x="378" y="118"/>
                    </a:lnTo>
                    <a:lnTo>
                      <a:pt x="407" y="85"/>
                    </a:lnTo>
                    <a:lnTo>
                      <a:pt x="436" y="64"/>
                    </a:lnTo>
                    <a:lnTo>
                      <a:pt x="473" y="47"/>
                    </a:lnTo>
                    <a:lnTo>
                      <a:pt x="532" y="48"/>
                    </a:lnTo>
                    <a:lnTo>
                      <a:pt x="555" y="45"/>
                    </a:lnTo>
                    <a:lnTo>
                      <a:pt x="576" y="17"/>
                    </a:lnTo>
                    <a:lnTo>
                      <a:pt x="589" y="31"/>
                    </a:lnTo>
                    <a:lnTo>
                      <a:pt x="574" y="46"/>
                    </a:lnTo>
                    <a:lnTo>
                      <a:pt x="603" y="62"/>
                    </a:lnTo>
                    <a:lnTo>
                      <a:pt x="629" y="51"/>
                    </a:lnTo>
                    <a:lnTo>
                      <a:pt x="645" y="54"/>
                    </a:lnTo>
                    <a:lnTo>
                      <a:pt x="637" y="68"/>
                    </a:lnTo>
                    <a:lnTo>
                      <a:pt x="664" y="80"/>
                    </a:lnTo>
                    <a:lnTo>
                      <a:pt x="681" y="63"/>
                    </a:lnTo>
                    <a:lnTo>
                      <a:pt x="700" y="82"/>
                    </a:lnTo>
                    <a:lnTo>
                      <a:pt x="741" y="83"/>
                    </a:lnTo>
                    <a:lnTo>
                      <a:pt x="758" y="97"/>
                    </a:lnTo>
                    <a:lnTo>
                      <a:pt x="834" y="66"/>
                    </a:lnTo>
                    <a:lnTo>
                      <a:pt x="907" y="58"/>
                    </a:lnTo>
                    <a:lnTo>
                      <a:pt x="937" y="39"/>
                    </a:lnTo>
                    <a:lnTo>
                      <a:pt x="964" y="14"/>
                    </a:lnTo>
                    <a:lnTo>
                      <a:pt x="976" y="18"/>
                    </a:lnTo>
                    <a:lnTo>
                      <a:pt x="989" y="23"/>
                    </a:lnTo>
                    <a:lnTo>
                      <a:pt x="1007" y="12"/>
                    </a:lnTo>
                    <a:lnTo>
                      <a:pt x="1017" y="14"/>
                    </a:lnTo>
                    <a:lnTo>
                      <a:pt x="1028" y="0"/>
                    </a:lnTo>
                    <a:lnTo>
                      <a:pt x="1044" y="4"/>
                    </a:lnTo>
                    <a:lnTo>
                      <a:pt x="1061" y="14"/>
                    </a:lnTo>
                    <a:lnTo>
                      <a:pt x="1073" y="22"/>
                    </a:lnTo>
                    <a:lnTo>
                      <a:pt x="1085" y="32"/>
                    </a:lnTo>
                    <a:lnTo>
                      <a:pt x="1086" y="43"/>
                    </a:lnTo>
                    <a:lnTo>
                      <a:pt x="1080" y="65"/>
                    </a:lnTo>
                    <a:lnTo>
                      <a:pt x="1094" y="84"/>
                    </a:lnTo>
                    <a:lnTo>
                      <a:pt x="1130" y="86"/>
                    </a:lnTo>
                    <a:lnTo>
                      <a:pt x="1152" y="85"/>
                    </a:lnTo>
                    <a:lnTo>
                      <a:pt x="1157" y="94"/>
                    </a:lnTo>
                    <a:lnTo>
                      <a:pt x="1161" y="108"/>
                    </a:lnTo>
                    <a:lnTo>
                      <a:pt x="1151" y="128"/>
                    </a:lnTo>
                    <a:lnTo>
                      <a:pt x="1145" y="151"/>
                    </a:lnTo>
                    <a:lnTo>
                      <a:pt x="1133" y="159"/>
                    </a:lnTo>
                    <a:lnTo>
                      <a:pt x="1149" y="179"/>
                    </a:lnTo>
                    <a:lnTo>
                      <a:pt x="1159" y="197"/>
                    </a:lnTo>
                    <a:lnTo>
                      <a:pt x="1169" y="224"/>
                    </a:lnTo>
                    <a:lnTo>
                      <a:pt x="1178" y="255"/>
                    </a:lnTo>
                    <a:lnTo>
                      <a:pt x="1183" y="272"/>
                    </a:lnTo>
                    <a:lnTo>
                      <a:pt x="1188" y="286"/>
                    </a:lnTo>
                    <a:lnTo>
                      <a:pt x="1207" y="300"/>
                    </a:lnTo>
                    <a:lnTo>
                      <a:pt x="1221" y="324"/>
                    </a:lnTo>
                    <a:lnTo>
                      <a:pt x="1199" y="328"/>
                    </a:lnTo>
                    <a:lnTo>
                      <a:pt x="1199" y="340"/>
                    </a:lnTo>
                    <a:lnTo>
                      <a:pt x="1188" y="343"/>
                    </a:lnTo>
                    <a:lnTo>
                      <a:pt x="1177" y="329"/>
                    </a:lnTo>
                    <a:lnTo>
                      <a:pt x="1154" y="332"/>
                    </a:lnTo>
                    <a:lnTo>
                      <a:pt x="1132" y="338"/>
                    </a:lnTo>
                    <a:lnTo>
                      <a:pt x="1098" y="328"/>
                    </a:lnTo>
                    <a:lnTo>
                      <a:pt x="1078" y="347"/>
                    </a:lnTo>
                    <a:lnTo>
                      <a:pt x="1065" y="345"/>
                    </a:lnTo>
                    <a:lnTo>
                      <a:pt x="1054" y="338"/>
                    </a:lnTo>
                    <a:lnTo>
                      <a:pt x="1037" y="349"/>
                    </a:lnTo>
                    <a:lnTo>
                      <a:pt x="1015" y="365"/>
                    </a:lnTo>
                    <a:lnTo>
                      <a:pt x="997" y="375"/>
                    </a:lnTo>
                    <a:lnTo>
                      <a:pt x="979" y="375"/>
                    </a:lnTo>
                    <a:lnTo>
                      <a:pt x="959" y="389"/>
                    </a:lnTo>
                    <a:lnTo>
                      <a:pt x="926" y="401"/>
                    </a:lnTo>
                    <a:lnTo>
                      <a:pt x="896" y="413"/>
                    </a:lnTo>
                    <a:lnTo>
                      <a:pt x="880" y="421"/>
                    </a:lnTo>
                    <a:lnTo>
                      <a:pt x="844" y="413"/>
                    </a:lnTo>
                    <a:lnTo>
                      <a:pt x="820" y="414"/>
                    </a:lnTo>
                    <a:lnTo>
                      <a:pt x="801" y="418"/>
                    </a:lnTo>
                    <a:lnTo>
                      <a:pt x="784" y="427"/>
                    </a:lnTo>
                    <a:lnTo>
                      <a:pt x="757" y="440"/>
                    </a:lnTo>
                    <a:lnTo>
                      <a:pt x="745" y="448"/>
                    </a:lnTo>
                    <a:lnTo>
                      <a:pt x="727" y="444"/>
                    </a:lnTo>
                    <a:lnTo>
                      <a:pt x="721" y="463"/>
                    </a:lnTo>
                    <a:lnTo>
                      <a:pt x="717" y="484"/>
                    </a:lnTo>
                    <a:lnTo>
                      <a:pt x="703" y="497"/>
                    </a:lnTo>
                    <a:close/>
                    <a:moveTo>
                      <a:pt x="155" y="77"/>
                    </a:moveTo>
                    <a:lnTo>
                      <a:pt x="172" y="80"/>
                    </a:lnTo>
                    <a:lnTo>
                      <a:pt x="180" y="117"/>
                    </a:lnTo>
                    <a:lnTo>
                      <a:pt x="183" y="123"/>
                    </a:lnTo>
                    <a:lnTo>
                      <a:pt x="221" y="134"/>
                    </a:lnTo>
                    <a:lnTo>
                      <a:pt x="221" y="152"/>
                    </a:lnTo>
                    <a:lnTo>
                      <a:pt x="184" y="151"/>
                    </a:lnTo>
                    <a:lnTo>
                      <a:pt x="154" y="148"/>
                    </a:lnTo>
                    <a:lnTo>
                      <a:pt x="130" y="178"/>
                    </a:lnTo>
                    <a:lnTo>
                      <a:pt x="107" y="190"/>
                    </a:lnTo>
                    <a:lnTo>
                      <a:pt x="66" y="224"/>
                    </a:lnTo>
                    <a:lnTo>
                      <a:pt x="40" y="219"/>
                    </a:lnTo>
                    <a:lnTo>
                      <a:pt x="59" y="189"/>
                    </a:lnTo>
                    <a:lnTo>
                      <a:pt x="68" y="171"/>
                    </a:lnTo>
                    <a:lnTo>
                      <a:pt x="65" y="159"/>
                    </a:lnTo>
                    <a:lnTo>
                      <a:pt x="73" y="146"/>
                    </a:lnTo>
                    <a:lnTo>
                      <a:pt x="77" y="137"/>
                    </a:lnTo>
                    <a:lnTo>
                      <a:pt x="83" y="124"/>
                    </a:lnTo>
                    <a:lnTo>
                      <a:pt x="84" y="109"/>
                    </a:lnTo>
                    <a:lnTo>
                      <a:pt x="79" y="97"/>
                    </a:lnTo>
                    <a:lnTo>
                      <a:pt x="87" y="82"/>
                    </a:lnTo>
                    <a:lnTo>
                      <a:pt x="102" y="82"/>
                    </a:lnTo>
                    <a:lnTo>
                      <a:pt x="114" y="81"/>
                    </a:lnTo>
                    <a:lnTo>
                      <a:pt x="125" y="81"/>
                    </a:lnTo>
                    <a:lnTo>
                      <a:pt x="137" y="82"/>
                    </a:lnTo>
                    <a:lnTo>
                      <a:pt x="147" y="85"/>
                    </a:lnTo>
                    <a:lnTo>
                      <a:pt x="155" y="77"/>
                    </a:lnTo>
                    <a:close/>
                    <a:moveTo>
                      <a:pt x="179" y="538"/>
                    </a:moveTo>
                    <a:lnTo>
                      <a:pt x="169" y="532"/>
                    </a:lnTo>
                    <a:lnTo>
                      <a:pt x="173" y="520"/>
                    </a:lnTo>
                    <a:lnTo>
                      <a:pt x="181" y="520"/>
                    </a:lnTo>
                    <a:lnTo>
                      <a:pt x="191" y="517"/>
                    </a:lnTo>
                    <a:lnTo>
                      <a:pt x="199" y="520"/>
                    </a:lnTo>
                    <a:lnTo>
                      <a:pt x="199" y="534"/>
                    </a:lnTo>
                    <a:lnTo>
                      <a:pt x="191" y="549"/>
                    </a:lnTo>
                    <a:lnTo>
                      <a:pt x="181" y="550"/>
                    </a:lnTo>
                    <a:lnTo>
                      <a:pt x="179" y="538"/>
                    </a:lnTo>
                    <a:close/>
                    <a:moveTo>
                      <a:pt x="116" y="430"/>
                    </a:moveTo>
                    <a:lnTo>
                      <a:pt x="116" y="421"/>
                    </a:lnTo>
                    <a:lnTo>
                      <a:pt x="107" y="415"/>
                    </a:lnTo>
                    <a:lnTo>
                      <a:pt x="100" y="419"/>
                    </a:lnTo>
                    <a:lnTo>
                      <a:pt x="100" y="428"/>
                    </a:lnTo>
                    <a:lnTo>
                      <a:pt x="110" y="430"/>
                    </a:lnTo>
                    <a:lnTo>
                      <a:pt x="116" y="430"/>
                    </a:lnTo>
                    <a:close/>
                    <a:moveTo>
                      <a:pt x="73" y="432"/>
                    </a:moveTo>
                    <a:lnTo>
                      <a:pt x="63" y="425"/>
                    </a:lnTo>
                    <a:lnTo>
                      <a:pt x="73" y="418"/>
                    </a:lnTo>
                    <a:lnTo>
                      <a:pt x="83" y="418"/>
                    </a:lnTo>
                    <a:lnTo>
                      <a:pt x="86" y="427"/>
                    </a:lnTo>
                    <a:lnTo>
                      <a:pt x="80" y="434"/>
                    </a:lnTo>
                    <a:lnTo>
                      <a:pt x="73" y="432"/>
                    </a:lnTo>
                    <a:close/>
                    <a:moveTo>
                      <a:pt x="51" y="372"/>
                    </a:moveTo>
                    <a:lnTo>
                      <a:pt x="59" y="387"/>
                    </a:lnTo>
                    <a:lnTo>
                      <a:pt x="70" y="379"/>
                    </a:lnTo>
                    <a:lnTo>
                      <a:pt x="73" y="361"/>
                    </a:lnTo>
                    <a:lnTo>
                      <a:pt x="73" y="348"/>
                    </a:lnTo>
                    <a:lnTo>
                      <a:pt x="56" y="345"/>
                    </a:lnTo>
                    <a:lnTo>
                      <a:pt x="51" y="356"/>
                    </a:lnTo>
                    <a:lnTo>
                      <a:pt x="53" y="364"/>
                    </a:lnTo>
                    <a:lnTo>
                      <a:pt x="51" y="372"/>
                    </a:lnTo>
                    <a:close/>
                    <a:moveTo>
                      <a:pt x="59" y="312"/>
                    </a:moveTo>
                    <a:lnTo>
                      <a:pt x="67" y="308"/>
                    </a:lnTo>
                    <a:lnTo>
                      <a:pt x="75" y="312"/>
                    </a:lnTo>
                    <a:lnTo>
                      <a:pt x="81" y="321"/>
                    </a:lnTo>
                    <a:lnTo>
                      <a:pt x="92" y="313"/>
                    </a:lnTo>
                    <a:lnTo>
                      <a:pt x="87" y="302"/>
                    </a:lnTo>
                    <a:lnTo>
                      <a:pt x="83" y="291"/>
                    </a:lnTo>
                    <a:lnTo>
                      <a:pt x="73" y="297"/>
                    </a:lnTo>
                    <a:lnTo>
                      <a:pt x="58" y="296"/>
                    </a:lnTo>
                    <a:lnTo>
                      <a:pt x="47" y="303"/>
                    </a:lnTo>
                    <a:lnTo>
                      <a:pt x="59" y="312"/>
                    </a:lnTo>
                    <a:close/>
                    <a:moveTo>
                      <a:pt x="0" y="236"/>
                    </a:moveTo>
                    <a:lnTo>
                      <a:pt x="15" y="232"/>
                    </a:lnTo>
                    <a:lnTo>
                      <a:pt x="18" y="245"/>
                    </a:lnTo>
                    <a:lnTo>
                      <a:pt x="25" y="259"/>
                    </a:lnTo>
                    <a:lnTo>
                      <a:pt x="12" y="268"/>
                    </a:lnTo>
                    <a:lnTo>
                      <a:pt x="0" y="262"/>
                    </a:lnTo>
                    <a:lnTo>
                      <a:pt x="0" y="252"/>
                    </a:lnTo>
                    <a:lnTo>
                      <a:pt x="0" y="236"/>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08" name="Freeform 46"/>
              <p:cNvSpPr>
                <a:spLocks noChangeAspect="1"/>
              </p:cNvSpPr>
              <p:nvPr/>
            </p:nvSpPr>
            <p:spPr bwMode="auto">
              <a:xfrm>
                <a:off x="5038021" y="3844076"/>
                <a:ext cx="1380773" cy="933288"/>
              </a:xfrm>
              <a:custGeom>
                <a:avLst/>
                <a:gdLst>
                  <a:gd name="T0" fmla="*/ 938 w 940"/>
                  <a:gd name="T1" fmla="*/ 511 h 635"/>
                  <a:gd name="T2" fmla="*/ 777 w 940"/>
                  <a:gd name="T3" fmla="*/ 566 h 635"/>
                  <a:gd name="T4" fmla="*/ 847 w 940"/>
                  <a:gd name="T5" fmla="*/ 617 h 635"/>
                  <a:gd name="T6" fmla="*/ 928 w 940"/>
                  <a:gd name="T7" fmla="*/ 631 h 635"/>
                  <a:gd name="T8" fmla="*/ 949 w 940"/>
                  <a:gd name="T9" fmla="*/ 652 h 635"/>
                  <a:gd name="T10" fmla="*/ 905 w 940"/>
                  <a:gd name="T11" fmla="*/ 680 h 635"/>
                  <a:gd name="T12" fmla="*/ 866 w 940"/>
                  <a:gd name="T13" fmla="*/ 694 h 635"/>
                  <a:gd name="T14" fmla="*/ 807 w 940"/>
                  <a:gd name="T15" fmla="*/ 729 h 635"/>
                  <a:gd name="T16" fmla="*/ 755 w 940"/>
                  <a:gd name="T17" fmla="*/ 729 h 635"/>
                  <a:gd name="T18" fmla="*/ 740 w 940"/>
                  <a:gd name="T19" fmla="*/ 666 h 635"/>
                  <a:gd name="T20" fmla="*/ 712 w 940"/>
                  <a:gd name="T21" fmla="*/ 638 h 635"/>
                  <a:gd name="T22" fmla="*/ 700 w 940"/>
                  <a:gd name="T23" fmla="*/ 594 h 635"/>
                  <a:gd name="T24" fmla="*/ 646 w 940"/>
                  <a:gd name="T25" fmla="*/ 589 h 635"/>
                  <a:gd name="T26" fmla="*/ 644 w 940"/>
                  <a:gd name="T27" fmla="*/ 540 h 635"/>
                  <a:gd name="T28" fmla="*/ 563 w 940"/>
                  <a:gd name="T29" fmla="*/ 602 h 635"/>
                  <a:gd name="T30" fmla="*/ 549 w 940"/>
                  <a:gd name="T31" fmla="*/ 625 h 635"/>
                  <a:gd name="T32" fmla="*/ 473 w 940"/>
                  <a:gd name="T33" fmla="*/ 679 h 635"/>
                  <a:gd name="T34" fmla="*/ 391 w 940"/>
                  <a:gd name="T35" fmla="*/ 700 h 635"/>
                  <a:gd name="T36" fmla="*/ 441 w 940"/>
                  <a:gd name="T37" fmla="*/ 643 h 635"/>
                  <a:gd name="T38" fmla="*/ 496 w 940"/>
                  <a:gd name="T39" fmla="*/ 587 h 635"/>
                  <a:gd name="T40" fmla="*/ 480 w 940"/>
                  <a:gd name="T41" fmla="*/ 521 h 635"/>
                  <a:gd name="T42" fmla="*/ 442 w 940"/>
                  <a:gd name="T43" fmla="*/ 464 h 635"/>
                  <a:gd name="T44" fmla="*/ 386 w 940"/>
                  <a:gd name="T45" fmla="*/ 435 h 635"/>
                  <a:gd name="T46" fmla="*/ 284 w 940"/>
                  <a:gd name="T47" fmla="*/ 413 h 635"/>
                  <a:gd name="T48" fmla="*/ 252 w 940"/>
                  <a:gd name="T49" fmla="*/ 479 h 635"/>
                  <a:gd name="T50" fmla="*/ 194 w 940"/>
                  <a:gd name="T51" fmla="*/ 474 h 635"/>
                  <a:gd name="T52" fmla="*/ 160 w 940"/>
                  <a:gd name="T53" fmla="*/ 473 h 635"/>
                  <a:gd name="T54" fmla="*/ 59 w 940"/>
                  <a:gd name="T55" fmla="*/ 455 h 635"/>
                  <a:gd name="T56" fmla="*/ 25 w 940"/>
                  <a:gd name="T57" fmla="*/ 417 h 635"/>
                  <a:gd name="T58" fmla="*/ 10 w 940"/>
                  <a:gd name="T59" fmla="*/ 385 h 635"/>
                  <a:gd name="T60" fmla="*/ 39 w 940"/>
                  <a:gd name="T61" fmla="*/ 360 h 635"/>
                  <a:gd name="T62" fmla="*/ 52 w 940"/>
                  <a:gd name="T63" fmla="*/ 297 h 635"/>
                  <a:gd name="T64" fmla="*/ 116 w 940"/>
                  <a:gd name="T65" fmla="*/ 234 h 635"/>
                  <a:gd name="T66" fmla="*/ 120 w 940"/>
                  <a:gd name="T67" fmla="*/ 174 h 635"/>
                  <a:gd name="T68" fmla="*/ 105 w 940"/>
                  <a:gd name="T69" fmla="*/ 145 h 635"/>
                  <a:gd name="T70" fmla="*/ 137 w 940"/>
                  <a:gd name="T71" fmla="*/ 99 h 635"/>
                  <a:gd name="T72" fmla="*/ 183 w 940"/>
                  <a:gd name="T73" fmla="*/ 89 h 635"/>
                  <a:gd name="T74" fmla="*/ 248 w 940"/>
                  <a:gd name="T75" fmla="*/ 100 h 635"/>
                  <a:gd name="T76" fmla="*/ 317 w 940"/>
                  <a:gd name="T77" fmla="*/ 113 h 635"/>
                  <a:gd name="T78" fmla="*/ 372 w 940"/>
                  <a:gd name="T79" fmla="*/ 112 h 635"/>
                  <a:gd name="T80" fmla="*/ 460 w 940"/>
                  <a:gd name="T81" fmla="*/ 125 h 635"/>
                  <a:gd name="T82" fmla="*/ 509 w 940"/>
                  <a:gd name="T83" fmla="*/ 81 h 635"/>
                  <a:gd name="T84" fmla="*/ 560 w 940"/>
                  <a:gd name="T85" fmla="*/ 49 h 635"/>
                  <a:gd name="T86" fmla="*/ 607 w 940"/>
                  <a:gd name="T87" fmla="*/ 31 h 635"/>
                  <a:gd name="T88" fmla="*/ 689 w 940"/>
                  <a:gd name="T89" fmla="*/ 19 h 635"/>
                  <a:gd name="T90" fmla="*/ 706 w 940"/>
                  <a:gd name="T91" fmla="*/ 71 h 635"/>
                  <a:gd name="T92" fmla="*/ 774 w 940"/>
                  <a:gd name="T93" fmla="*/ 100 h 635"/>
                  <a:gd name="T94" fmla="*/ 814 w 940"/>
                  <a:gd name="T95" fmla="*/ 175 h 635"/>
                  <a:gd name="T96" fmla="*/ 900 w 940"/>
                  <a:gd name="T97" fmla="*/ 170 h 635"/>
                  <a:gd name="T98" fmla="*/ 965 w 940"/>
                  <a:gd name="T99" fmla="*/ 197 h 635"/>
                  <a:gd name="T100" fmla="*/ 1020 w 940"/>
                  <a:gd name="T101" fmla="*/ 187 h 635"/>
                  <a:gd name="T102" fmla="*/ 1080 w 940"/>
                  <a:gd name="T103" fmla="*/ 205 h 635"/>
                  <a:gd name="T104" fmla="*/ 1094 w 940"/>
                  <a:gd name="T105" fmla="*/ 263 h 635"/>
                  <a:gd name="T106" fmla="*/ 1097 w 940"/>
                  <a:gd name="T107" fmla="*/ 281 h 635"/>
                  <a:gd name="T108" fmla="*/ 1117 w 940"/>
                  <a:gd name="T109" fmla="*/ 340 h 635"/>
                  <a:gd name="T110" fmla="*/ 1072 w 940"/>
                  <a:gd name="T111" fmla="*/ 379 h 635"/>
                  <a:gd name="T112" fmla="*/ 1023 w 940"/>
                  <a:gd name="T113" fmla="*/ 429 h 6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40"/>
                  <a:gd name="T172" fmla="*/ 0 h 635"/>
                  <a:gd name="T173" fmla="*/ 940 w 940"/>
                  <a:gd name="T174" fmla="*/ 635 h 63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40" h="635">
                    <a:moveTo>
                      <a:pt x="860" y="384"/>
                    </a:moveTo>
                    <a:lnTo>
                      <a:pt x="824" y="399"/>
                    </a:lnTo>
                    <a:lnTo>
                      <a:pt x="789" y="430"/>
                    </a:lnTo>
                    <a:lnTo>
                      <a:pt x="729" y="446"/>
                    </a:lnTo>
                    <a:lnTo>
                      <a:pt x="703" y="471"/>
                    </a:lnTo>
                    <a:lnTo>
                      <a:pt x="654" y="476"/>
                    </a:lnTo>
                    <a:lnTo>
                      <a:pt x="655" y="498"/>
                    </a:lnTo>
                    <a:lnTo>
                      <a:pt x="690" y="494"/>
                    </a:lnTo>
                    <a:lnTo>
                      <a:pt x="713" y="519"/>
                    </a:lnTo>
                    <a:lnTo>
                      <a:pt x="723" y="541"/>
                    </a:lnTo>
                    <a:lnTo>
                      <a:pt x="757" y="536"/>
                    </a:lnTo>
                    <a:lnTo>
                      <a:pt x="781" y="531"/>
                    </a:lnTo>
                    <a:lnTo>
                      <a:pt x="793" y="516"/>
                    </a:lnTo>
                    <a:lnTo>
                      <a:pt x="806" y="520"/>
                    </a:lnTo>
                    <a:lnTo>
                      <a:pt x="799" y="548"/>
                    </a:lnTo>
                    <a:lnTo>
                      <a:pt x="794" y="563"/>
                    </a:lnTo>
                    <a:lnTo>
                      <a:pt x="779" y="570"/>
                    </a:lnTo>
                    <a:lnTo>
                      <a:pt x="762" y="572"/>
                    </a:lnTo>
                    <a:lnTo>
                      <a:pt x="750" y="564"/>
                    </a:lnTo>
                    <a:lnTo>
                      <a:pt x="733" y="568"/>
                    </a:lnTo>
                    <a:lnTo>
                      <a:pt x="729" y="584"/>
                    </a:lnTo>
                    <a:lnTo>
                      <a:pt x="712" y="589"/>
                    </a:lnTo>
                    <a:lnTo>
                      <a:pt x="688" y="592"/>
                    </a:lnTo>
                    <a:lnTo>
                      <a:pt x="679" y="613"/>
                    </a:lnTo>
                    <a:lnTo>
                      <a:pt x="661" y="627"/>
                    </a:lnTo>
                    <a:lnTo>
                      <a:pt x="646" y="635"/>
                    </a:lnTo>
                    <a:lnTo>
                      <a:pt x="635" y="613"/>
                    </a:lnTo>
                    <a:lnTo>
                      <a:pt x="644" y="590"/>
                    </a:lnTo>
                    <a:lnTo>
                      <a:pt x="642" y="562"/>
                    </a:lnTo>
                    <a:lnTo>
                      <a:pt x="623" y="560"/>
                    </a:lnTo>
                    <a:lnTo>
                      <a:pt x="587" y="575"/>
                    </a:lnTo>
                    <a:lnTo>
                      <a:pt x="577" y="563"/>
                    </a:lnTo>
                    <a:lnTo>
                      <a:pt x="599" y="537"/>
                    </a:lnTo>
                    <a:lnTo>
                      <a:pt x="635" y="514"/>
                    </a:lnTo>
                    <a:lnTo>
                      <a:pt x="626" y="490"/>
                    </a:lnTo>
                    <a:lnTo>
                      <a:pt x="589" y="500"/>
                    </a:lnTo>
                    <a:lnTo>
                      <a:pt x="566" y="510"/>
                    </a:lnTo>
                    <a:lnTo>
                      <a:pt x="553" y="511"/>
                    </a:lnTo>
                    <a:lnTo>
                      <a:pt x="544" y="495"/>
                    </a:lnTo>
                    <a:lnTo>
                      <a:pt x="553" y="478"/>
                    </a:lnTo>
                    <a:lnTo>
                      <a:pt x="556" y="466"/>
                    </a:lnTo>
                    <a:lnTo>
                      <a:pt x="542" y="454"/>
                    </a:lnTo>
                    <a:lnTo>
                      <a:pt x="524" y="461"/>
                    </a:lnTo>
                    <a:lnTo>
                      <a:pt x="497" y="481"/>
                    </a:lnTo>
                    <a:lnTo>
                      <a:pt x="474" y="506"/>
                    </a:lnTo>
                    <a:lnTo>
                      <a:pt x="462" y="500"/>
                    </a:lnTo>
                    <a:lnTo>
                      <a:pt x="448" y="510"/>
                    </a:lnTo>
                    <a:lnTo>
                      <a:pt x="462" y="526"/>
                    </a:lnTo>
                    <a:lnTo>
                      <a:pt x="422" y="566"/>
                    </a:lnTo>
                    <a:lnTo>
                      <a:pt x="410" y="577"/>
                    </a:lnTo>
                    <a:lnTo>
                      <a:pt x="398" y="571"/>
                    </a:lnTo>
                    <a:lnTo>
                      <a:pt x="384" y="597"/>
                    </a:lnTo>
                    <a:lnTo>
                      <a:pt x="359" y="593"/>
                    </a:lnTo>
                    <a:lnTo>
                      <a:pt x="329" y="589"/>
                    </a:lnTo>
                    <a:lnTo>
                      <a:pt x="337" y="574"/>
                    </a:lnTo>
                    <a:lnTo>
                      <a:pt x="363" y="563"/>
                    </a:lnTo>
                    <a:lnTo>
                      <a:pt x="371" y="541"/>
                    </a:lnTo>
                    <a:lnTo>
                      <a:pt x="376" y="502"/>
                    </a:lnTo>
                    <a:lnTo>
                      <a:pt x="392" y="500"/>
                    </a:lnTo>
                    <a:lnTo>
                      <a:pt x="417" y="494"/>
                    </a:lnTo>
                    <a:lnTo>
                      <a:pt x="433" y="476"/>
                    </a:lnTo>
                    <a:lnTo>
                      <a:pt x="417" y="462"/>
                    </a:lnTo>
                    <a:lnTo>
                      <a:pt x="404" y="438"/>
                    </a:lnTo>
                    <a:lnTo>
                      <a:pt x="392" y="438"/>
                    </a:lnTo>
                    <a:lnTo>
                      <a:pt x="385" y="411"/>
                    </a:lnTo>
                    <a:lnTo>
                      <a:pt x="372" y="390"/>
                    </a:lnTo>
                    <a:lnTo>
                      <a:pt x="371" y="375"/>
                    </a:lnTo>
                    <a:lnTo>
                      <a:pt x="352" y="366"/>
                    </a:lnTo>
                    <a:lnTo>
                      <a:pt x="325" y="366"/>
                    </a:lnTo>
                    <a:lnTo>
                      <a:pt x="309" y="341"/>
                    </a:lnTo>
                    <a:lnTo>
                      <a:pt x="278" y="346"/>
                    </a:lnTo>
                    <a:lnTo>
                      <a:pt x="239" y="347"/>
                    </a:lnTo>
                    <a:lnTo>
                      <a:pt x="227" y="370"/>
                    </a:lnTo>
                    <a:lnTo>
                      <a:pt x="219" y="386"/>
                    </a:lnTo>
                    <a:lnTo>
                      <a:pt x="212" y="403"/>
                    </a:lnTo>
                    <a:lnTo>
                      <a:pt x="200" y="397"/>
                    </a:lnTo>
                    <a:lnTo>
                      <a:pt x="189" y="390"/>
                    </a:lnTo>
                    <a:lnTo>
                      <a:pt x="163" y="399"/>
                    </a:lnTo>
                    <a:lnTo>
                      <a:pt x="158" y="418"/>
                    </a:lnTo>
                    <a:lnTo>
                      <a:pt x="138" y="416"/>
                    </a:lnTo>
                    <a:lnTo>
                      <a:pt x="135" y="398"/>
                    </a:lnTo>
                    <a:lnTo>
                      <a:pt x="109" y="390"/>
                    </a:lnTo>
                    <a:lnTo>
                      <a:pt x="87" y="387"/>
                    </a:lnTo>
                    <a:lnTo>
                      <a:pt x="50" y="383"/>
                    </a:lnTo>
                    <a:lnTo>
                      <a:pt x="40" y="378"/>
                    </a:lnTo>
                    <a:lnTo>
                      <a:pt x="29" y="367"/>
                    </a:lnTo>
                    <a:lnTo>
                      <a:pt x="21" y="351"/>
                    </a:lnTo>
                    <a:lnTo>
                      <a:pt x="14" y="344"/>
                    </a:lnTo>
                    <a:lnTo>
                      <a:pt x="0" y="329"/>
                    </a:lnTo>
                    <a:lnTo>
                      <a:pt x="8" y="324"/>
                    </a:lnTo>
                    <a:lnTo>
                      <a:pt x="15" y="319"/>
                    </a:lnTo>
                    <a:lnTo>
                      <a:pt x="25" y="313"/>
                    </a:lnTo>
                    <a:lnTo>
                      <a:pt x="33" y="303"/>
                    </a:lnTo>
                    <a:lnTo>
                      <a:pt x="40" y="291"/>
                    </a:lnTo>
                    <a:lnTo>
                      <a:pt x="44" y="273"/>
                    </a:lnTo>
                    <a:lnTo>
                      <a:pt x="44" y="250"/>
                    </a:lnTo>
                    <a:lnTo>
                      <a:pt x="51" y="231"/>
                    </a:lnTo>
                    <a:lnTo>
                      <a:pt x="72" y="217"/>
                    </a:lnTo>
                    <a:lnTo>
                      <a:pt x="98" y="197"/>
                    </a:lnTo>
                    <a:lnTo>
                      <a:pt x="110" y="190"/>
                    </a:lnTo>
                    <a:lnTo>
                      <a:pt x="112" y="168"/>
                    </a:lnTo>
                    <a:lnTo>
                      <a:pt x="101" y="146"/>
                    </a:lnTo>
                    <a:lnTo>
                      <a:pt x="97" y="145"/>
                    </a:lnTo>
                    <a:lnTo>
                      <a:pt x="92" y="131"/>
                    </a:lnTo>
                    <a:lnTo>
                      <a:pt x="88" y="122"/>
                    </a:lnTo>
                    <a:lnTo>
                      <a:pt x="82" y="109"/>
                    </a:lnTo>
                    <a:lnTo>
                      <a:pt x="113" y="102"/>
                    </a:lnTo>
                    <a:lnTo>
                      <a:pt x="115" y="83"/>
                    </a:lnTo>
                    <a:lnTo>
                      <a:pt x="122" y="76"/>
                    </a:lnTo>
                    <a:lnTo>
                      <a:pt x="140" y="75"/>
                    </a:lnTo>
                    <a:lnTo>
                      <a:pt x="154" y="75"/>
                    </a:lnTo>
                    <a:lnTo>
                      <a:pt x="177" y="77"/>
                    </a:lnTo>
                    <a:lnTo>
                      <a:pt x="197" y="70"/>
                    </a:lnTo>
                    <a:lnTo>
                      <a:pt x="209" y="84"/>
                    </a:lnTo>
                    <a:lnTo>
                      <a:pt x="237" y="82"/>
                    </a:lnTo>
                    <a:lnTo>
                      <a:pt x="251" y="82"/>
                    </a:lnTo>
                    <a:lnTo>
                      <a:pt x="267" y="95"/>
                    </a:lnTo>
                    <a:lnTo>
                      <a:pt x="286" y="113"/>
                    </a:lnTo>
                    <a:lnTo>
                      <a:pt x="294" y="100"/>
                    </a:lnTo>
                    <a:lnTo>
                      <a:pt x="313" y="94"/>
                    </a:lnTo>
                    <a:lnTo>
                      <a:pt x="326" y="92"/>
                    </a:lnTo>
                    <a:lnTo>
                      <a:pt x="366" y="86"/>
                    </a:lnTo>
                    <a:lnTo>
                      <a:pt x="387" y="105"/>
                    </a:lnTo>
                    <a:lnTo>
                      <a:pt x="402" y="107"/>
                    </a:lnTo>
                    <a:lnTo>
                      <a:pt x="420" y="94"/>
                    </a:lnTo>
                    <a:lnTo>
                      <a:pt x="428" y="68"/>
                    </a:lnTo>
                    <a:lnTo>
                      <a:pt x="428" y="44"/>
                    </a:lnTo>
                    <a:lnTo>
                      <a:pt x="455" y="39"/>
                    </a:lnTo>
                    <a:lnTo>
                      <a:pt x="471" y="41"/>
                    </a:lnTo>
                    <a:lnTo>
                      <a:pt x="488" y="41"/>
                    </a:lnTo>
                    <a:lnTo>
                      <a:pt x="503" y="44"/>
                    </a:lnTo>
                    <a:lnTo>
                      <a:pt x="511" y="26"/>
                    </a:lnTo>
                    <a:lnTo>
                      <a:pt x="542" y="12"/>
                    </a:lnTo>
                    <a:lnTo>
                      <a:pt x="565" y="0"/>
                    </a:lnTo>
                    <a:lnTo>
                      <a:pt x="580" y="16"/>
                    </a:lnTo>
                    <a:lnTo>
                      <a:pt x="599" y="31"/>
                    </a:lnTo>
                    <a:lnTo>
                      <a:pt x="613" y="45"/>
                    </a:lnTo>
                    <a:lnTo>
                      <a:pt x="594" y="60"/>
                    </a:lnTo>
                    <a:lnTo>
                      <a:pt x="604" y="84"/>
                    </a:lnTo>
                    <a:lnTo>
                      <a:pt x="641" y="84"/>
                    </a:lnTo>
                    <a:lnTo>
                      <a:pt x="651" y="84"/>
                    </a:lnTo>
                    <a:lnTo>
                      <a:pt x="669" y="99"/>
                    </a:lnTo>
                    <a:lnTo>
                      <a:pt x="675" y="124"/>
                    </a:lnTo>
                    <a:lnTo>
                      <a:pt x="685" y="147"/>
                    </a:lnTo>
                    <a:lnTo>
                      <a:pt x="704" y="142"/>
                    </a:lnTo>
                    <a:lnTo>
                      <a:pt x="722" y="155"/>
                    </a:lnTo>
                    <a:lnTo>
                      <a:pt x="757" y="143"/>
                    </a:lnTo>
                    <a:lnTo>
                      <a:pt x="783" y="134"/>
                    </a:lnTo>
                    <a:lnTo>
                      <a:pt x="795" y="156"/>
                    </a:lnTo>
                    <a:lnTo>
                      <a:pt x="812" y="166"/>
                    </a:lnTo>
                    <a:lnTo>
                      <a:pt x="825" y="149"/>
                    </a:lnTo>
                    <a:lnTo>
                      <a:pt x="846" y="166"/>
                    </a:lnTo>
                    <a:lnTo>
                      <a:pt x="858" y="157"/>
                    </a:lnTo>
                    <a:lnTo>
                      <a:pt x="875" y="158"/>
                    </a:lnTo>
                    <a:lnTo>
                      <a:pt x="893" y="162"/>
                    </a:lnTo>
                    <a:lnTo>
                      <a:pt x="909" y="172"/>
                    </a:lnTo>
                    <a:lnTo>
                      <a:pt x="931" y="172"/>
                    </a:lnTo>
                    <a:lnTo>
                      <a:pt x="935" y="194"/>
                    </a:lnTo>
                    <a:lnTo>
                      <a:pt x="921" y="221"/>
                    </a:lnTo>
                    <a:lnTo>
                      <a:pt x="930" y="221"/>
                    </a:lnTo>
                    <a:lnTo>
                      <a:pt x="934" y="228"/>
                    </a:lnTo>
                    <a:lnTo>
                      <a:pt x="923" y="236"/>
                    </a:lnTo>
                    <a:lnTo>
                      <a:pt x="923" y="249"/>
                    </a:lnTo>
                    <a:lnTo>
                      <a:pt x="933" y="253"/>
                    </a:lnTo>
                    <a:lnTo>
                      <a:pt x="940" y="286"/>
                    </a:lnTo>
                    <a:lnTo>
                      <a:pt x="940" y="310"/>
                    </a:lnTo>
                    <a:lnTo>
                      <a:pt x="918" y="316"/>
                    </a:lnTo>
                    <a:lnTo>
                      <a:pt x="902" y="319"/>
                    </a:lnTo>
                    <a:lnTo>
                      <a:pt x="896" y="337"/>
                    </a:lnTo>
                    <a:lnTo>
                      <a:pt x="862" y="344"/>
                    </a:lnTo>
                    <a:lnTo>
                      <a:pt x="861" y="361"/>
                    </a:lnTo>
                    <a:lnTo>
                      <a:pt x="860" y="384"/>
                    </a:lnTo>
                    <a:close/>
                  </a:path>
                </a:pathLst>
              </a:custGeom>
              <a:solidFill>
                <a:srgbClr val="FFFFFF"/>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09" name="Freeform 47"/>
              <p:cNvSpPr>
                <a:spLocks noChangeAspect="1"/>
              </p:cNvSpPr>
              <p:nvPr/>
            </p:nvSpPr>
            <p:spPr bwMode="auto">
              <a:xfrm>
                <a:off x="5991088" y="5789766"/>
                <a:ext cx="203964" cy="124851"/>
              </a:xfrm>
              <a:custGeom>
                <a:avLst/>
                <a:gdLst>
                  <a:gd name="T0" fmla="*/ 41 w 20000"/>
                  <a:gd name="T1" fmla="*/ 101 h 20000"/>
                  <a:gd name="T2" fmla="*/ 13 w 20000"/>
                  <a:gd name="T3" fmla="*/ 85 h 20000"/>
                  <a:gd name="T4" fmla="*/ 0 w 20000"/>
                  <a:gd name="T5" fmla="*/ 70 h 20000"/>
                  <a:gd name="T6" fmla="*/ 41 w 20000"/>
                  <a:gd name="T7" fmla="*/ 31 h 20000"/>
                  <a:gd name="T8" fmla="*/ 70 w 20000"/>
                  <a:gd name="T9" fmla="*/ 35 h 20000"/>
                  <a:gd name="T10" fmla="*/ 165 w 20000"/>
                  <a:gd name="T11" fmla="*/ 0 h 20000"/>
                  <a:gd name="T12" fmla="*/ 107 w 20000"/>
                  <a:gd name="T13" fmla="*/ 35 h 20000"/>
                  <a:gd name="T14" fmla="*/ 120 w 20000"/>
                  <a:gd name="T15" fmla="*/ 66 h 20000"/>
                  <a:gd name="T16" fmla="*/ 83 w 20000"/>
                  <a:gd name="T17" fmla="*/ 73 h 20000"/>
                  <a:gd name="T18" fmla="*/ 58 w 20000"/>
                  <a:gd name="T19" fmla="*/ 101 h 20000"/>
                  <a:gd name="T20" fmla="*/ 41 w 20000"/>
                  <a:gd name="T21" fmla="*/ 101 h 20000"/>
                  <a:gd name="T22" fmla="*/ 41 w 20000"/>
                  <a:gd name="T23" fmla="*/ 101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4975" y="19947"/>
                    </a:moveTo>
                    <a:lnTo>
                      <a:pt x="1516" y="16898"/>
                    </a:lnTo>
                    <a:lnTo>
                      <a:pt x="0" y="13850"/>
                    </a:lnTo>
                    <a:lnTo>
                      <a:pt x="4975" y="6096"/>
                    </a:lnTo>
                    <a:lnTo>
                      <a:pt x="8501" y="6898"/>
                    </a:lnTo>
                    <a:lnTo>
                      <a:pt x="19967" y="0"/>
                    </a:lnTo>
                    <a:lnTo>
                      <a:pt x="12982" y="6898"/>
                    </a:lnTo>
                    <a:lnTo>
                      <a:pt x="14498" y="13102"/>
                    </a:lnTo>
                    <a:lnTo>
                      <a:pt x="10016" y="14545"/>
                    </a:lnTo>
                    <a:lnTo>
                      <a:pt x="6985" y="19947"/>
                    </a:lnTo>
                    <a:lnTo>
                      <a:pt x="4975" y="19947"/>
                    </a:lnTo>
                    <a:close/>
                  </a:path>
                </a:pathLst>
              </a:custGeom>
              <a:solidFill>
                <a:srgbClr val="DCDCDC"/>
              </a:solidFill>
              <a:ln w="0" cap="flat" cmpd="sng">
                <a:solidFill>
                  <a:srgbClr val="606060"/>
                </a:solidFill>
                <a:prstDash val="solid"/>
                <a:round/>
                <a:headEnd type="none" w="med" len="med"/>
                <a:tailEnd type="none" w="med" len="med"/>
              </a:ln>
            </p:spPr>
            <p:txBody>
              <a:bodyPr/>
              <a:lstStyle/>
              <a:p>
                <a:pPr defTabSz="457189"/>
                <a:endParaRPr lang="fr-FR" dirty="0">
                  <a:solidFill>
                    <a:prstClr val="black"/>
                  </a:solidFill>
                  <a:latin typeface="Arial"/>
                </a:endParaRPr>
              </a:p>
            </p:txBody>
          </p:sp>
          <p:sp>
            <p:nvSpPr>
              <p:cNvPr id="110" name="Freeform 48"/>
              <p:cNvSpPr>
                <a:spLocks noChangeAspect="1" noEditPoints="1"/>
              </p:cNvSpPr>
              <p:nvPr/>
            </p:nvSpPr>
            <p:spPr bwMode="auto">
              <a:xfrm>
                <a:off x="4963853" y="1715437"/>
                <a:ext cx="573571" cy="1265811"/>
              </a:xfrm>
              <a:custGeom>
                <a:avLst/>
                <a:gdLst>
                  <a:gd name="T0" fmla="*/ 295 w 390"/>
                  <a:gd name="T1" fmla="*/ 957 h 861"/>
                  <a:gd name="T2" fmla="*/ 232 w 390"/>
                  <a:gd name="T3" fmla="*/ 986 h 861"/>
                  <a:gd name="T4" fmla="*/ 181 w 390"/>
                  <a:gd name="T5" fmla="*/ 1024 h 861"/>
                  <a:gd name="T6" fmla="*/ 105 w 390"/>
                  <a:gd name="T7" fmla="*/ 1007 h 861"/>
                  <a:gd name="T8" fmla="*/ 65 w 390"/>
                  <a:gd name="T9" fmla="*/ 979 h 861"/>
                  <a:gd name="T10" fmla="*/ 19 w 390"/>
                  <a:gd name="T11" fmla="*/ 898 h 861"/>
                  <a:gd name="T12" fmla="*/ 23 w 390"/>
                  <a:gd name="T13" fmla="*/ 798 h 861"/>
                  <a:gd name="T14" fmla="*/ 40 w 390"/>
                  <a:gd name="T15" fmla="*/ 715 h 861"/>
                  <a:gd name="T16" fmla="*/ 94 w 390"/>
                  <a:gd name="T17" fmla="*/ 653 h 861"/>
                  <a:gd name="T18" fmla="*/ 144 w 390"/>
                  <a:gd name="T19" fmla="*/ 564 h 861"/>
                  <a:gd name="T20" fmla="*/ 199 w 390"/>
                  <a:gd name="T21" fmla="*/ 514 h 861"/>
                  <a:gd name="T22" fmla="*/ 162 w 390"/>
                  <a:gd name="T23" fmla="*/ 454 h 861"/>
                  <a:gd name="T24" fmla="*/ 109 w 390"/>
                  <a:gd name="T25" fmla="*/ 400 h 861"/>
                  <a:gd name="T26" fmla="*/ 104 w 390"/>
                  <a:gd name="T27" fmla="*/ 279 h 861"/>
                  <a:gd name="T28" fmla="*/ 80 w 390"/>
                  <a:gd name="T29" fmla="*/ 212 h 861"/>
                  <a:gd name="T30" fmla="*/ 15 w 390"/>
                  <a:gd name="T31" fmla="*/ 140 h 861"/>
                  <a:gd name="T32" fmla="*/ 15 w 390"/>
                  <a:gd name="T33" fmla="*/ 80 h 861"/>
                  <a:gd name="T34" fmla="*/ 121 w 390"/>
                  <a:gd name="T35" fmla="*/ 139 h 861"/>
                  <a:gd name="T36" fmla="*/ 178 w 390"/>
                  <a:gd name="T37" fmla="*/ 75 h 861"/>
                  <a:gd name="T38" fmla="*/ 245 w 390"/>
                  <a:gd name="T39" fmla="*/ 8 h 861"/>
                  <a:gd name="T40" fmla="*/ 281 w 390"/>
                  <a:gd name="T41" fmla="*/ 99 h 861"/>
                  <a:gd name="T42" fmla="*/ 288 w 390"/>
                  <a:gd name="T43" fmla="*/ 162 h 861"/>
                  <a:gd name="T44" fmla="*/ 320 w 390"/>
                  <a:gd name="T45" fmla="*/ 237 h 861"/>
                  <a:gd name="T46" fmla="*/ 315 w 390"/>
                  <a:gd name="T47" fmla="*/ 323 h 861"/>
                  <a:gd name="T48" fmla="*/ 357 w 390"/>
                  <a:gd name="T49" fmla="*/ 404 h 861"/>
                  <a:gd name="T50" fmla="*/ 356 w 390"/>
                  <a:gd name="T51" fmla="*/ 473 h 861"/>
                  <a:gd name="T52" fmla="*/ 385 w 390"/>
                  <a:gd name="T53" fmla="*/ 549 h 861"/>
                  <a:gd name="T54" fmla="*/ 426 w 390"/>
                  <a:gd name="T55" fmla="*/ 652 h 861"/>
                  <a:gd name="T56" fmla="*/ 445 w 390"/>
                  <a:gd name="T57" fmla="*/ 766 h 861"/>
                  <a:gd name="T58" fmla="*/ 391 w 390"/>
                  <a:gd name="T59" fmla="*/ 857 h 861"/>
                  <a:gd name="T60" fmla="*/ 330 w 390"/>
                  <a:gd name="T61" fmla="*/ 929 h 861"/>
                  <a:gd name="T62" fmla="*/ 318 w 390"/>
                  <a:gd name="T63" fmla="*/ 868 h 861"/>
                  <a:gd name="T64" fmla="*/ 349 w 390"/>
                  <a:gd name="T65" fmla="*/ 860 h 861"/>
                  <a:gd name="T66" fmla="*/ 400 w 390"/>
                  <a:gd name="T67" fmla="*/ 785 h 861"/>
                  <a:gd name="T68" fmla="*/ 406 w 390"/>
                  <a:gd name="T69" fmla="*/ 737 h 861"/>
                  <a:gd name="T70" fmla="*/ 385 w 390"/>
                  <a:gd name="T71" fmla="*/ 758 h 861"/>
                  <a:gd name="T72" fmla="*/ 359 w 390"/>
                  <a:gd name="T73" fmla="*/ 737 h 861"/>
                  <a:gd name="T74" fmla="*/ 331 w 390"/>
                  <a:gd name="T75" fmla="*/ 723 h 861"/>
                  <a:gd name="T76" fmla="*/ 308 w 390"/>
                  <a:gd name="T77" fmla="*/ 703 h 861"/>
                  <a:gd name="T78" fmla="*/ 277 w 390"/>
                  <a:gd name="T79" fmla="*/ 710 h 861"/>
                  <a:gd name="T80" fmla="*/ 297 w 390"/>
                  <a:gd name="T81" fmla="*/ 747 h 861"/>
                  <a:gd name="T82" fmla="*/ 313 w 390"/>
                  <a:gd name="T83" fmla="*/ 737 h 861"/>
                  <a:gd name="T84" fmla="*/ 332 w 390"/>
                  <a:gd name="T85" fmla="*/ 775 h 861"/>
                  <a:gd name="T86" fmla="*/ 339 w 390"/>
                  <a:gd name="T87" fmla="*/ 817 h 861"/>
                  <a:gd name="T88" fmla="*/ 311 w 390"/>
                  <a:gd name="T89" fmla="*/ 843 h 861"/>
                  <a:gd name="T90" fmla="*/ 269 w 390"/>
                  <a:gd name="T91" fmla="*/ 841 h 861"/>
                  <a:gd name="T92" fmla="*/ 281 w 390"/>
                  <a:gd name="T93" fmla="*/ 816 h 861"/>
                  <a:gd name="T94" fmla="*/ 243 w 390"/>
                  <a:gd name="T95" fmla="*/ 827 h 861"/>
                  <a:gd name="T96" fmla="*/ 255 w 390"/>
                  <a:gd name="T97" fmla="*/ 841 h 861"/>
                  <a:gd name="T98" fmla="*/ 220 w 390"/>
                  <a:gd name="T99" fmla="*/ 860 h 861"/>
                  <a:gd name="T100" fmla="*/ 227 w 390"/>
                  <a:gd name="T101" fmla="*/ 793 h 861"/>
                  <a:gd name="T102" fmla="*/ 203 w 390"/>
                  <a:gd name="T103" fmla="*/ 827 h 861"/>
                  <a:gd name="T104" fmla="*/ 205 w 390"/>
                  <a:gd name="T105" fmla="*/ 878 h 8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90"/>
                  <a:gd name="T160" fmla="*/ 0 h 861"/>
                  <a:gd name="T161" fmla="*/ 390 w 390"/>
                  <a:gd name="T162" fmla="*/ 861 h 8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90" h="861">
                    <a:moveTo>
                      <a:pt x="285" y="804"/>
                    </a:moveTo>
                    <a:lnTo>
                      <a:pt x="267" y="805"/>
                    </a:lnTo>
                    <a:lnTo>
                      <a:pt x="248" y="805"/>
                    </a:lnTo>
                    <a:lnTo>
                      <a:pt x="240" y="820"/>
                    </a:lnTo>
                    <a:lnTo>
                      <a:pt x="207" y="815"/>
                    </a:lnTo>
                    <a:lnTo>
                      <a:pt x="195" y="829"/>
                    </a:lnTo>
                    <a:lnTo>
                      <a:pt x="180" y="833"/>
                    </a:lnTo>
                    <a:lnTo>
                      <a:pt x="159" y="844"/>
                    </a:lnTo>
                    <a:lnTo>
                      <a:pt x="152" y="861"/>
                    </a:lnTo>
                    <a:lnTo>
                      <a:pt x="125" y="856"/>
                    </a:lnTo>
                    <a:lnTo>
                      <a:pt x="111" y="859"/>
                    </a:lnTo>
                    <a:lnTo>
                      <a:pt x="88" y="847"/>
                    </a:lnTo>
                    <a:lnTo>
                      <a:pt x="73" y="849"/>
                    </a:lnTo>
                    <a:lnTo>
                      <a:pt x="77" y="829"/>
                    </a:lnTo>
                    <a:lnTo>
                      <a:pt x="55" y="823"/>
                    </a:lnTo>
                    <a:lnTo>
                      <a:pt x="29" y="810"/>
                    </a:lnTo>
                    <a:lnTo>
                      <a:pt x="17" y="796"/>
                    </a:lnTo>
                    <a:lnTo>
                      <a:pt x="16" y="755"/>
                    </a:lnTo>
                    <a:lnTo>
                      <a:pt x="30" y="730"/>
                    </a:lnTo>
                    <a:lnTo>
                      <a:pt x="22" y="709"/>
                    </a:lnTo>
                    <a:lnTo>
                      <a:pt x="19" y="671"/>
                    </a:lnTo>
                    <a:lnTo>
                      <a:pt x="6" y="641"/>
                    </a:lnTo>
                    <a:lnTo>
                      <a:pt x="24" y="596"/>
                    </a:lnTo>
                    <a:lnTo>
                      <a:pt x="34" y="601"/>
                    </a:lnTo>
                    <a:lnTo>
                      <a:pt x="54" y="589"/>
                    </a:lnTo>
                    <a:lnTo>
                      <a:pt x="61" y="555"/>
                    </a:lnTo>
                    <a:lnTo>
                      <a:pt x="79" y="549"/>
                    </a:lnTo>
                    <a:lnTo>
                      <a:pt x="96" y="525"/>
                    </a:lnTo>
                    <a:lnTo>
                      <a:pt x="108" y="498"/>
                    </a:lnTo>
                    <a:lnTo>
                      <a:pt x="121" y="474"/>
                    </a:lnTo>
                    <a:lnTo>
                      <a:pt x="140" y="452"/>
                    </a:lnTo>
                    <a:lnTo>
                      <a:pt x="151" y="435"/>
                    </a:lnTo>
                    <a:lnTo>
                      <a:pt x="167" y="432"/>
                    </a:lnTo>
                    <a:lnTo>
                      <a:pt x="161" y="397"/>
                    </a:lnTo>
                    <a:lnTo>
                      <a:pt x="154" y="380"/>
                    </a:lnTo>
                    <a:lnTo>
                      <a:pt x="136" y="382"/>
                    </a:lnTo>
                    <a:lnTo>
                      <a:pt x="113" y="368"/>
                    </a:lnTo>
                    <a:lnTo>
                      <a:pt x="103" y="362"/>
                    </a:lnTo>
                    <a:lnTo>
                      <a:pt x="92" y="336"/>
                    </a:lnTo>
                    <a:lnTo>
                      <a:pt x="92" y="303"/>
                    </a:lnTo>
                    <a:lnTo>
                      <a:pt x="92" y="279"/>
                    </a:lnTo>
                    <a:lnTo>
                      <a:pt x="87" y="235"/>
                    </a:lnTo>
                    <a:lnTo>
                      <a:pt x="73" y="219"/>
                    </a:lnTo>
                    <a:lnTo>
                      <a:pt x="72" y="198"/>
                    </a:lnTo>
                    <a:lnTo>
                      <a:pt x="67" y="178"/>
                    </a:lnTo>
                    <a:lnTo>
                      <a:pt x="58" y="147"/>
                    </a:lnTo>
                    <a:lnTo>
                      <a:pt x="27" y="133"/>
                    </a:lnTo>
                    <a:lnTo>
                      <a:pt x="13" y="118"/>
                    </a:lnTo>
                    <a:lnTo>
                      <a:pt x="1" y="106"/>
                    </a:lnTo>
                    <a:lnTo>
                      <a:pt x="0" y="85"/>
                    </a:lnTo>
                    <a:lnTo>
                      <a:pt x="13" y="67"/>
                    </a:lnTo>
                    <a:lnTo>
                      <a:pt x="56" y="112"/>
                    </a:lnTo>
                    <a:lnTo>
                      <a:pt x="76" y="99"/>
                    </a:lnTo>
                    <a:lnTo>
                      <a:pt x="102" y="117"/>
                    </a:lnTo>
                    <a:lnTo>
                      <a:pt x="119" y="99"/>
                    </a:lnTo>
                    <a:lnTo>
                      <a:pt x="136" y="90"/>
                    </a:lnTo>
                    <a:lnTo>
                      <a:pt x="150" y="63"/>
                    </a:lnTo>
                    <a:lnTo>
                      <a:pt x="152" y="32"/>
                    </a:lnTo>
                    <a:lnTo>
                      <a:pt x="186" y="0"/>
                    </a:lnTo>
                    <a:lnTo>
                      <a:pt x="206" y="7"/>
                    </a:lnTo>
                    <a:lnTo>
                      <a:pt x="246" y="27"/>
                    </a:lnTo>
                    <a:lnTo>
                      <a:pt x="248" y="51"/>
                    </a:lnTo>
                    <a:lnTo>
                      <a:pt x="236" y="83"/>
                    </a:lnTo>
                    <a:lnTo>
                      <a:pt x="248" y="89"/>
                    </a:lnTo>
                    <a:lnTo>
                      <a:pt x="231" y="124"/>
                    </a:lnTo>
                    <a:lnTo>
                      <a:pt x="242" y="136"/>
                    </a:lnTo>
                    <a:lnTo>
                      <a:pt x="258" y="166"/>
                    </a:lnTo>
                    <a:lnTo>
                      <a:pt x="272" y="178"/>
                    </a:lnTo>
                    <a:lnTo>
                      <a:pt x="269" y="199"/>
                    </a:lnTo>
                    <a:lnTo>
                      <a:pt x="272" y="223"/>
                    </a:lnTo>
                    <a:lnTo>
                      <a:pt x="269" y="259"/>
                    </a:lnTo>
                    <a:lnTo>
                      <a:pt x="265" y="272"/>
                    </a:lnTo>
                    <a:lnTo>
                      <a:pt x="276" y="296"/>
                    </a:lnTo>
                    <a:lnTo>
                      <a:pt x="291" y="322"/>
                    </a:lnTo>
                    <a:lnTo>
                      <a:pt x="300" y="340"/>
                    </a:lnTo>
                    <a:lnTo>
                      <a:pt x="300" y="357"/>
                    </a:lnTo>
                    <a:lnTo>
                      <a:pt x="286" y="378"/>
                    </a:lnTo>
                    <a:lnTo>
                      <a:pt x="299" y="398"/>
                    </a:lnTo>
                    <a:lnTo>
                      <a:pt x="300" y="435"/>
                    </a:lnTo>
                    <a:lnTo>
                      <a:pt x="320" y="442"/>
                    </a:lnTo>
                    <a:lnTo>
                      <a:pt x="324" y="462"/>
                    </a:lnTo>
                    <a:lnTo>
                      <a:pt x="331" y="485"/>
                    </a:lnTo>
                    <a:lnTo>
                      <a:pt x="333" y="527"/>
                    </a:lnTo>
                    <a:lnTo>
                      <a:pt x="358" y="548"/>
                    </a:lnTo>
                    <a:lnTo>
                      <a:pt x="386" y="575"/>
                    </a:lnTo>
                    <a:lnTo>
                      <a:pt x="390" y="603"/>
                    </a:lnTo>
                    <a:lnTo>
                      <a:pt x="374" y="644"/>
                    </a:lnTo>
                    <a:lnTo>
                      <a:pt x="365" y="658"/>
                    </a:lnTo>
                    <a:lnTo>
                      <a:pt x="345" y="697"/>
                    </a:lnTo>
                    <a:lnTo>
                      <a:pt x="329" y="721"/>
                    </a:lnTo>
                    <a:lnTo>
                      <a:pt x="311" y="745"/>
                    </a:lnTo>
                    <a:lnTo>
                      <a:pt x="290" y="761"/>
                    </a:lnTo>
                    <a:lnTo>
                      <a:pt x="277" y="781"/>
                    </a:lnTo>
                    <a:lnTo>
                      <a:pt x="285" y="804"/>
                    </a:lnTo>
                    <a:close/>
                    <a:moveTo>
                      <a:pt x="255" y="730"/>
                    </a:moveTo>
                    <a:lnTo>
                      <a:pt x="267" y="730"/>
                    </a:lnTo>
                    <a:lnTo>
                      <a:pt x="275" y="735"/>
                    </a:lnTo>
                    <a:lnTo>
                      <a:pt x="284" y="735"/>
                    </a:lnTo>
                    <a:lnTo>
                      <a:pt x="293" y="723"/>
                    </a:lnTo>
                    <a:lnTo>
                      <a:pt x="312" y="703"/>
                    </a:lnTo>
                    <a:lnTo>
                      <a:pt x="328" y="683"/>
                    </a:lnTo>
                    <a:lnTo>
                      <a:pt x="336" y="660"/>
                    </a:lnTo>
                    <a:lnTo>
                      <a:pt x="347" y="646"/>
                    </a:lnTo>
                    <a:lnTo>
                      <a:pt x="342" y="636"/>
                    </a:lnTo>
                    <a:lnTo>
                      <a:pt x="341" y="620"/>
                    </a:lnTo>
                    <a:lnTo>
                      <a:pt x="332" y="614"/>
                    </a:lnTo>
                    <a:lnTo>
                      <a:pt x="327" y="627"/>
                    </a:lnTo>
                    <a:lnTo>
                      <a:pt x="324" y="637"/>
                    </a:lnTo>
                    <a:lnTo>
                      <a:pt x="315" y="647"/>
                    </a:lnTo>
                    <a:lnTo>
                      <a:pt x="309" y="634"/>
                    </a:lnTo>
                    <a:lnTo>
                      <a:pt x="302" y="620"/>
                    </a:lnTo>
                    <a:lnTo>
                      <a:pt x="293" y="610"/>
                    </a:lnTo>
                    <a:lnTo>
                      <a:pt x="284" y="615"/>
                    </a:lnTo>
                    <a:lnTo>
                      <a:pt x="278" y="608"/>
                    </a:lnTo>
                    <a:lnTo>
                      <a:pt x="276" y="596"/>
                    </a:lnTo>
                    <a:lnTo>
                      <a:pt x="270" y="579"/>
                    </a:lnTo>
                    <a:lnTo>
                      <a:pt x="259" y="591"/>
                    </a:lnTo>
                    <a:lnTo>
                      <a:pt x="244" y="587"/>
                    </a:lnTo>
                    <a:lnTo>
                      <a:pt x="233" y="589"/>
                    </a:lnTo>
                    <a:lnTo>
                      <a:pt x="233" y="597"/>
                    </a:lnTo>
                    <a:lnTo>
                      <a:pt x="243" y="601"/>
                    </a:lnTo>
                    <a:lnTo>
                      <a:pt x="251" y="613"/>
                    </a:lnTo>
                    <a:lnTo>
                      <a:pt x="250" y="628"/>
                    </a:lnTo>
                    <a:lnTo>
                      <a:pt x="250" y="637"/>
                    </a:lnTo>
                    <a:lnTo>
                      <a:pt x="260" y="637"/>
                    </a:lnTo>
                    <a:lnTo>
                      <a:pt x="263" y="620"/>
                    </a:lnTo>
                    <a:lnTo>
                      <a:pt x="273" y="631"/>
                    </a:lnTo>
                    <a:lnTo>
                      <a:pt x="282" y="642"/>
                    </a:lnTo>
                    <a:lnTo>
                      <a:pt x="279" y="652"/>
                    </a:lnTo>
                    <a:lnTo>
                      <a:pt x="272" y="668"/>
                    </a:lnTo>
                    <a:lnTo>
                      <a:pt x="284" y="674"/>
                    </a:lnTo>
                    <a:lnTo>
                      <a:pt x="285" y="687"/>
                    </a:lnTo>
                    <a:lnTo>
                      <a:pt x="279" y="698"/>
                    </a:lnTo>
                    <a:lnTo>
                      <a:pt x="272" y="707"/>
                    </a:lnTo>
                    <a:lnTo>
                      <a:pt x="261" y="709"/>
                    </a:lnTo>
                    <a:lnTo>
                      <a:pt x="255" y="715"/>
                    </a:lnTo>
                    <a:lnTo>
                      <a:pt x="255" y="730"/>
                    </a:lnTo>
                    <a:close/>
                    <a:moveTo>
                      <a:pt x="226" y="707"/>
                    </a:moveTo>
                    <a:lnTo>
                      <a:pt x="236" y="709"/>
                    </a:lnTo>
                    <a:lnTo>
                      <a:pt x="241" y="700"/>
                    </a:lnTo>
                    <a:lnTo>
                      <a:pt x="236" y="686"/>
                    </a:lnTo>
                    <a:lnTo>
                      <a:pt x="231" y="676"/>
                    </a:lnTo>
                    <a:lnTo>
                      <a:pt x="213" y="684"/>
                    </a:lnTo>
                    <a:lnTo>
                      <a:pt x="204" y="695"/>
                    </a:lnTo>
                    <a:lnTo>
                      <a:pt x="200" y="709"/>
                    </a:lnTo>
                    <a:lnTo>
                      <a:pt x="205" y="715"/>
                    </a:lnTo>
                    <a:lnTo>
                      <a:pt x="214" y="707"/>
                    </a:lnTo>
                    <a:lnTo>
                      <a:pt x="226" y="707"/>
                    </a:lnTo>
                    <a:close/>
                    <a:moveTo>
                      <a:pt x="190" y="733"/>
                    </a:moveTo>
                    <a:lnTo>
                      <a:pt x="185" y="723"/>
                    </a:lnTo>
                    <a:lnTo>
                      <a:pt x="187" y="705"/>
                    </a:lnTo>
                    <a:lnTo>
                      <a:pt x="189" y="690"/>
                    </a:lnTo>
                    <a:lnTo>
                      <a:pt x="191" y="667"/>
                    </a:lnTo>
                    <a:lnTo>
                      <a:pt x="183" y="659"/>
                    </a:lnTo>
                    <a:lnTo>
                      <a:pt x="175" y="678"/>
                    </a:lnTo>
                    <a:lnTo>
                      <a:pt x="171" y="695"/>
                    </a:lnTo>
                    <a:lnTo>
                      <a:pt x="164" y="709"/>
                    </a:lnTo>
                    <a:lnTo>
                      <a:pt x="163" y="723"/>
                    </a:lnTo>
                    <a:lnTo>
                      <a:pt x="172" y="738"/>
                    </a:lnTo>
                    <a:lnTo>
                      <a:pt x="183" y="743"/>
                    </a:lnTo>
                    <a:lnTo>
                      <a:pt x="190" y="733"/>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11" name="Freeform 49"/>
              <p:cNvSpPr>
                <a:spLocks noChangeAspect="1"/>
              </p:cNvSpPr>
              <p:nvPr/>
            </p:nvSpPr>
            <p:spPr bwMode="auto">
              <a:xfrm>
                <a:off x="4981159" y="3412662"/>
                <a:ext cx="378260" cy="318925"/>
              </a:xfrm>
              <a:custGeom>
                <a:avLst/>
                <a:gdLst>
                  <a:gd name="T0" fmla="*/ 10 w 257"/>
                  <a:gd name="T1" fmla="*/ 118 h 217"/>
                  <a:gd name="T2" fmla="*/ 2 w 257"/>
                  <a:gd name="T3" fmla="*/ 99 h 217"/>
                  <a:gd name="T4" fmla="*/ 0 w 257"/>
                  <a:gd name="T5" fmla="*/ 21 h 217"/>
                  <a:gd name="T6" fmla="*/ 6 w 257"/>
                  <a:gd name="T7" fmla="*/ 17 h 217"/>
                  <a:gd name="T8" fmla="*/ 24 w 257"/>
                  <a:gd name="T9" fmla="*/ 13 h 217"/>
                  <a:gd name="T10" fmla="*/ 51 w 257"/>
                  <a:gd name="T11" fmla="*/ 14 h 217"/>
                  <a:gd name="T12" fmla="*/ 71 w 257"/>
                  <a:gd name="T13" fmla="*/ 6 h 217"/>
                  <a:gd name="T14" fmla="*/ 89 w 257"/>
                  <a:gd name="T15" fmla="*/ 5 h 217"/>
                  <a:gd name="T16" fmla="*/ 98 w 257"/>
                  <a:gd name="T17" fmla="*/ 15 h 217"/>
                  <a:gd name="T18" fmla="*/ 108 w 257"/>
                  <a:gd name="T19" fmla="*/ 5 h 217"/>
                  <a:gd name="T20" fmla="*/ 133 w 257"/>
                  <a:gd name="T21" fmla="*/ 7 h 217"/>
                  <a:gd name="T22" fmla="*/ 155 w 257"/>
                  <a:gd name="T23" fmla="*/ 13 h 217"/>
                  <a:gd name="T24" fmla="*/ 171 w 257"/>
                  <a:gd name="T25" fmla="*/ 17 h 217"/>
                  <a:gd name="T26" fmla="*/ 186 w 257"/>
                  <a:gd name="T27" fmla="*/ 6 h 217"/>
                  <a:gd name="T28" fmla="*/ 200 w 257"/>
                  <a:gd name="T29" fmla="*/ 0 h 217"/>
                  <a:gd name="T30" fmla="*/ 226 w 257"/>
                  <a:gd name="T31" fmla="*/ 17 h 217"/>
                  <a:gd name="T32" fmla="*/ 246 w 257"/>
                  <a:gd name="T33" fmla="*/ 32 h 217"/>
                  <a:gd name="T34" fmla="*/ 266 w 257"/>
                  <a:gd name="T35" fmla="*/ 48 h 217"/>
                  <a:gd name="T36" fmla="*/ 277 w 257"/>
                  <a:gd name="T37" fmla="*/ 59 h 217"/>
                  <a:gd name="T38" fmla="*/ 288 w 257"/>
                  <a:gd name="T39" fmla="*/ 73 h 217"/>
                  <a:gd name="T40" fmla="*/ 285 w 257"/>
                  <a:gd name="T41" fmla="*/ 89 h 217"/>
                  <a:gd name="T42" fmla="*/ 293 w 257"/>
                  <a:gd name="T43" fmla="*/ 102 h 217"/>
                  <a:gd name="T44" fmla="*/ 306 w 257"/>
                  <a:gd name="T45" fmla="*/ 111 h 217"/>
                  <a:gd name="T46" fmla="*/ 298 w 257"/>
                  <a:gd name="T47" fmla="*/ 124 h 217"/>
                  <a:gd name="T48" fmla="*/ 281 w 257"/>
                  <a:gd name="T49" fmla="*/ 134 h 217"/>
                  <a:gd name="T50" fmla="*/ 271 w 257"/>
                  <a:gd name="T51" fmla="*/ 145 h 217"/>
                  <a:gd name="T52" fmla="*/ 251 w 257"/>
                  <a:gd name="T53" fmla="*/ 156 h 217"/>
                  <a:gd name="T54" fmla="*/ 254 w 257"/>
                  <a:gd name="T55" fmla="*/ 175 h 217"/>
                  <a:gd name="T56" fmla="*/ 254 w 257"/>
                  <a:gd name="T57" fmla="*/ 185 h 217"/>
                  <a:gd name="T58" fmla="*/ 249 w 257"/>
                  <a:gd name="T59" fmla="*/ 201 h 217"/>
                  <a:gd name="T60" fmla="*/ 252 w 257"/>
                  <a:gd name="T61" fmla="*/ 209 h 217"/>
                  <a:gd name="T62" fmla="*/ 249 w 257"/>
                  <a:gd name="T63" fmla="*/ 224 h 217"/>
                  <a:gd name="T64" fmla="*/ 238 w 257"/>
                  <a:gd name="T65" fmla="*/ 219 h 217"/>
                  <a:gd name="T66" fmla="*/ 226 w 257"/>
                  <a:gd name="T67" fmla="*/ 214 h 217"/>
                  <a:gd name="T68" fmla="*/ 218 w 257"/>
                  <a:gd name="T69" fmla="*/ 220 h 217"/>
                  <a:gd name="T70" fmla="*/ 211 w 257"/>
                  <a:gd name="T71" fmla="*/ 227 h 217"/>
                  <a:gd name="T72" fmla="*/ 204 w 257"/>
                  <a:gd name="T73" fmla="*/ 234 h 217"/>
                  <a:gd name="T74" fmla="*/ 194 w 257"/>
                  <a:gd name="T75" fmla="*/ 237 h 217"/>
                  <a:gd name="T76" fmla="*/ 187 w 257"/>
                  <a:gd name="T77" fmla="*/ 247 h 217"/>
                  <a:gd name="T78" fmla="*/ 179 w 257"/>
                  <a:gd name="T79" fmla="*/ 258 h 217"/>
                  <a:gd name="T80" fmla="*/ 167 w 257"/>
                  <a:gd name="T81" fmla="*/ 251 h 217"/>
                  <a:gd name="T82" fmla="*/ 154 w 257"/>
                  <a:gd name="T83" fmla="*/ 244 h 217"/>
                  <a:gd name="T84" fmla="*/ 135 w 257"/>
                  <a:gd name="T85" fmla="*/ 239 h 217"/>
                  <a:gd name="T86" fmla="*/ 125 w 257"/>
                  <a:gd name="T87" fmla="*/ 224 h 217"/>
                  <a:gd name="T88" fmla="*/ 114 w 257"/>
                  <a:gd name="T89" fmla="*/ 216 h 217"/>
                  <a:gd name="T90" fmla="*/ 107 w 257"/>
                  <a:gd name="T91" fmla="*/ 204 h 217"/>
                  <a:gd name="T92" fmla="*/ 108 w 257"/>
                  <a:gd name="T93" fmla="*/ 187 h 217"/>
                  <a:gd name="T94" fmla="*/ 99 w 257"/>
                  <a:gd name="T95" fmla="*/ 183 h 217"/>
                  <a:gd name="T96" fmla="*/ 98 w 257"/>
                  <a:gd name="T97" fmla="*/ 169 h 217"/>
                  <a:gd name="T98" fmla="*/ 82 w 257"/>
                  <a:gd name="T99" fmla="*/ 166 h 217"/>
                  <a:gd name="T100" fmla="*/ 79 w 257"/>
                  <a:gd name="T101" fmla="*/ 152 h 217"/>
                  <a:gd name="T102" fmla="*/ 61 w 257"/>
                  <a:gd name="T103" fmla="*/ 133 h 217"/>
                  <a:gd name="T104" fmla="*/ 37 w 257"/>
                  <a:gd name="T105" fmla="*/ 130 h 217"/>
                  <a:gd name="T106" fmla="*/ 15 w 257"/>
                  <a:gd name="T107" fmla="*/ 121 h 217"/>
                  <a:gd name="T108" fmla="*/ 10 w 257"/>
                  <a:gd name="T109" fmla="*/ 118 h 2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7"/>
                  <a:gd name="T166" fmla="*/ 0 h 217"/>
                  <a:gd name="T167" fmla="*/ 257 w 257"/>
                  <a:gd name="T168" fmla="*/ 217 h 21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7" h="217">
                    <a:moveTo>
                      <a:pt x="8" y="99"/>
                    </a:moveTo>
                    <a:lnTo>
                      <a:pt x="2" y="83"/>
                    </a:lnTo>
                    <a:lnTo>
                      <a:pt x="0" y="18"/>
                    </a:lnTo>
                    <a:lnTo>
                      <a:pt x="5" y="14"/>
                    </a:lnTo>
                    <a:lnTo>
                      <a:pt x="20" y="11"/>
                    </a:lnTo>
                    <a:lnTo>
                      <a:pt x="43" y="12"/>
                    </a:lnTo>
                    <a:lnTo>
                      <a:pt x="60" y="5"/>
                    </a:lnTo>
                    <a:lnTo>
                      <a:pt x="75" y="4"/>
                    </a:lnTo>
                    <a:lnTo>
                      <a:pt x="82" y="13"/>
                    </a:lnTo>
                    <a:lnTo>
                      <a:pt x="91" y="4"/>
                    </a:lnTo>
                    <a:lnTo>
                      <a:pt x="112" y="6"/>
                    </a:lnTo>
                    <a:lnTo>
                      <a:pt x="130" y="11"/>
                    </a:lnTo>
                    <a:lnTo>
                      <a:pt x="144" y="14"/>
                    </a:lnTo>
                    <a:lnTo>
                      <a:pt x="156" y="5"/>
                    </a:lnTo>
                    <a:lnTo>
                      <a:pt x="168" y="0"/>
                    </a:lnTo>
                    <a:lnTo>
                      <a:pt x="190" y="14"/>
                    </a:lnTo>
                    <a:lnTo>
                      <a:pt x="207" y="27"/>
                    </a:lnTo>
                    <a:lnTo>
                      <a:pt x="223" y="40"/>
                    </a:lnTo>
                    <a:lnTo>
                      <a:pt x="233" y="50"/>
                    </a:lnTo>
                    <a:lnTo>
                      <a:pt x="242" y="61"/>
                    </a:lnTo>
                    <a:lnTo>
                      <a:pt x="239" y="75"/>
                    </a:lnTo>
                    <a:lnTo>
                      <a:pt x="246" y="86"/>
                    </a:lnTo>
                    <a:lnTo>
                      <a:pt x="257" y="93"/>
                    </a:lnTo>
                    <a:lnTo>
                      <a:pt x="250" y="104"/>
                    </a:lnTo>
                    <a:lnTo>
                      <a:pt x="236" y="113"/>
                    </a:lnTo>
                    <a:lnTo>
                      <a:pt x="228" y="122"/>
                    </a:lnTo>
                    <a:lnTo>
                      <a:pt x="211" y="131"/>
                    </a:lnTo>
                    <a:lnTo>
                      <a:pt x="213" y="147"/>
                    </a:lnTo>
                    <a:lnTo>
                      <a:pt x="213" y="156"/>
                    </a:lnTo>
                    <a:lnTo>
                      <a:pt x="209" y="169"/>
                    </a:lnTo>
                    <a:lnTo>
                      <a:pt x="212" y="176"/>
                    </a:lnTo>
                    <a:lnTo>
                      <a:pt x="209" y="188"/>
                    </a:lnTo>
                    <a:lnTo>
                      <a:pt x="200" y="184"/>
                    </a:lnTo>
                    <a:lnTo>
                      <a:pt x="190" y="180"/>
                    </a:lnTo>
                    <a:lnTo>
                      <a:pt x="183" y="185"/>
                    </a:lnTo>
                    <a:lnTo>
                      <a:pt x="177" y="191"/>
                    </a:lnTo>
                    <a:lnTo>
                      <a:pt x="171" y="197"/>
                    </a:lnTo>
                    <a:lnTo>
                      <a:pt x="163" y="199"/>
                    </a:lnTo>
                    <a:lnTo>
                      <a:pt x="157" y="208"/>
                    </a:lnTo>
                    <a:lnTo>
                      <a:pt x="150" y="217"/>
                    </a:lnTo>
                    <a:lnTo>
                      <a:pt x="140" y="211"/>
                    </a:lnTo>
                    <a:lnTo>
                      <a:pt x="129" y="205"/>
                    </a:lnTo>
                    <a:lnTo>
                      <a:pt x="113" y="201"/>
                    </a:lnTo>
                    <a:lnTo>
                      <a:pt x="105" y="188"/>
                    </a:lnTo>
                    <a:lnTo>
                      <a:pt x="96" y="182"/>
                    </a:lnTo>
                    <a:lnTo>
                      <a:pt x="90" y="172"/>
                    </a:lnTo>
                    <a:lnTo>
                      <a:pt x="91" y="157"/>
                    </a:lnTo>
                    <a:lnTo>
                      <a:pt x="83" y="154"/>
                    </a:lnTo>
                    <a:lnTo>
                      <a:pt x="82" y="142"/>
                    </a:lnTo>
                    <a:lnTo>
                      <a:pt x="69" y="140"/>
                    </a:lnTo>
                    <a:lnTo>
                      <a:pt x="66" y="128"/>
                    </a:lnTo>
                    <a:lnTo>
                      <a:pt x="51" y="112"/>
                    </a:lnTo>
                    <a:lnTo>
                      <a:pt x="31" y="109"/>
                    </a:lnTo>
                    <a:lnTo>
                      <a:pt x="13" y="102"/>
                    </a:lnTo>
                    <a:lnTo>
                      <a:pt x="8" y="99"/>
                    </a:lnTo>
                    <a:close/>
                  </a:path>
                </a:pathLst>
              </a:custGeom>
              <a:no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12" name="Freeform 50"/>
              <p:cNvSpPr>
                <a:spLocks noChangeAspect="1"/>
              </p:cNvSpPr>
              <p:nvPr/>
            </p:nvSpPr>
            <p:spPr bwMode="auto">
              <a:xfrm>
                <a:off x="4475576" y="3607973"/>
                <a:ext cx="726853" cy="682351"/>
              </a:xfrm>
              <a:custGeom>
                <a:avLst/>
                <a:gdLst>
                  <a:gd name="T0" fmla="*/ 58 w 494"/>
                  <a:gd name="T1" fmla="*/ 111 h 464"/>
                  <a:gd name="T2" fmla="*/ 60 w 494"/>
                  <a:gd name="T3" fmla="*/ 58 h 464"/>
                  <a:gd name="T4" fmla="*/ 96 w 494"/>
                  <a:gd name="T5" fmla="*/ 64 h 464"/>
                  <a:gd name="T6" fmla="*/ 152 w 494"/>
                  <a:gd name="T7" fmla="*/ 38 h 464"/>
                  <a:gd name="T8" fmla="*/ 206 w 494"/>
                  <a:gd name="T9" fmla="*/ 5 h 464"/>
                  <a:gd name="T10" fmla="*/ 289 w 494"/>
                  <a:gd name="T11" fmla="*/ 15 h 464"/>
                  <a:gd name="T12" fmla="*/ 277 w 494"/>
                  <a:gd name="T13" fmla="*/ 43 h 464"/>
                  <a:gd name="T14" fmla="*/ 324 w 494"/>
                  <a:gd name="T15" fmla="*/ 44 h 464"/>
                  <a:gd name="T16" fmla="*/ 367 w 494"/>
                  <a:gd name="T17" fmla="*/ 37 h 464"/>
                  <a:gd name="T18" fmla="*/ 381 w 494"/>
                  <a:gd name="T19" fmla="*/ 46 h 464"/>
                  <a:gd name="T20" fmla="*/ 418 w 494"/>
                  <a:gd name="T21" fmla="*/ 52 h 464"/>
                  <a:gd name="T22" fmla="*/ 458 w 494"/>
                  <a:gd name="T23" fmla="*/ 52 h 464"/>
                  <a:gd name="T24" fmla="*/ 493 w 494"/>
                  <a:gd name="T25" fmla="*/ 50 h 464"/>
                  <a:gd name="T26" fmla="*/ 517 w 494"/>
                  <a:gd name="T27" fmla="*/ 46 h 464"/>
                  <a:gd name="T28" fmla="*/ 534 w 494"/>
                  <a:gd name="T29" fmla="*/ 65 h 464"/>
                  <a:gd name="T30" fmla="*/ 542 w 494"/>
                  <a:gd name="T31" fmla="*/ 89 h 464"/>
                  <a:gd name="T32" fmla="*/ 536 w 494"/>
                  <a:gd name="T33" fmla="*/ 112 h 464"/>
                  <a:gd name="T34" fmla="*/ 552 w 494"/>
                  <a:gd name="T35" fmla="*/ 140 h 464"/>
                  <a:gd name="T36" fmla="*/ 565 w 494"/>
                  <a:gd name="T37" fmla="*/ 181 h 464"/>
                  <a:gd name="T38" fmla="*/ 538 w 494"/>
                  <a:gd name="T39" fmla="*/ 228 h 464"/>
                  <a:gd name="T40" fmla="*/ 552 w 494"/>
                  <a:gd name="T41" fmla="*/ 251 h 464"/>
                  <a:gd name="T42" fmla="*/ 550 w 494"/>
                  <a:gd name="T43" fmla="*/ 291 h 464"/>
                  <a:gd name="T44" fmla="*/ 552 w 494"/>
                  <a:gd name="T45" fmla="*/ 321 h 464"/>
                  <a:gd name="T46" fmla="*/ 564 w 494"/>
                  <a:gd name="T47" fmla="*/ 347 h 464"/>
                  <a:gd name="T48" fmla="*/ 575 w 494"/>
                  <a:gd name="T49" fmla="*/ 365 h 464"/>
                  <a:gd name="T50" fmla="*/ 586 w 494"/>
                  <a:gd name="T51" fmla="*/ 418 h 464"/>
                  <a:gd name="T52" fmla="*/ 540 w 494"/>
                  <a:gd name="T53" fmla="*/ 450 h 464"/>
                  <a:gd name="T54" fmla="*/ 507 w 494"/>
                  <a:gd name="T55" fmla="*/ 489 h 464"/>
                  <a:gd name="T56" fmla="*/ 502 w 494"/>
                  <a:gd name="T57" fmla="*/ 538 h 464"/>
                  <a:gd name="T58" fmla="*/ 478 w 494"/>
                  <a:gd name="T59" fmla="*/ 540 h 464"/>
                  <a:gd name="T60" fmla="*/ 450 w 494"/>
                  <a:gd name="T61" fmla="*/ 529 h 464"/>
                  <a:gd name="T62" fmla="*/ 407 w 494"/>
                  <a:gd name="T63" fmla="*/ 523 h 464"/>
                  <a:gd name="T64" fmla="*/ 381 w 494"/>
                  <a:gd name="T65" fmla="*/ 534 h 464"/>
                  <a:gd name="T66" fmla="*/ 346 w 494"/>
                  <a:gd name="T67" fmla="*/ 544 h 464"/>
                  <a:gd name="T68" fmla="*/ 331 w 494"/>
                  <a:gd name="T69" fmla="*/ 518 h 464"/>
                  <a:gd name="T70" fmla="*/ 289 w 494"/>
                  <a:gd name="T71" fmla="*/ 535 h 464"/>
                  <a:gd name="T72" fmla="*/ 276 w 494"/>
                  <a:gd name="T73" fmla="*/ 495 h 464"/>
                  <a:gd name="T74" fmla="*/ 255 w 494"/>
                  <a:gd name="T75" fmla="*/ 472 h 464"/>
                  <a:gd name="T76" fmla="*/ 212 w 494"/>
                  <a:gd name="T77" fmla="*/ 475 h 464"/>
                  <a:gd name="T78" fmla="*/ 211 w 494"/>
                  <a:gd name="T79" fmla="*/ 446 h 464"/>
                  <a:gd name="T80" fmla="*/ 181 w 494"/>
                  <a:gd name="T81" fmla="*/ 428 h 464"/>
                  <a:gd name="T82" fmla="*/ 158 w 494"/>
                  <a:gd name="T83" fmla="*/ 433 h 464"/>
                  <a:gd name="T84" fmla="*/ 144 w 494"/>
                  <a:gd name="T85" fmla="*/ 445 h 464"/>
                  <a:gd name="T86" fmla="*/ 115 w 494"/>
                  <a:gd name="T87" fmla="*/ 429 h 464"/>
                  <a:gd name="T88" fmla="*/ 138 w 494"/>
                  <a:gd name="T89" fmla="*/ 394 h 464"/>
                  <a:gd name="T90" fmla="*/ 108 w 494"/>
                  <a:gd name="T91" fmla="*/ 397 h 464"/>
                  <a:gd name="T92" fmla="*/ 81 w 494"/>
                  <a:gd name="T93" fmla="*/ 388 h 464"/>
                  <a:gd name="T94" fmla="*/ 46 w 494"/>
                  <a:gd name="T95" fmla="*/ 377 h 464"/>
                  <a:gd name="T96" fmla="*/ 42 w 494"/>
                  <a:gd name="T97" fmla="*/ 346 h 464"/>
                  <a:gd name="T98" fmla="*/ 26 w 494"/>
                  <a:gd name="T99" fmla="*/ 295 h 464"/>
                  <a:gd name="T100" fmla="*/ 30 w 494"/>
                  <a:gd name="T101" fmla="*/ 264 h 464"/>
                  <a:gd name="T102" fmla="*/ 6 w 494"/>
                  <a:gd name="T103" fmla="*/ 209 h 464"/>
                  <a:gd name="T104" fmla="*/ 4 w 494"/>
                  <a:gd name="T105" fmla="*/ 162 h 464"/>
                  <a:gd name="T106" fmla="*/ 32 w 494"/>
                  <a:gd name="T107" fmla="*/ 114 h 4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4"/>
                  <a:gd name="T163" fmla="*/ 0 h 464"/>
                  <a:gd name="T164" fmla="*/ 494 w 494"/>
                  <a:gd name="T165" fmla="*/ 464 h 4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4" h="464">
                    <a:moveTo>
                      <a:pt x="35" y="98"/>
                    </a:moveTo>
                    <a:lnTo>
                      <a:pt x="49" y="93"/>
                    </a:lnTo>
                    <a:lnTo>
                      <a:pt x="46" y="68"/>
                    </a:lnTo>
                    <a:lnTo>
                      <a:pt x="50" y="49"/>
                    </a:lnTo>
                    <a:lnTo>
                      <a:pt x="67" y="49"/>
                    </a:lnTo>
                    <a:lnTo>
                      <a:pt x="81" y="54"/>
                    </a:lnTo>
                    <a:lnTo>
                      <a:pt x="101" y="47"/>
                    </a:lnTo>
                    <a:lnTo>
                      <a:pt x="128" y="32"/>
                    </a:lnTo>
                    <a:lnTo>
                      <a:pt x="148" y="19"/>
                    </a:lnTo>
                    <a:lnTo>
                      <a:pt x="173" y="4"/>
                    </a:lnTo>
                    <a:lnTo>
                      <a:pt x="234" y="0"/>
                    </a:lnTo>
                    <a:lnTo>
                      <a:pt x="243" y="13"/>
                    </a:lnTo>
                    <a:lnTo>
                      <a:pt x="225" y="23"/>
                    </a:lnTo>
                    <a:lnTo>
                      <a:pt x="233" y="36"/>
                    </a:lnTo>
                    <a:lnTo>
                      <a:pt x="255" y="44"/>
                    </a:lnTo>
                    <a:lnTo>
                      <a:pt x="272" y="37"/>
                    </a:lnTo>
                    <a:lnTo>
                      <a:pt x="293" y="27"/>
                    </a:lnTo>
                    <a:lnTo>
                      <a:pt x="308" y="31"/>
                    </a:lnTo>
                    <a:lnTo>
                      <a:pt x="310" y="37"/>
                    </a:lnTo>
                    <a:lnTo>
                      <a:pt x="320" y="39"/>
                    </a:lnTo>
                    <a:lnTo>
                      <a:pt x="340" y="45"/>
                    </a:lnTo>
                    <a:lnTo>
                      <a:pt x="351" y="44"/>
                    </a:lnTo>
                    <a:lnTo>
                      <a:pt x="363" y="44"/>
                    </a:lnTo>
                    <a:lnTo>
                      <a:pt x="385" y="44"/>
                    </a:lnTo>
                    <a:lnTo>
                      <a:pt x="394" y="40"/>
                    </a:lnTo>
                    <a:lnTo>
                      <a:pt x="414" y="42"/>
                    </a:lnTo>
                    <a:lnTo>
                      <a:pt x="426" y="39"/>
                    </a:lnTo>
                    <a:lnTo>
                      <a:pt x="434" y="39"/>
                    </a:lnTo>
                    <a:lnTo>
                      <a:pt x="440" y="49"/>
                    </a:lnTo>
                    <a:lnTo>
                      <a:pt x="449" y="55"/>
                    </a:lnTo>
                    <a:lnTo>
                      <a:pt x="457" y="68"/>
                    </a:lnTo>
                    <a:lnTo>
                      <a:pt x="455" y="75"/>
                    </a:lnTo>
                    <a:lnTo>
                      <a:pt x="450" y="79"/>
                    </a:lnTo>
                    <a:lnTo>
                      <a:pt x="450" y="94"/>
                    </a:lnTo>
                    <a:lnTo>
                      <a:pt x="456" y="105"/>
                    </a:lnTo>
                    <a:lnTo>
                      <a:pt x="464" y="118"/>
                    </a:lnTo>
                    <a:lnTo>
                      <a:pt x="469" y="137"/>
                    </a:lnTo>
                    <a:lnTo>
                      <a:pt x="475" y="152"/>
                    </a:lnTo>
                    <a:lnTo>
                      <a:pt x="462" y="168"/>
                    </a:lnTo>
                    <a:lnTo>
                      <a:pt x="452" y="192"/>
                    </a:lnTo>
                    <a:lnTo>
                      <a:pt x="440" y="214"/>
                    </a:lnTo>
                    <a:lnTo>
                      <a:pt x="464" y="211"/>
                    </a:lnTo>
                    <a:lnTo>
                      <a:pt x="462" y="231"/>
                    </a:lnTo>
                    <a:lnTo>
                      <a:pt x="462" y="245"/>
                    </a:lnTo>
                    <a:lnTo>
                      <a:pt x="454" y="268"/>
                    </a:lnTo>
                    <a:lnTo>
                      <a:pt x="464" y="270"/>
                    </a:lnTo>
                    <a:lnTo>
                      <a:pt x="470" y="283"/>
                    </a:lnTo>
                    <a:lnTo>
                      <a:pt x="474" y="292"/>
                    </a:lnTo>
                    <a:lnTo>
                      <a:pt x="479" y="306"/>
                    </a:lnTo>
                    <a:lnTo>
                      <a:pt x="483" y="307"/>
                    </a:lnTo>
                    <a:lnTo>
                      <a:pt x="494" y="329"/>
                    </a:lnTo>
                    <a:lnTo>
                      <a:pt x="492" y="351"/>
                    </a:lnTo>
                    <a:lnTo>
                      <a:pt x="480" y="358"/>
                    </a:lnTo>
                    <a:lnTo>
                      <a:pt x="454" y="378"/>
                    </a:lnTo>
                    <a:lnTo>
                      <a:pt x="433" y="392"/>
                    </a:lnTo>
                    <a:lnTo>
                      <a:pt x="426" y="411"/>
                    </a:lnTo>
                    <a:lnTo>
                      <a:pt x="426" y="434"/>
                    </a:lnTo>
                    <a:lnTo>
                      <a:pt x="422" y="452"/>
                    </a:lnTo>
                    <a:lnTo>
                      <a:pt x="415" y="464"/>
                    </a:lnTo>
                    <a:lnTo>
                      <a:pt x="402" y="454"/>
                    </a:lnTo>
                    <a:lnTo>
                      <a:pt x="393" y="447"/>
                    </a:lnTo>
                    <a:lnTo>
                      <a:pt x="378" y="445"/>
                    </a:lnTo>
                    <a:lnTo>
                      <a:pt x="357" y="440"/>
                    </a:lnTo>
                    <a:lnTo>
                      <a:pt x="342" y="440"/>
                    </a:lnTo>
                    <a:lnTo>
                      <a:pt x="333" y="454"/>
                    </a:lnTo>
                    <a:lnTo>
                      <a:pt x="320" y="449"/>
                    </a:lnTo>
                    <a:lnTo>
                      <a:pt x="310" y="444"/>
                    </a:lnTo>
                    <a:lnTo>
                      <a:pt x="291" y="457"/>
                    </a:lnTo>
                    <a:lnTo>
                      <a:pt x="287" y="447"/>
                    </a:lnTo>
                    <a:lnTo>
                      <a:pt x="278" y="435"/>
                    </a:lnTo>
                    <a:lnTo>
                      <a:pt x="267" y="427"/>
                    </a:lnTo>
                    <a:lnTo>
                      <a:pt x="243" y="450"/>
                    </a:lnTo>
                    <a:lnTo>
                      <a:pt x="231" y="432"/>
                    </a:lnTo>
                    <a:lnTo>
                      <a:pt x="232" y="416"/>
                    </a:lnTo>
                    <a:lnTo>
                      <a:pt x="222" y="406"/>
                    </a:lnTo>
                    <a:lnTo>
                      <a:pt x="214" y="397"/>
                    </a:lnTo>
                    <a:lnTo>
                      <a:pt x="193" y="391"/>
                    </a:lnTo>
                    <a:lnTo>
                      <a:pt x="178" y="399"/>
                    </a:lnTo>
                    <a:lnTo>
                      <a:pt x="178" y="387"/>
                    </a:lnTo>
                    <a:lnTo>
                      <a:pt x="177" y="375"/>
                    </a:lnTo>
                    <a:lnTo>
                      <a:pt x="164" y="366"/>
                    </a:lnTo>
                    <a:lnTo>
                      <a:pt x="152" y="360"/>
                    </a:lnTo>
                    <a:lnTo>
                      <a:pt x="144" y="354"/>
                    </a:lnTo>
                    <a:lnTo>
                      <a:pt x="133" y="364"/>
                    </a:lnTo>
                    <a:lnTo>
                      <a:pt x="129" y="375"/>
                    </a:lnTo>
                    <a:lnTo>
                      <a:pt x="121" y="374"/>
                    </a:lnTo>
                    <a:lnTo>
                      <a:pt x="104" y="368"/>
                    </a:lnTo>
                    <a:lnTo>
                      <a:pt x="97" y="361"/>
                    </a:lnTo>
                    <a:lnTo>
                      <a:pt x="104" y="350"/>
                    </a:lnTo>
                    <a:lnTo>
                      <a:pt x="116" y="331"/>
                    </a:lnTo>
                    <a:lnTo>
                      <a:pt x="97" y="329"/>
                    </a:lnTo>
                    <a:lnTo>
                      <a:pt x="91" y="334"/>
                    </a:lnTo>
                    <a:lnTo>
                      <a:pt x="79" y="337"/>
                    </a:lnTo>
                    <a:lnTo>
                      <a:pt x="68" y="326"/>
                    </a:lnTo>
                    <a:lnTo>
                      <a:pt x="52" y="325"/>
                    </a:lnTo>
                    <a:lnTo>
                      <a:pt x="39" y="317"/>
                    </a:lnTo>
                    <a:lnTo>
                      <a:pt x="32" y="308"/>
                    </a:lnTo>
                    <a:lnTo>
                      <a:pt x="35" y="291"/>
                    </a:lnTo>
                    <a:lnTo>
                      <a:pt x="27" y="272"/>
                    </a:lnTo>
                    <a:lnTo>
                      <a:pt x="22" y="248"/>
                    </a:lnTo>
                    <a:lnTo>
                      <a:pt x="18" y="232"/>
                    </a:lnTo>
                    <a:lnTo>
                      <a:pt x="25" y="222"/>
                    </a:lnTo>
                    <a:lnTo>
                      <a:pt x="15" y="198"/>
                    </a:lnTo>
                    <a:lnTo>
                      <a:pt x="5" y="176"/>
                    </a:lnTo>
                    <a:lnTo>
                      <a:pt x="0" y="153"/>
                    </a:lnTo>
                    <a:lnTo>
                      <a:pt x="3" y="136"/>
                    </a:lnTo>
                    <a:lnTo>
                      <a:pt x="12" y="116"/>
                    </a:lnTo>
                    <a:lnTo>
                      <a:pt x="27" y="96"/>
                    </a:lnTo>
                    <a:lnTo>
                      <a:pt x="35" y="98"/>
                    </a:lnTo>
                    <a:close/>
                  </a:path>
                </a:pathLst>
              </a:custGeom>
              <a:solidFill>
                <a:srgbClr val="DCDCDC"/>
              </a:solidFill>
              <a:ln w="0">
                <a:solidFill>
                  <a:srgbClr val="606060"/>
                </a:solidFill>
                <a:prstDash val="solid"/>
                <a:round/>
                <a:headEnd/>
                <a:tailEnd/>
              </a:ln>
            </p:spPr>
            <p:txBody>
              <a:bodyPr/>
              <a:lstStyle/>
              <a:p>
                <a:pPr defTabSz="457189"/>
                <a:endParaRPr lang="fr-FR" dirty="0">
                  <a:solidFill>
                    <a:prstClr val="black"/>
                  </a:solidFill>
                  <a:latin typeface="Arial"/>
                </a:endParaRPr>
              </a:p>
            </p:txBody>
          </p:sp>
          <p:sp>
            <p:nvSpPr>
              <p:cNvPr id="113" name="Freeform 51"/>
              <p:cNvSpPr>
                <a:spLocks noChangeAspect="1"/>
              </p:cNvSpPr>
              <p:nvPr/>
            </p:nvSpPr>
            <p:spPr bwMode="auto">
              <a:xfrm>
                <a:off x="4588065" y="4339770"/>
                <a:ext cx="522889" cy="339939"/>
              </a:xfrm>
              <a:custGeom>
                <a:avLst/>
                <a:gdLst>
                  <a:gd name="T0" fmla="*/ 58 w 356"/>
                  <a:gd name="T1" fmla="*/ 50 h 231"/>
                  <a:gd name="T2" fmla="*/ 57 w 356"/>
                  <a:gd name="T3" fmla="*/ 71 h 231"/>
                  <a:gd name="T4" fmla="*/ 29 w 356"/>
                  <a:gd name="T5" fmla="*/ 73 h 231"/>
                  <a:gd name="T6" fmla="*/ 17 w 356"/>
                  <a:gd name="T7" fmla="*/ 96 h 231"/>
                  <a:gd name="T8" fmla="*/ 34 w 356"/>
                  <a:gd name="T9" fmla="*/ 106 h 231"/>
                  <a:gd name="T10" fmla="*/ 17 w 356"/>
                  <a:gd name="T11" fmla="*/ 135 h 231"/>
                  <a:gd name="T12" fmla="*/ 1 w 356"/>
                  <a:gd name="T13" fmla="*/ 150 h 231"/>
                  <a:gd name="T14" fmla="*/ 6 w 356"/>
                  <a:gd name="T15" fmla="*/ 165 h 231"/>
                  <a:gd name="T16" fmla="*/ 25 w 356"/>
                  <a:gd name="T17" fmla="*/ 180 h 231"/>
                  <a:gd name="T18" fmla="*/ 58 w 356"/>
                  <a:gd name="T19" fmla="*/ 206 h 231"/>
                  <a:gd name="T20" fmla="*/ 78 w 356"/>
                  <a:gd name="T21" fmla="*/ 233 h 231"/>
                  <a:gd name="T22" fmla="*/ 107 w 356"/>
                  <a:gd name="T23" fmla="*/ 262 h 231"/>
                  <a:gd name="T24" fmla="*/ 151 w 356"/>
                  <a:gd name="T25" fmla="*/ 273 h 231"/>
                  <a:gd name="T26" fmla="*/ 187 w 356"/>
                  <a:gd name="T27" fmla="*/ 263 h 231"/>
                  <a:gd name="T28" fmla="*/ 223 w 356"/>
                  <a:gd name="T29" fmla="*/ 249 h 231"/>
                  <a:gd name="T30" fmla="*/ 250 w 356"/>
                  <a:gd name="T31" fmla="*/ 226 h 231"/>
                  <a:gd name="T32" fmla="*/ 278 w 356"/>
                  <a:gd name="T33" fmla="*/ 237 h 231"/>
                  <a:gd name="T34" fmla="*/ 310 w 356"/>
                  <a:gd name="T35" fmla="*/ 210 h 231"/>
                  <a:gd name="T36" fmla="*/ 337 w 356"/>
                  <a:gd name="T37" fmla="*/ 157 h 231"/>
                  <a:gd name="T38" fmla="*/ 381 w 356"/>
                  <a:gd name="T39" fmla="*/ 98 h 231"/>
                  <a:gd name="T40" fmla="*/ 410 w 356"/>
                  <a:gd name="T41" fmla="*/ 71 h 231"/>
                  <a:gd name="T42" fmla="*/ 411 w 356"/>
                  <a:gd name="T43" fmla="*/ 49 h 231"/>
                  <a:gd name="T44" fmla="*/ 389 w 356"/>
                  <a:gd name="T45" fmla="*/ 17 h 231"/>
                  <a:gd name="T46" fmla="*/ 371 w 356"/>
                  <a:gd name="T47" fmla="*/ 14 h 231"/>
                  <a:gd name="T48" fmla="*/ 335 w 356"/>
                  <a:gd name="T49" fmla="*/ 8 h 231"/>
                  <a:gd name="T50" fmla="*/ 310 w 356"/>
                  <a:gd name="T51" fmla="*/ 0 h 231"/>
                  <a:gd name="T52" fmla="*/ 288 w 356"/>
                  <a:gd name="T53" fmla="*/ 6 h 231"/>
                  <a:gd name="T54" fmla="*/ 264 w 356"/>
                  <a:gd name="T55" fmla="*/ 43 h 231"/>
                  <a:gd name="T56" fmla="*/ 231 w 356"/>
                  <a:gd name="T57" fmla="*/ 49 h 231"/>
                  <a:gd name="T58" fmla="*/ 213 w 356"/>
                  <a:gd name="T59" fmla="*/ 67 h 231"/>
                  <a:gd name="T60" fmla="*/ 191 w 356"/>
                  <a:gd name="T61" fmla="*/ 61 h 231"/>
                  <a:gd name="T62" fmla="*/ 181 w 356"/>
                  <a:gd name="T63" fmla="*/ 80 h 231"/>
                  <a:gd name="T64" fmla="*/ 132 w 356"/>
                  <a:gd name="T65" fmla="*/ 76 h 231"/>
                  <a:gd name="T66" fmla="*/ 96 w 356"/>
                  <a:gd name="T67" fmla="*/ 75 h 231"/>
                  <a:gd name="T68" fmla="*/ 77 w 356"/>
                  <a:gd name="T69" fmla="*/ 51 h 2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6"/>
                  <a:gd name="T106" fmla="*/ 0 h 231"/>
                  <a:gd name="T107" fmla="*/ 356 w 356"/>
                  <a:gd name="T108" fmla="*/ 231 h 2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6" h="231">
                    <a:moveTo>
                      <a:pt x="58" y="39"/>
                    </a:moveTo>
                    <a:lnTo>
                      <a:pt x="49" y="42"/>
                    </a:lnTo>
                    <a:lnTo>
                      <a:pt x="49" y="53"/>
                    </a:lnTo>
                    <a:lnTo>
                      <a:pt x="48" y="60"/>
                    </a:lnTo>
                    <a:lnTo>
                      <a:pt x="36" y="61"/>
                    </a:lnTo>
                    <a:lnTo>
                      <a:pt x="24" y="61"/>
                    </a:lnTo>
                    <a:lnTo>
                      <a:pt x="14" y="66"/>
                    </a:lnTo>
                    <a:lnTo>
                      <a:pt x="14" y="81"/>
                    </a:lnTo>
                    <a:lnTo>
                      <a:pt x="19" y="86"/>
                    </a:lnTo>
                    <a:lnTo>
                      <a:pt x="29" y="89"/>
                    </a:lnTo>
                    <a:lnTo>
                      <a:pt x="23" y="99"/>
                    </a:lnTo>
                    <a:lnTo>
                      <a:pt x="14" y="113"/>
                    </a:lnTo>
                    <a:lnTo>
                      <a:pt x="8" y="121"/>
                    </a:lnTo>
                    <a:lnTo>
                      <a:pt x="1" y="126"/>
                    </a:lnTo>
                    <a:lnTo>
                      <a:pt x="0" y="134"/>
                    </a:lnTo>
                    <a:lnTo>
                      <a:pt x="5" y="139"/>
                    </a:lnTo>
                    <a:lnTo>
                      <a:pt x="11" y="145"/>
                    </a:lnTo>
                    <a:lnTo>
                      <a:pt x="21" y="151"/>
                    </a:lnTo>
                    <a:lnTo>
                      <a:pt x="28" y="158"/>
                    </a:lnTo>
                    <a:lnTo>
                      <a:pt x="49" y="173"/>
                    </a:lnTo>
                    <a:lnTo>
                      <a:pt x="59" y="182"/>
                    </a:lnTo>
                    <a:lnTo>
                      <a:pt x="66" y="196"/>
                    </a:lnTo>
                    <a:lnTo>
                      <a:pt x="78" y="211"/>
                    </a:lnTo>
                    <a:lnTo>
                      <a:pt x="90" y="220"/>
                    </a:lnTo>
                    <a:lnTo>
                      <a:pt x="101" y="231"/>
                    </a:lnTo>
                    <a:lnTo>
                      <a:pt x="127" y="229"/>
                    </a:lnTo>
                    <a:lnTo>
                      <a:pt x="139" y="218"/>
                    </a:lnTo>
                    <a:lnTo>
                      <a:pt x="157" y="221"/>
                    </a:lnTo>
                    <a:lnTo>
                      <a:pt x="173" y="216"/>
                    </a:lnTo>
                    <a:lnTo>
                      <a:pt x="188" y="209"/>
                    </a:lnTo>
                    <a:lnTo>
                      <a:pt x="196" y="200"/>
                    </a:lnTo>
                    <a:lnTo>
                      <a:pt x="210" y="190"/>
                    </a:lnTo>
                    <a:lnTo>
                      <a:pt x="222" y="197"/>
                    </a:lnTo>
                    <a:lnTo>
                      <a:pt x="234" y="199"/>
                    </a:lnTo>
                    <a:lnTo>
                      <a:pt x="251" y="190"/>
                    </a:lnTo>
                    <a:lnTo>
                      <a:pt x="261" y="176"/>
                    </a:lnTo>
                    <a:lnTo>
                      <a:pt x="275" y="151"/>
                    </a:lnTo>
                    <a:lnTo>
                      <a:pt x="284" y="132"/>
                    </a:lnTo>
                    <a:lnTo>
                      <a:pt x="299" y="103"/>
                    </a:lnTo>
                    <a:lnTo>
                      <a:pt x="321" y="82"/>
                    </a:lnTo>
                    <a:lnTo>
                      <a:pt x="331" y="68"/>
                    </a:lnTo>
                    <a:lnTo>
                      <a:pt x="345" y="60"/>
                    </a:lnTo>
                    <a:lnTo>
                      <a:pt x="356" y="46"/>
                    </a:lnTo>
                    <a:lnTo>
                      <a:pt x="346" y="41"/>
                    </a:lnTo>
                    <a:lnTo>
                      <a:pt x="335" y="30"/>
                    </a:lnTo>
                    <a:lnTo>
                      <a:pt x="327" y="14"/>
                    </a:lnTo>
                    <a:lnTo>
                      <a:pt x="320" y="7"/>
                    </a:lnTo>
                    <a:lnTo>
                      <a:pt x="312" y="12"/>
                    </a:lnTo>
                    <a:lnTo>
                      <a:pt x="297" y="14"/>
                    </a:lnTo>
                    <a:lnTo>
                      <a:pt x="282" y="7"/>
                    </a:lnTo>
                    <a:lnTo>
                      <a:pt x="273" y="0"/>
                    </a:lnTo>
                    <a:lnTo>
                      <a:pt x="261" y="0"/>
                    </a:lnTo>
                    <a:lnTo>
                      <a:pt x="251" y="4"/>
                    </a:lnTo>
                    <a:lnTo>
                      <a:pt x="242" y="5"/>
                    </a:lnTo>
                    <a:lnTo>
                      <a:pt x="234" y="21"/>
                    </a:lnTo>
                    <a:lnTo>
                      <a:pt x="222" y="36"/>
                    </a:lnTo>
                    <a:lnTo>
                      <a:pt x="206" y="36"/>
                    </a:lnTo>
                    <a:lnTo>
                      <a:pt x="194" y="41"/>
                    </a:lnTo>
                    <a:lnTo>
                      <a:pt x="183" y="42"/>
                    </a:lnTo>
                    <a:lnTo>
                      <a:pt x="179" y="56"/>
                    </a:lnTo>
                    <a:lnTo>
                      <a:pt x="172" y="52"/>
                    </a:lnTo>
                    <a:lnTo>
                      <a:pt x="161" y="51"/>
                    </a:lnTo>
                    <a:lnTo>
                      <a:pt x="157" y="61"/>
                    </a:lnTo>
                    <a:lnTo>
                      <a:pt x="152" y="67"/>
                    </a:lnTo>
                    <a:lnTo>
                      <a:pt x="134" y="62"/>
                    </a:lnTo>
                    <a:lnTo>
                      <a:pt x="111" y="64"/>
                    </a:lnTo>
                    <a:lnTo>
                      <a:pt x="94" y="66"/>
                    </a:lnTo>
                    <a:lnTo>
                      <a:pt x="81" y="63"/>
                    </a:lnTo>
                    <a:lnTo>
                      <a:pt x="75" y="52"/>
                    </a:lnTo>
                    <a:lnTo>
                      <a:pt x="65" y="43"/>
                    </a:lnTo>
                    <a:lnTo>
                      <a:pt x="58" y="39"/>
                    </a:lnTo>
                    <a:close/>
                  </a:path>
                </a:pathLst>
              </a:custGeom>
              <a:noFill/>
              <a:ln w="0">
                <a:solidFill>
                  <a:srgbClr val="606060"/>
                </a:solidFill>
                <a:prstDash val="solid"/>
                <a:round/>
                <a:headEnd/>
                <a:tailEnd/>
              </a:ln>
            </p:spPr>
            <p:txBody>
              <a:bodyPr/>
              <a:lstStyle/>
              <a:p>
                <a:pPr defTabSz="457189"/>
                <a:endParaRPr lang="fr-FR" dirty="0">
                  <a:solidFill>
                    <a:prstClr val="black"/>
                  </a:solidFill>
                  <a:latin typeface="Arial"/>
                </a:endParaRPr>
              </a:p>
            </p:txBody>
          </p:sp>
        </p:grpSp>
        <p:sp>
          <p:nvSpPr>
            <p:cNvPr id="66" name="Rectangle 65"/>
            <p:cNvSpPr/>
            <p:nvPr/>
          </p:nvSpPr>
          <p:spPr>
            <a:xfrm>
              <a:off x="4415175" y="2176895"/>
              <a:ext cx="1723259" cy="20806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FR">
                <a:solidFill>
                  <a:prstClr val="white"/>
                </a:solidFill>
                <a:latin typeface="Arial"/>
              </a:endParaRPr>
            </a:p>
          </p:txBody>
        </p:sp>
      </p:grpSp>
      <p:sp>
        <p:nvSpPr>
          <p:cNvPr id="129" name="Rectangle 128"/>
          <p:cNvSpPr/>
          <p:nvPr/>
        </p:nvSpPr>
        <p:spPr>
          <a:xfrm>
            <a:off x="5216742" y="374488"/>
            <a:ext cx="3428820" cy="769441"/>
          </a:xfrm>
          <a:prstGeom prst="rect">
            <a:avLst/>
          </a:prstGeom>
          <a:solidFill>
            <a:schemeClr val="bg1"/>
          </a:solidFill>
        </p:spPr>
        <p:txBody>
          <a:bodyPr wrap="square">
            <a:spAutoFit/>
          </a:bodyPr>
          <a:lstStyle/>
          <a:p>
            <a:pPr algn="ctr" defTabSz="457189"/>
            <a:r>
              <a:rPr lang="fr-FR" sz="1100" b="1" dirty="0">
                <a:solidFill>
                  <a:prstClr val="black"/>
                </a:solidFill>
                <a:latin typeface="Arial"/>
              </a:rPr>
              <a:t>A </a:t>
            </a:r>
            <a:r>
              <a:rPr lang="fr-FR" sz="1100" b="1" dirty="0" err="1">
                <a:solidFill>
                  <a:prstClr val="black"/>
                </a:solidFill>
                <a:latin typeface="Arial"/>
              </a:rPr>
              <a:t>presence</a:t>
            </a:r>
            <a:r>
              <a:rPr lang="fr-FR" sz="1100" b="1" dirty="0">
                <a:solidFill>
                  <a:prstClr val="black"/>
                </a:solidFill>
                <a:latin typeface="Arial"/>
              </a:rPr>
              <a:t> in </a:t>
            </a:r>
            <a:r>
              <a:rPr lang="fr-FR" sz="1100" b="1" dirty="0">
                <a:solidFill>
                  <a:srgbClr val="006A4E"/>
                </a:solidFill>
                <a:latin typeface="Arial"/>
              </a:rPr>
              <a:t>22 countries</a:t>
            </a:r>
          </a:p>
          <a:p>
            <a:pPr algn="ctr" defTabSz="457189"/>
            <a:r>
              <a:rPr lang="fr-FR" sz="1100" b="1" dirty="0">
                <a:solidFill>
                  <a:prstClr val="black"/>
                </a:solidFill>
                <a:latin typeface="Arial"/>
              </a:rPr>
              <a:t>35% of </a:t>
            </a:r>
            <a:r>
              <a:rPr lang="fr-FR" sz="1100" b="1" dirty="0" err="1">
                <a:solidFill>
                  <a:prstClr val="black"/>
                </a:solidFill>
                <a:latin typeface="Arial"/>
              </a:rPr>
              <a:t>managed</a:t>
            </a:r>
            <a:r>
              <a:rPr lang="fr-FR" sz="1100" b="1" dirty="0">
                <a:solidFill>
                  <a:prstClr val="black"/>
                </a:solidFill>
                <a:latin typeface="Arial"/>
              </a:rPr>
              <a:t> </a:t>
            </a:r>
            <a:r>
              <a:rPr lang="fr-FR" sz="1100" b="1" dirty="0" err="1">
                <a:solidFill>
                  <a:prstClr val="black"/>
                </a:solidFill>
                <a:latin typeface="Arial"/>
              </a:rPr>
              <a:t>outstandings</a:t>
            </a:r>
            <a:r>
              <a:rPr lang="fr-FR" sz="1100" b="1" dirty="0">
                <a:solidFill>
                  <a:prstClr val="black"/>
                </a:solidFill>
                <a:latin typeface="Arial"/>
              </a:rPr>
              <a:t> are </a:t>
            </a:r>
            <a:r>
              <a:rPr lang="fr-FR" sz="1100" b="1" dirty="0" err="1">
                <a:solidFill>
                  <a:prstClr val="black"/>
                </a:solidFill>
                <a:latin typeface="Arial"/>
              </a:rPr>
              <a:t>located</a:t>
            </a:r>
            <a:r>
              <a:rPr lang="fr-FR" sz="1100" b="1" dirty="0">
                <a:solidFill>
                  <a:prstClr val="black"/>
                </a:solidFill>
                <a:latin typeface="Arial"/>
              </a:rPr>
              <a:t> in France, 16% in </a:t>
            </a:r>
            <a:r>
              <a:rPr lang="fr-FR" sz="1100" b="1" dirty="0" err="1">
                <a:solidFill>
                  <a:prstClr val="black"/>
                </a:solidFill>
                <a:latin typeface="Arial"/>
              </a:rPr>
              <a:t>Italy</a:t>
            </a:r>
            <a:endParaRPr lang="fr-FR" sz="1100" b="1" dirty="0">
              <a:solidFill>
                <a:prstClr val="black"/>
              </a:solidFill>
              <a:latin typeface="Arial"/>
            </a:endParaRPr>
          </a:p>
          <a:p>
            <a:pPr algn="ctr" defTabSz="457189"/>
            <a:r>
              <a:rPr lang="fr-FR" sz="1100" b="1" dirty="0">
                <a:solidFill>
                  <a:prstClr val="black"/>
                </a:solidFill>
                <a:latin typeface="Arial"/>
              </a:rPr>
              <a:t>and 49% in the </a:t>
            </a:r>
            <a:r>
              <a:rPr lang="fr-FR" sz="1100" b="1" dirty="0" err="1">
                <a:solidFill>
                  <a:prstClr val="black"/>
                </a:solidFill>
                <a:latin typeface="Arial"/>
              </a:rPr>
              <a:t>remaining</a:t>
            </a:r>
            <a:r>
              <a:rPr lang="fr-FR" sz="1100" b="1" dirty="0">
                <a:solidFill>
                  <a:prstClr val="black"/>
                </a:solidFill>
                <a:latin typeface="Arial"/>
              </a:rPr>
              <a:t> countries</a:t>
            </a:r>
          </a:p>
        </p:txBody>
      </p:sp>
      <p:cxnSp>
        <p:nvCxnSpPr>
          <p:cNvPr id="56" name="Straight Connector 1115"/>
          <p:cNvCxnSpPr>
            <a:endCxn id="68" idx="3"/>
          </p:cNvCxnSpPr>
          <p:nvPr/>
        </p:nvCxnSpPr>
        <p:spPr>
          <a:xfrm>
            <a:off x="2826164" y="1451366"/>
            <a:ext cx="8327" cy="967785"/>
          </a:xfrm>
          <a:prstGeom prst="line">
            <a:avLst/>
          </a:prstGeom>
          <a:noFill/>
          <a:ln w="12700" cap="flat" cmpd="sng" algn="ctr">
            <a:solidFill>
              <a:srgbClr val="4D4D4D"/>
            </a:solidFill>
            <a:prstDash val="solid"/>
          </a:ln>
          <a:effectLst/>
        </p:spPr>
      </p:cxnSp>
      <p:sp>
        <p:nvSpPr>
          <p:cNvPr id="130" name="Rectangle 129"/>
          <p:cNvSpPr/>
          <p:nvPr/>
        </p:nvSpPr>
        <p:spPr>
          <a:xfrm>
            <a:off x="6727538" y="2081900"/>
            <a:ext cx="1611938" cy="376763"/>
          </a:xfrm>
          <a:prstGeom prst="rect">
            <a:avLst/>
          </a:prstGeom>
          <a:noFill/>
          <a:ln w="9525" cap="flat" cmpd="sng" algn="ctr">
            <a:noFill/>
            <a:prstDash val="solid"/>
          </a:ln>
          <a:effectLst/>
        </p:spPr>
        <p:txBody>
          <a:bodyPr lIns="0" tIns="54000" rIns="0" bIns="68579" rtlCol="0" anchor="ctr" anchorCtr="0"/>
          <a:lstStyle/>
          <a:p>
            <a:pPr algn="ctr" defTabSz="685783">
              <a:defRPr/>
            </a:pPr>
            <a:r>
              <a:rPr lang="fr-FR" sz="1100" b="1" kern="0" dirty="0">
                <a:solidFill>
                  <a:srgbClr val="1AAEB7"/>
                </a:solidFill>
                <a:latin typeface="Avenir Next LT Pro"/>
                <a:cs typeface="Arial" pitchFamily="34" charset="0"/>
              </a:rPr>
              <a:t>2 auto joint-ventures</a:t>
            </a:r>
          </a:p>
        </p:txBody>
      </p:sp>
      <p:cxnSp>
        <p:nvCxnSpPr>
          <p:cNvPr id="131" name="Connecteur droit 127"/>
          <p:cNvCxnSpPr/>
          <p:nvPr/>
        </p:nvCxnSpPr>
        <p:spPr>
          <a:xfrm>
            <a:off x="7068623" y="3193878"/>
            <a:ext cx="823317" cy="0"/>
          </a:xfrm>
          <a:prstGeom prst="line">
            <a:avLst/>
          </a:prstGeom>
          <a:noFill/>
          <a:ln w="9525" cap="flat" cmpd="sng" algn="ctr">
            <a:solidFill>
              <a:schemeClr val="bg1">
                <a:lumMod val="75000"/>
              </a:schemeClr>
            </a:solidFill>
            <a:prstDash val="solid"/>
            <a:tailEnd type="none" w="lg" len="lg"/>
          </a:ln>
          <a:effectLst/>
        </p:spPr>
      </p:cxnSp>
      <p:sp>
        <p:nvSpPr>
          <p:cNvPr id="133" name="Text Box 34"/>
          <p:cNvSpPr txBox="1">
            <a:spLocks noChangeArrowheads="1"/>
          </p:cNvSpPr>
          <p:nvPr/>
        </p:nvSpPr>
        <p:spPr bwMode="auto">
          <a:xfrm>
            <a:off x="6188480" y="1587342"/>
            <a:ext cx="249218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tabLst>
                <a:tab pos="809625" algn="l"/>
              </a:tabLst>
              <a:defRPr sz="3200">
                <a:solidFill>
                  <a:schemeClr val="tx1"/>
                </a:solidFill>
                <a:latin typeface="Calibri" pitchFamily="34" charset="0"/>
              </a:defRPr>
            </a:lvl1pPr>
            <a:lvl2pPr marL="742950" indent="-285750" eaLnBrk="0" hangingPunct="0">
              <a:spcBef>
                <a:spcPct val="20000"/>
              </a:spcBef>
              <a:buFont typeface="Arial" charset="0"/>
              <a:buChar char="–"/>
              <a:tabLst>
                <a:tab pos="809625" algn="l"/>
              </a:tabLst>
              <a:defRPr sz="2800">
                <a:solidFill>
                  <a:schemeClr val="tx1"/>
                </a:solidFill>
                <a:latin typeface="Calibri" pitchFamily="34" charset="0"/>
              </a:defRPr>
            </a:lvl2pPr>
            <a:lvl3pPr marL="1143000" indent="-228600" eaLnBrk="0" hangingPunct="0">
              <a:spcBef>
                <a:spcPct val="20000"/>
              </a:spcBef>
              <a:buFont typeface="Arial" charset="0"/>
              <a:buChar char="•"/>
              <a:tabLst>
                <a:tab pos="809625" algn="l"/>
              </a:tabLst>
              <a:defRPr sz="2400">
                <a:solidFill>
                  <a:schemeClr val="tx1"/>
                </a:solidFill>
                <a:latin typeface="Calibri" pitchFamily="34" charset="0"/>
              </a:defRPr>
            </a:lvl3pPr>
            <a:lvl4pPr marL="1600200" indent="-228600" eaLnBrk="0" hangingPunct="0">
              <a:spcBef>
                <a:spcPct val="20000"/>
              </a:spcBef>
              <a:buFont typeface="Arial" charset="0"/>
              <a:buChar char="–"/>
              <a:tabLst>
                <a:tab pos="809625" algn="l"/>
              </a:tabLst>
              <a:defRPr sz="2000">
                <a:solidFill>
                  <a:schemeClr val="tx1"/>
                </a:solidFill>
                <a:latin typeface="Calibri" pitchFamily="34" charset="0"/>
              </a:defRPr>
            </a:lvl4pPr>
            <a:lvl5pPr marL="2057400" indent="-228600" eaLnBrk="0" hangingPunct="0">
              <a:spcBef>
                <a:spcPct val="20000"/>
              </a:spcBef>
              <a:buFont typeface="Arial" charset="0"/>
              <a:buChar char="»"/>
              <a:tabLst>
                <a:tab pos="809625" algn="l"/>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809625" algn="l"/>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809625" algn="l"/>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809625" algn="l"/>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809625" algn="l"/>
              </a:tabLst>
              <a:defRPr sz="2000">
                <a:solidFill>
                  <a:schemeClr val="tx1"/>
                </a:solidFill>
                <a:latin typeface="Calibri" pitchFamily="34" charset="0"/>
              </a:defRPr>
            </a:lvl9pPr>
          </a:lstStyle>
          <a:p>
            <a:pPr algn="ctr" defTabSz="457189" eaLnBrk="1" hangingPunct="1">
              <a:spcBef>
                <a:spcPct val="0"/>
              </a:spcBef>
              <a:buNone/>
              <a:tabLst>
                <a:tab pos="809605" algn="l"/>
              </a:tabLst>
            </a:pPr>
            <a:r>
              <a:rPr lang="en-US" altLang="fr-FR" sz="900" dirty="0">
                <a:solidFill>
                  <a:srgbClr val="000000"/>
                </a:solidFill>
                <a:latin typeface="Avenir Next LT Pro"/>
                <a:ea typeface="ＭＳ Ｐゴシック" pitchFamily="34" charset="-128"/>
                <a:cs typeface="Arial" pitchFamily="34" charset="0"/>
              </a:rPr>
              <a:t>27.5€b</a:t>
            </a:r>
          </a:p>
          <a:p>
            <a:pPr algn="ctr" defTabSz="457189" eaLnBrk="1" hangingPunct="1">
              <a:spcBef>
                <a:spcPct val="0"/>
              </a:spcBef>
              <a:buNone/>
              <a:tabLst>
                <a:tab pos="809605" algn="l"/>
              </a:tabLst>
            </a:pPr>
            <a:r>
              <a:rPr lang="fr-FR" altLang="fr-FR" sz="900" dirty="0">
                <a:solidFill>
                  <a:srgbClr val="000000"/>
                </a:solidFill>
                <a:latin typeface="Avenir Next LT Pro"/>
                <a:ea typeface="ＭＳ Ｐゴシック" pitchFamily="34" charset="-128"/>
                <a:cs typeface="Arial" pitchFamily="34" charset="0"/>
              </a:rPr>
              <a:t>17 countries in Europe and Morocco</a:t>
            </a:r>
            <a:endParaRPr lang="en-US" altLang="fr-FR" sz="900" dirty="0">
              <a:solidFill>
                <a:srgbClr val="000000"/>
              </a:solidFill>
              <a:latin typeface="Avenir Next LT Pro"/>
              <a:ea typeface="ＭＳ Ｐゴシック" pitchFamily="34" charset="-128"/>
              <a:cs typeface="Arial" pitchFamily="34" charset="0"/>
            </a:endParaRPr>
          </a:p>
        </p:txBody>
      </p:sp>
      <p:sp>
        <p:nvSpPr>
          <p:cNvPr id="134" name="Text Box 44"/>
          <p:cNvSpPr txBox="1">
            <a:spLocks noChangeArrowheads="1"/>
          </p:cNvSpPr>
          <p:nvPr/>
        </p:nvSpPr>
        <p:spPr bwMode="auto">
          <a:xfrm>
            <a:off x="6489378" y="3579400"/>
            <a:ext cx="210621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tabLst>
                <a:tab pos="714375" algn="l"/>
                <a:tab pos="809625" algn="l"/>
              </a:tabLst>
              <a:defRPr sz="3200">
                <a:solidFill>
                  <a:schemeClr val="tx1"/>
                </a:solidFill>
                <a:latin typeface="Calibri" pitchFamily="34" charset="0"/>
              </a:defRPr>
            </a:lvl1pPr>
            <a:lvl2pPr marL="742950" indent="-285750" eaLnBrk="0" hangingPunct="0">
              <a:spcBef>
                <a:spcPct val="20000"/>
              </a:spcBef>
              <a:buFont typeface="Arial" charset="0"/>
              <a:buChar char="–"/>
              <a:tabLst>
                <a:tab pos="714375" algn="l"/>
                <a:tab pos="809625" algn="l"/>
              </a:tabLst>
              <a:defRPr sz="2800">
                <a:solidFill>
                  <a:schemeClr val="tx1"/>
                </a:solidFill>
                <a:latin typeface="Calibri" pitchFamily="34" charset="0"/>
              </a:defRPr>
            </a:lvl2pPr>
            <a:lvl3pPr marL="1143000" indent="-228600" eaLnBrk="0" hangingPunct="0">
              <a:spcBef>
                <a:spcPct val="20000"/>
              </a:spcBef>
              <a:buFont typeface="Arial" charset="0"/>
              <a:buChar char="•"/>
              <a:tabLst>
                <a:tab pos="714375" algn="l"/>
                <a:tab pos="809625" algn="l"/>
              </a:tabLst>
              <a:defRPr sz="2400">
                <a:solidFill>
                  <a:schemeClr val="tx1"/>
                </a:solidFill>
                <a:latin typeface="Calibri" pitchFamily="34" charset="0"/>
              </a:defRPr>
            </a:lvl3pPr>
            <a:lvl4pPr marL="1600200" indent="-228600" eaLnBrk="0" hangingPunct="0">
              <a:spcBef>
                <a:spcPct val="20000"/>
              </a:spcBef>
              <a:buFont typeface="Arial" charset="0"/>
              <a:buChar char="–"/>
              <a:tabLst>
                <a:tab pos="714375" algn="l"/>
                <a:tab pos="809625" algn="l"/>
              </a:tabLst>
              <a:defRPr sz="2000">
                <a:solidFill>
                  <a:schemeClr val="tx1"/>
                </a:solidFill>
                <a:latin typeface="Calibri" pitchFamily="34" charset="0"/>
              </a:defRPr>
            </a:lvl4pPr>
            <a:lvl5pPr marL="2057400" indent="-228600" eaLnBrk="0" hangingPunct="0">
              <a:spcBef>
                <a:spcPct val="20000"/>
              </a:spcBef>
              <a:buFont typeface="Arial" charset="0"/>
              <a:buChar char="»"/>
              <a:tabLst>
                <a:tab pos="714375" algn="l"/>
                <a:tab pos="809625" algn="l"/>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714375" algn="l"/>
                <a:tab pos="809625" algn="l"/>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714375" algn="l"/>
                <a:tab pos="809625" algn="l"/>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714375" algn="l"/>
                <a:tab pos="809625" algn="l"/>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714375" algn="l"/>
                <a:tab pos="809625" algn="l"/>
              </a:tabLst>
              <a:defRPr sz="2000">
                <a:solidFill>
                  <a:schemeClr val="tx1"/>
                </a:solidFill>
                <a:latin typeface="Calibri" pitchFamily="34" charset="0"/>
              </a:defRPr>
            </a:lvl9pPr>
          </a:lstStyle>
          <a:p>
            <a:pPr algn="ctr" defTabSz="457189" eaLnBrk="1" hangingPunct="1">
              <a:spcBef>
                <a:spcPct val="0"/>
              </a:spcBef>
              <a:buNone/>
              <a:tabLst>
                <a:tab pos="714357" algn="l"/>
                <a:tab pos="809605" algn="l"/>
              </a:tabLst>
            </a:pPr>
            <a:r>
              <a:rPr lang="en-US" altLang="fr-FR" sz="900" dirty="0">
                <a:solidFill>
                  <a:srgbClr val="000000"/>
                </a:solidFill>
                <a:latin typeface="Avenir Next LT Pro"/>
                <a:ea typeface="ＭＳ Ｐゴシック" pitchFamily="34" charset="-128"/>
                <a:cs typeface="Arial" pitchFamily="34" charset="0"/>
              </a:rPr>
              <a:t>50% CA CF / 50% Guangzhou Automobile Group Co. Ltd</a:t>
            </a:r>
          </a:p>
          <a:p>
            <a:pPr algn="ctr" defTabSz="457189" eaLnBrk="1" hangingPunct="1">
              <a:spcBef>
                <a:spcPct val="0"/>
              </a:spcBef>
              <a:buNone/>
              <a:tabLst>
                <a:tab pos="714357" algn="l"/>
                <a:tab pos="809605" algn="l"/>
              </a:tabLst>
            </a:pPr>
            <a:r>
              <a:rPr lang="en-US" altLang="fr-FR" sz="900" dirty="0">
                <a:solidFill>
                  <a:srgbClr val="000000"/>
                </a:solidFill>
                <a:latin typeface="Avenir Next LT Pro"/>
                <a:ea typeface="ＭＳ Ｐゴシック" pitchFamily="34" charset="-128"/>
                <a:cs typeface="Arial" pitchFamily="34" charset="0"/>
              </a:rPr>
              <a:t>9.7€b in China</a:t>
            </a:r>
          </a:p>
        </p:txBody>
      </p:sp>
      <p:pic>
        <p:nvPicPr>
          <p:cNvPr id="135"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778255" y="3355070"/>
            <a:ext cx="1166337" cy="185262"/>
          </a:xfrm>
          <a:prstGeom prst="rect">
            <a:avLst/>
          </a:prstGeom>
          <a:noFill/>
          <a:extLst>
            <a:ext uri="{909E8E84-426E-40DD-AFC4-6F175D3DCCD1}">
              <a14:hiddenFill xmlns:a14="http://schemas.microsoft.com/office/drawing/2010/main">
                <a:solidFill>
                  <a:srgbClr val="FFFFFF"/>
                </a:solidFill>
              </a14:hiddenFill>
            </a:ext>
          </a:extLst>
        </p:spPr>
      </p:pic>
      <p:sp>
        <p:nvSpPr>
          <p:cNvPr id="136" name="Freeform 32"/>
          <p:cNvSpPr>
            <a:spLocks/>
          </p:cNvSpPr>
          <p:nvPr/>
        </p:nvSpPr>
        <p:spPr bwMode="auto">
          <a:xfrm>
            <a:off x="4419849" y="2054432"/>
            <a:ext cx="1653509" cy="1145009"/>
          </a:xfrm>
          <a:custGeom>
            <a:avLst/>
            <a:gdLst>
              <a:gd name="T0" fmla="*/ 1766158 w 20000"/>
              <a:gd name="T1" fmla="*/ 2200617 h 20000"/>
              <a:gd name="T2" fmla="*/ 2162919 w 20000"/>
              <a:gd name="T3" fmla="*/ 2075467 h 20000"/>
              <a:gd name="T4" fmla="*/ 2322235 w 20000"/>
              <a:gd name="T5" fmla="*/ 2006906 h 20000"/>
              <a:gd name="T6" fmla="*/ 2460689 w 20000"/>
              <a:gd name="T7" fmla="*/ 1747233 h 20000"/>
              <a:gd name="T8" fmla="*/ 2445408 w 20000"/>
              <a:gd name="T9" fmla="*/ 1524381 h 20000"/>
              <a:gd name="T10" fmla="*/ 2453647 w 20000"/>
              <a:gd name="T11" fmla="*/ 1447575 h 20000"/>
              <a:gd name="T12" fmla="*/ 2385084 w 20000"/>
              <a:gd name="T13" fmla="*/ 1322539 h 20000"/>
              <a:gd name="T14" fmla="*/ 2330473 w 20000"/>
              <a:gd name="T15" fmla="*/ 1187901 h 20000"/>
              <a:gd name="T16" fmla="*/ 2315325 w 20000"/>
              <a:gd name="T17" fmla="*/ 1043776 h 20000"/>
              <a:gd name="T18" fmla="*/ 2154681 w 20000"/>
              <a:gd name="T19" fmla="*/ 1033611 h 20000"/>
              <a:gd name="T20" fmla="*/ 2330473 w 20000"/>
              <a:gd name="T21" fmla="*/ 840014 h 20000"/>
              <a:gd name="T22" fmla="*/ 2460689 w 20000"/>
              <a:gd name="T23" fmla="*/ 782183 h 20000"/>
              <a:gd name="T24" fmla="*/ 2557820 w 20000"/>
              <a:gd name="T25" fmla="*/ 686288 h 20000"/>
              <a:gd name="T26" fmla="*/ 2606053 w 20000"/>
              <a:gd name="T27" fmla="*/ 627892 h 20000"/>
              <a:gd name="T28" fmla="*/ 2621333 w 20000"/>
              <a:gd name="T29" fmla="*/ 385387 h 20000"/>
              <a:gd name="T30" fmla="*/ 2628243 w 20000"/>
              <a:gd name="T31" fmla="*/ 126956 h 20000"/>
              <a:gd name="T32" fmla="*/ 2453647 w 20000"/>
              <a:gd name="T33" fmla="*/ 162536 h 20000"/>
              <a:gd name="T34" fmla="*/ 2139400 w 20000"/>
              <a:gd name="T35" fmla="*/ 29254 h 20000"/>
              <a:gd name="T36" fmla="*/ 1978224 w 20000"/>
              <a:gd name="T37" fmla="*/ 76806 h 20000"/>
              <a:gd name="T38" fmla="*/ 1987127 w 20000"/>
              <a:gd name="T39" fmla="*/ 289492 h 20000"/>
              <a:gd name="T40" fmla="*/ 1910193 w 20000"/>
              <a:gd name="T41" fmla="*/ 434860 h 20000"/>
              <a:gd name="T42" fmla="*/ 2117210 w 20000"/>
              <a:gd name="T43" fmla="*/ 453271 h 20000"/>
              <a:gd name="T44" fmla="*/ 1978224 w 20000"/>
              <a:gd name="T45" fmla="*/ 549166 h 20000"/>
              <a:gd name="T46" fmla="*/ 1894381 w 20000"/>
              <a:gd name="T47" fmla="*/ 657147 h 20000"/>
              <a:gd name="T48" fmla="*/ 1834721 w 20000"/>
              <a:gd name="T49" fmla="*/ 742876 h 20000"/>
              <a:gd name="T50" fmla="*/ 1568043 w 20000"/>
              <a:gd name="T51" fmla="*/ 896489 h 20000"/>
              <a:gd name="T52" fmla="*/ 1347738 w 20000"/>
              <a:gd name="T53" fmla="*/ 886323 h 20000"/>
              <a:gd name="T54" fmla="*/ 1058339 w 20000"/>
              <a:gd name="T55" fmla="*/ 800594 h 20000"/>
              <a:gd name="T56" fmla="*/ 875505 w 20000"/>
              <a:gd name="T57" fmla="*/ 666070 h 20000"/>
              <a:gd name="T58" fmla="*/ 754191 w 20000"/>
              <a:gd name="T59" fmla="*/ 464114 h 20000"/>
              <a:gd name="T60" fmla="*/ 624108 w 20000"/>
              <a:gd name="T61" fmla="*/ 559331 h 20000"/>
              <a:gd name="T62" fmla="*/ 472366 w 20000"/>
              <a:gd name="T63" fmla="*/ 753042 h 20000"/>
              <a:gd name="T64" fmla="*/ 280629 w 20000"/>
              <a:gd name="T65" fmla="*/ 925743 h 20000"/>
              <a:gd name="T66" fmla="*/ 128223 w 20000"/>
              <a:gd name="T67" fmla="*/ 984139 h 20000"/>
              <a:gd name="T68" fmla="*/ 0 w 20000"/>
              <a:gd name="T69" fmla="*/ 1004470 h 20000"/>
              <a:gd name="T70" fmla="*/ 251397 w 20000"/>
              <a:gd name="T71" fmla="*/ 1293962 h 20000"/>
              <a:gd name="T72" fmla="*/ 196786 w 20000"/>
              <a:gd name="T73" fmla="*/ 1429164 h 20000"/>
              <a:gd name="T74" fmla="*/ 150413 w 20000"/>
              <a:gd name="T75" fmla="*/ 1582777 h 20000"/>
              <a:gd name="T76" fmla="*/ 311722 w 20000"/>
              <a:gd name="T77" fmla="*/ 1659696 h 20000"/>
              <a:gd name="T78" fmla="*/ 463464 w 20000"/>
              <a:gd name="T79" fmla="*/ 1824152 h 20000"/>
              <a:gd name="T80" fmla="*/ 959216 w 20000"/>
              <a:gd name="T81" fmla="*/ 1872382 h 20000"/>
              <a:gd name="T82" fmla="*/ 1082390 w 20000"/>
              <a:gd name="T83" fmla="*/ 1747233 h 20000"/>
              <a:gd name="T84" fmla="*/ 1126902 w 20000"/>
              <a:gd name="T85" fmla="*/ 1843128 h 20000"/>
              <a:gd name="T86" fmla="*/ 1270273 w 20000"/>
              <a:gd name="T87" fmla="*/ 1911689 h 20000"/>
              <a:gd name="T88" fmla="*/ 1217655 w 20000"/>
              <a:gd name="T89" fmla="*/ 2104721 h 20000"/>
              <a:gd name="T90" fmla="*/ 1338836 w 20000"/>
              <a:gd name="T91" fmla="*/ 2183448 h 20000"/>
              <a:gd name="T92" fmla="*/ 1451911 w 20000"/>
              <a:gd name="T93" fmla="*/ 2259012 h 20000"/>
              <a:gd name="T94" fmla="*/ 1530573 w 20000"/>
              <a:gd name="T95" fmla="*/ 2173282 h 20000"/>
              <a:gd name="T96" fmla="*/ 1674076 w 20000"/>
              <a:gd name="T97" fmla="*/ 2096476 h 2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000"/>
              <a:gd name="T148" fmla="*/ 0 h 20000"/>
              <a:gd name="T149" fmla="*/ 20000 w 20000"/>
              <a:gd name="T150" fmla="*/ 20000 h 2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000" h="20000">
                <a:moveTo>
                  <a:pt x="12599" y="18561"/>
                </a:moveTo>
                <a:lnTo>
                  <a:pt x="13115" y="18983"/>
                </a:lnTo>
                <a:lnTo>
                  <a:pt x="13292" y="19483"/>
                </a:lnTo>
                <a:lnTo>
                  <a:pt x="14955" y="19651"/>
                </a:lnTo>
                <a:lnTo>
                  <a:pt x="16101" y="19061"/>
                </a:lnTo>
                <a:lnTo>
                  <a:pt x="16278" y="18375"/>
                </a:lnTo>
                <a:lnTo>
                  <a:pt x="16794" y="18454"/>
                </a:lnTo>
                <a:lnTo>
                  <a:pt x="17425" y="18117"/>
                </a:lnTo>
                <a:lnTo>
                  <a:pt x="17477" y="17768"/>
                </a:lnTo>
                <a:lnTo>
                  <a:pt x="17993" y="17364"/>
                </a:lnTo>
                <a:lnTo>
                  <a:pt x="18519" y="16076"/>
                </a:lnTo>
                <a:lnTo>
                  <a:pt x="18519" y="15469"/>
                </a:lnTo>
                <a:lnTo>
                  <a:pt x="18739" y="15391"/>
                </a:lnTo>
                <a:lnTo>
                  <a:pt x="19035" y="13423"/>
                </a:lnTo>
                <a:lnTo>
                  <a:pt x="18404" y="13496"/>
                </a:lnTo>
                <a:lnTo>
                  <a:pt x="18801" y="13075"/>
                </a:lnTo>
                <a:lnTo>
                  <a:pt x="18853" y="12816"/>
                </a:lnTo>
                <a:lnTo>
                  <a:pt x="18466" y="12816"/>
                </a:lnTo>
                <a:lnTo>
                  <a:pt x="18581" y="12485"/>
                </a:lnTo>
                <a:lnTo>
                  <a:pt x="18686" y="12395"/>
                </a:lnTo>
                <a:lnTo>
                  <a:pt x="17950" y="11709"/>
                </a:lnTo>
                <a:lnTo>
                  <a:pt x="17539" y="11119"/>
                </a:lnTo>
                <a:lnTo>
                  <a:pt x="17143" y="11119"/>
                </a:lnTo>
                <a:lnTo>
                  <a:pt x="17539" y="10517"/>
                </a:lnTo>
                <a:lnTo>
                  <a:pt x="17592" y="9820"/>
                </a:lnTo>
                <a:lnTo>
                  <a:pt x="18285" y="9410"/>
                </a:lnTo>
                <a:lnTo>
                  <a:pt x="17425" y="9241"/>
                </a:lnTo>
                <a:lnTo>
                  <a:pt x="17076" y="9910"/>
                </a:lnTo>
                <a:lnTo>
                  <a:pt x="16689" y="9483"/>
                </a:lnTo>
                <a:lnTo>
                  <a:pt x="16216" y="9151"/>
                </a:lnTo>
                <a:lnTo>
                  <a:pt x="16847" y="8713"/>
                </a:lnTo>
                <a:lnTo>
                  <a:pt x="17258" y="7437"/>
                </a:lnTo>
                <a:lnTo>
                  <a:pt x="17539" y="7437"/>
                </a:lnTo>
                <a:lnTo>
                  <a:pt x="17592" y="8544"/>
                </a:lnTo>
                <a:lnTo>
                  <a:pt x="18519" y="7605"/>
                </a:lnTo>
                <a:lnTo>
                  <a:pt x="18519" y="6925"/>
                </a:lnTo>
                <a:lnTo>
                  <a:pt x="18853" y="6318"/>
                </a:lnTo>
                <a:lnTo>
                  <a:pt x="18853" y="6076"/>
                </a:lnTo>
                <a:lnTo>
                  <a:pt x="19250" y="6076"/>
                </a:lnTo>
                <a:lnTo>
                  <a:pt x="19250" y="5818"/>
                </a:lnTo>
                <a:lnTo>
                  <a:pt x="19317" y="5559"/>
                </a:lnTo>
                <a:lnTo>
                  <a:pt x="19613" y="5559"/>
                </a:lnTo>
                <a:lnTo>
                  <a:pt x="19881" y="4362"/>
                </a:lnTo>
                <a:lnTo>
                  <a:pt x="19666" y="4109"/>
                </a:lnTo>
                <a:lnTo>
                  <a:pt x="19728" y="3412"/>
                </a:lnTo>
                <a:lnTo>
                  <a:pt x="20000" y="3333"/>
                </a:lnTo>
                <a:lnTo>
                  <a:pt x="19947" y="1276"/>
                </a:lnTo>
                <a:lnTo>
                  <a:pt x="19780" y="1124"/>
                </a:lnTo>
                <a:lnTo>
                  <a:pt x="19317" y="1956"/>
                </a:lnTo>
                <a:lnTo>
                  <a:pt x="19035" y="2046"/>
                </a:lnTo>
                <a:lnTo>
                  <a:pt x="18466" y="1439"/>
                </a:lnTo>
                <a:lnTo>
                  <a:pt x="17592" y="1439"/>
                </a:lnTo>
                <a:lnTo>
                  <a:pt x="16331" y="0"/>
                </a:lnTo>
                <a:lnTo>
                  <a:pt x="16101" y="259"/>
                </a:lnTo>
                <a:lnTo>
                  <a:pt x="15767" y="0"/>
                </a:lnTo>
                <a:lnTo>
                  <a:pt x="15404" y="79"/>
                </a:lnTo>
                <a:lnTo>
                  <a:pt x="14888" y="680"/>
                </a:lnTo>
                <a:lnTo>
                  <a:pt x="15184" y="1029"/>
                </a:lnTo>
                <a:lnTo>
                  <a:pt x="15184" y="2305"/>
                </a:lnTo>
                <a:lnTo>
                  <a:pt x="14955" y="2563"/>
                </a:lnTo>
                <a:lnTo>
                  <a:pt x="14840" y="2805"/>
                </a:lnTo>
                <a:lnTo>
                  <a:pt x="14439" y="2895"/>
                </a:lnTo>
                <a:lnTo>
                  <a:pt x="14376" y="3850"/>
                </a:lnTo>
                <a:lnTo>
                  <a:pt x="15069" y="3924"/>
                </a:lnTo>
                <a:lnTo>
                  <a:pt x="15136" y="3592"/>
                </a:lnTo>
                <a:lnTo>
                  <a:pt x="15934" y="4013"/>
                </a:lnTo>
                <a:lnTo>
                  <a:pt x="15518" y="4362"/>
                </a:lnTo>
                <a:lnTo>
                  <a:pt x="15184" y="4458"/>
                </a:lnTo>
                <a:lnTo>
                  <a:pt x="14888" y="4862"/>
                </a:lnTo>
                <a:lnTo>
                  <a:pt x="14735" y="5301"/>
                </a:lnTo>
                <a:lnTo>
                  <a:pt x="14324" y="5469"/>
                </a:lnTo>
                <a:lnTo>
                  <a:pt x="14257" y="5818"/>
                </a:lnTo>
                <a:lnTo>
                  <a:pt x="13473" y="5897"/>
                </a:lnTo>
                <a:lnTo>
                  <a:pt x="13473" y="6318"/>
                </a:lnTo>
                <a:lnTo>
                  <a:pt x="13808" y="6577"/>
                </a:lnTo>
                <a:lnTo>
                  <a:pt x="13244" y="7088"/>
                </a:lnTo>
                <a:lnTo>
                  <a:pt x="13115" y="7605"/>
                </a:lnTo>
                <a:lnTo>
                  <a:pt x="11801" y="7937"/>
                </a:lnTo>
                <a:lnTo>
                  <a:pt x="11452" y="8381"/>
                </a:lnTo>
                <a:lnTo>
                  <a:pt x="10540" y="8196"/>
                </a:lnTo>
                <a:lnTo>
                  <a:pt x="10143" y="7847"/>
                </a:lnTo>
                <a:lnTo>
                  <a:pt x="9560" y="8106"/>
                </a:lnTo>
                <a:lnTo>
                  <a:pt x="8481" y="8106"/>
                </a:lnTo>
                <a:lnTo>
                  <a:pt x="7965" y="7088"/>
                </a:lnTo>
                <a:lnTo>
                  <a:pt x="7272" y="6667"/>
                </a:lnTo>
                <a:lnTo>
                  <a:pt x="6307" y="6577"/>
                </a:lnTo>
                <a:lnTo>
                  <a:pt x="6589" y="5897"/>
                </a:lnTo>
                <a:lnTo>
                  <a:pt x="6374" y="5031"/>
                </a:lnTo>
                <a:lnTo>
                  <a:pt x="5729" y="4772"/>
                </a:lnTo>
                <a:lnTo>
                  <a:pt x="5676" y="4109"/>
                </a:lnTo>
                <a:lnTo>
                  <a:pt x="5265" y="4458"/>
                </a:lnTo>
                <a:lnTo>
                  <a:pt x="5160" y="4862"/>
                </a:lnTo>
                <a:lnTo>
                  <a:pt x="4697" y="4952"/>
                </a:lnTo>
                <a:lnTo>
                  <a:pt x="4467" y="5638"/>
                </a:lnTo>
                <a:lnTo>
                  <a:pt x="3899" y="5211"/>
                </a:lnTo>
                <a:lnTo>
                  <a:pt x="3555" y="6667"/>
                </a:lnTo>
                <a:lnTo>
                  <a:pt x="3039" y="6318"/>
                </a:lnTo>
                <a:lnTo>
                  <a:pt x="2680" y="7937"/>
                </a:lnTo>
                <a:lnTo>
                  <a:pt x="2112" y="8196"/>
                </a:lnTo>
                <a:lnTo>
                  <a:pt x="1892" y="8381"/>
                </a:lnTo>
                <a:lnTo>
                  <a:pt x="1132" y="8381"/>
                </a:lnTo>
                <a:lnTo>
                  <a:pt x="965" y="8713"/>
                </a:lnTo>
                <a:lnTo>
                  <a:pt x="683" y="8544"/>
                </a:lnTo>
                <a:lnTo>
                  <a:pt x="387" y="8544"/>
                </a:lnTo>
                <a:lnTo>
                  <a:pt x="0" y="8893"/>
                </a:lnTo>
                <a:lnTo>
                  <a:pt x="334" y="10422"/>
                </a:lnTo>
                <a:lnTo>
                  <a:pt x="1018" y="11529"/>
                </a:lnTo>
                <a:lnTo>
                  <a:pt x="1892" y="11456"/>
                </a:lnTo>
                <a:lnTo>
                  <a:pt x="2164" y="11877"/>
                </a:lnTo>
                <a:lnTo>
                  <a:pt x="1648" y="12653"/>
                </a:lnTo>
                <a:lnTo>
                  <a:pt x="1481" y="12653"/>
                </a:lnTo>
                <a:lnTo>
                  <a:pt x="1715" y="13243"/>
                </a:lnTo>
                <a:lnTo>
                  <a:pt x="1085" y="13496"/>
                </a:lnTo>
                <a:lnTo>
                  <a:pt x="1132" y="14013"/>
                </a:lnTo>
                <a:lnTo>
                  <a:pt x="1715" y="14289"/>
                </a:lnTo>
                <a:lnTo>
                  <a:pt x="2050" y="14694"/>
                </a:lnTo>
                <a:lnTo>
                  <a:pt x="2346" y="14694"/>
                </a:lnTo>
                <a:lnTo>
                  <a:pt x="3039" y="15391"/>
                </a:lnTo>
                <a:lnTo>
                  <a:pt x="3373" y="15301"/>
                </a:lnTo>
                <a:lnTo>
                  <a:pt x="3488" y="16150"/>
                </a:lnTo>
                <a:lnTo>
                  <a:pt x="5896" y="16481"/>
                </a:lnTo>
                <a:lnTo>
                  <a:pt x="6421" y="16757"/>
                </a:lnTo>
                <a:lnTo>
                  <a:pt x="7219" y="16577"/>
                </a:lnTo>
                <a:lnTo>
                  <a:pt x="7453" y="16318"/>
                </a:lnTo>
                <a:lnTo>
                  <a:pt x="7683" y="16150"/>
                </a:lnTo>
                <a:lnTo>
                  <a:pt x="8146" y="15469"/>
                </a:lnTo>
                <a:lnTo>
                  <a:pt x="8146" y="15981"/>
                </a:lnTo>
                <a:lnTo>
                  <a:pt x="8380" y="15981"/>
                </a:lnTo>
                <a:lnTo>
                  <a:pt x="8481" y="16318"/>
                </a:lnTo>
                <a:lnTo>
                  <a:pt x="9111" y="16228"/>
                </a:lnTo>
                <a:lnTo>
                  <a:pt x="9293" y="16481"/>
                </a:lnTo>
                <a:lnTo>
                  <a:pt x="9560" y="16925"/>
                </a:lnTo>
                <a:lnTo>
                  <a:pt x="9627" y="17622"/>
                </a:lnTo>
                <a:lnTo>
                  <a:pt x="9111" y="18117"/>
                </a:lnTo>
                <a:lnTo>
                  <a:pt x="9164" y="18634"/>
                </a:lnTo>
                <a:lnTo>
                  <a:pt x="9560" y="18634"/>
                </a:lnTo>
                <a:lnTo>
                  <a:pt x="9627" y="19061"/>
                </a:lnTo>
                <a:lnTo>
                  <a:pt x="10076" y="19331"/>
                </a:lnTo>
                <a:lnTo>
                  <a:pt x="9909" y="19741"/>
                </a:lnTo>
                <a:lnTo>
                  <a:pt x="10258" y="19904"/>
                </a:lnTo>
                <a:lnTo>
                  <a:pt x="10927" y="20000"/>
                </a:lnTo>
                <a:lnTo>
                  <a:pt x="11056" y="19651"/>
                </a:lnTo>
                <a:lnTo>
                  <a:pt x="11338" y="19556"/>
                </a:lnTo>
                <a:lnTo>
                  <a:pt x="11519" y="19241"/>
                </a:lnTo>
                <a:lnTo>
                  <a:pt x="11687" y="19410"/>
                </a:lnTo>
                <a:lnTo>
                  <a:pt x="12432" y="18893"/>
                </a:lnTo>
                <a:lnTo>
                  <a:pt x="12599" y="18561"/>
                </a:lnTo>
                <a:close/>
              </a:path>
            </a:pathLst>
          </a:custGeom>
          <a:solidFill>
            <a:srgbClr val="DCDCDC"/>
          </a:solidFill>
          <a:ln w="0" cap="flat">
            <a:solidFill>
              <a:srgbClr val="606060"/>
            </a:solidFill>
            <a:prstDash val="solid"/>
            <a:round/>
            <a:headEnd type="none" w="med" len="med"/>
            <a:tailEnd type="none" w="med" len="med"/>
          </a:ln>
        </p:spPr>
        <p:txBody>
          <a:bodyPr/>
          <a:lstStyle/>
          <a:p>
            <a:pPr defTabSz="457189"/>
            <a:endParaRPr lang="fr-FR" dirty="0">
              <a:solidFill>
                <a:prstClr val="black"/>
              </a:solidFill>
              <a:latin typeface="Arial"/>
            </a:endParaRPr>
          </a:p>
        </p:txBody>
      </p:sp>
      <p:pic>
        <p:nvPicPr>
          <p:cNvPr id="137" name="Picture 108" descr="Afficher l'image d'origine"/>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5185" y="1082319"/>
            <a:ext cx="179345" cy="17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Text Box 28"/>
          <p:cNvSpPr txBox="1">
            <a:spLocks noChangeArrowheads="1"/>
          </p:cNvSpPr>
          <p:nvPr/>
        </p:nvSpPr>
        <p:spPr bwMode="auto">
          <a:xfrm>
            <a:off x="214963" y="2666429"/>
            <a:ext cx="127501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tabLst>
                <a:tab pos="714375" algn="l"/>
              </a:tabLst>
              <a:defRPr>
                <a:solidFill>
                  <a:schemeClr val="tx1"/>
                </a:solidFill>
                <a:latin typeface="Calibri" pitchFamily="34" charset="0"/>
              </a:defRPr>
            </a:lvl1pPr>
            <a:lvl2pPr marL="742950" indent="-285750" eaLnBrk="0" hangingPunct="0">
              <a:tabLst>
                <a:tab pos="714375" algn="l"/>
              </a:tabLst>
              <a:defRPr>
                <a:solidFill>
                  <a:schemeClr val="tx1"/>
                </a:solidFill>
                <a:latin typeface="Calibri" pitchFamily="34" charset="0"/>
              </a:defRPr>
            </a:lvl2pPr>
            <a:lvl3pPr marL="1143000" indent="-228600" eaLnBrk="0" hangingPunct="0">
              <a:tabLst>
                <a:tab pos="714375" algn="l"/>
              </a:tabLst>
              <a:defRPr>
                <a:solidFill>
                  <a:schemeClr val="tx1"/>
                </a:solidFill>
                <a:latin typeface="Calibri" pitchFamily="34" charset="0"/>
              </a:defRPr>
            </a:lvl3pPr>
            <a:lvl4pPr marL="1600200" indent="-228600" eaLnBrk="0" hangingPunct="0">
              <a:tabLst>
                <a:tab pos="714375" algn="l"/>
              </a:tabLst>
              <a:defRPr>
                <a:solidFill>
                  <a:schemeClr val="tx1"/>
                </a:solidFill>
                <a:latin typeface="Calibri" pitchFamily="34" charset="0"/>
              </a:defRPr>
            </a:lvl4pPr>
            <a:lvl5pPr marL="2057400" indent="-228600" eaLnBrk="0" hangingPunct="0">
              <a:tabLst>
                <a:tab pos="714375" algn="l"/>
              </a:tabLst>
              <a:defRPr>
                <a:solidFill>
                  <a:schemeClr val="tx1"/>
                </a:solidFill>
                <a:latin typeface="Calibri" pitchFamily="34" charset="0"/>
              </a:defRPr>
            </a:lvl5pPr>
            <a:lvl6pPr marL="2514600" indent="-228600" eaLnBrk="0" fontAlgn="base" hangingPunct="0">
              <a:spcBef>
                <a:spcPct val="0"/>
              </a:spcBef>
              <a:spcAft>
                <a:spcPct val="0"/>
              </a:spcAft>
              <a:tabLst>
                <a:tab pos="714375" algn="l"/>
              </a:tabLst>
              <a:defRPr>
                <a:solidFill>
                  <a:schemeClr val="tx1"/>
                </a:solidFill>
                <a:latin typeface="Calibri" pitchFamily="34" charset="0"/>
              </a:defRPr>
            </a:lvl6pPr>
            <a:lvl7pPr marL="2971800" indent="-228600" eaLnBrk="0" fontAlgn="base" hangingPunct="0">
              <a:spcBef>
                <a:spcPct val="0"/>
              </a:spcBef>
              <a:spcAft>
                <a:spcPct val="0"/>
              </a:spcAft>
              <a:tabLst>
                <a:tab pos="714375" algn="l"/>
              </a:tabLst>
              <a:defRPr>
                <a:solidFill>
                  <a:schemeClr val="tx1"/>
                </a:solidFill>
                <a:latin typeface="Calibri" pitchFamily="34" charset="0"/>
              </a:defRPr>
            </a:lvl7pPr>
            <a:lvl8pPr marL="3429000" indent="-228600" eaLnBrk="0" fontAlgn="base" hangingPunct="0">
              <a:spcBef>
                <a:spcPct val="0"/>
              </a:spcBef>
              <a:spcAft>
                <a:spcPct val="0"/>
              </a:spcAft>
              <a:tabLst>
                <a:tab pos="714375" algn="l"/>
              </a:tabLst>
              <a:defRPr>
                <a:solidFill>
                  <a:schemeClr val="tx1"/>
                </a:solidFill>
                <a:latin typeface="Calibri" pitchFamily="34" charset="0"/>
              </a:defRPr>
            </a:lvl8pPr>
            <a:lvl9pPr marL="3886200" indent="-228600" eaLnBrk="0" fontAlgn="base" hangingPunct="0">
              <a:spcBef>
                <a:spcPct val="0"/>
              </a:spcBef>
              <a:spcAft>
                <a:spcPct val="0"/>
              </a:spcAft>
              <a:tabLst>
                <a:tab pos="714375" algn="l"/>
              </a:tabLst>
              <a:defRPr>
                <a:solidFill>
                  <a:schemeClr val="tx1"/>
                </a:solidFill>
                <a:latin typeface="Calibri" pitchFamily="34" charset="0"/>
              </a:defRPr>
            </a:lvl9pPr>
          </a:lstStyle>
          <a:p>
            <a:pPr algn="ctr" defTabSz="685783" eaLnBrk="1" hangingPunct="1">
              <a:tabLst>
                <a:tab pos="535768" algn="l"/>
              </a:tabLst>
              <a:defRPr/>
            </a:pPr>
            <a:r>
              <a:rPr lang="fr-FR" altLang="fr-FR" sz="900" b="1" kern="0" dirty="0">
                <a:solidFill>
                  <a:srgbClr val="000000"/>
                </a:solidFill>
                <a:latin typeface="Avenir Next LT Pro"/>
                <a:ea typeface="ＭＳ Ｐゴシック" pitchFamily="34" charset="-128"/>
                <a:cs typeface="Arial" pitchFamily="34" charset="0"/>
              </a:rPr>
              <a:t>1€b (España)</a:t>
            </a:r>
            <a:endParaRPr lang="en-GB" altLang="fr-FR" sz="900" b="1" kern="0" dirty="0">
              <a:solidFill>
                <a:srgbClr val="000000"/>
              </a:solidFill>
              <a:latin typeface="Avenir Next LT Pro"/>
              <a:ea typeface="ＭＳ Ｐゴシック" pitchFamily="34" charset="-128"/>
              <a:cs typeface="Arial" pitchFamily="34" charset="0"/>
            </a:endParaRPr>
          </a:p>
        </p:txBody>
      </p:sp>
      <p:sp>
        <p:nvSpPr>
          <p:cNvPr id="140" name="Text Box 28"/>
          <p:cNvSpPr txBox="1">
            <a:spLocks noChangeArrowheads="1"/>
          </p:cNvSpPr>
          <p:nvPr/>
        </p:nvSpPr>
        <p:spPr bwMode="auto">
          <a:xfrm>
            <a:off x="268454" y="3511390"/>
            <a:ext cx="127501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tabLst>
                <a:tab pos="714375" algn="l"/>
              </a:tabLst>
              <a:defRPr>
                <a:solidFill>
                  <a:schemeClr val="tx1"/>
                </a:solidFill>
                <a:latin typeface="Calibri" pitchFamily="34" charset="0"/>
              </a:defRPr>
            </a:lvl1pPr>
            <a:lvl2pPr marL="742950" indent="-285750" eaLnBrk="0" hangingPunct="0">
              <a:tabLst>
                <a:tab pos="714375" algn="l"/>
              </a:tabLst>
              <a:defRPr>
                <a:solidFill>
                  <a:schemeClr val="tx1"/>
                </a:solidFill>
                <a:latin typeface="Calibri" pitchFamily="34" charset="0"/>
              </a:defRPr>
            </a:lvl2pPr>
            <a:lvl3pPr marL="1143000" indent="-228600" eaLnBrk="0" hangingPunct="0">
              <a:tabLst>
                <a:tab pos="714375" algn="l"/>
              </a:tabLst>
              <a:defRPr>
                <a:solidFill>
                  <a:schemeClr val="tx1"/>
                </a:solidFill>
                <a:latin typeface="Calibri" pitchFamily="34" charset="0"/>
              </a:defRPr>
            </a:lvl3pPr>
            <a:lvl4pPr marL="1600200" indent="-228600" eaLnBrk="0" hangingPunct="0">
              <a:tabLst>
                <a:tab pos="714375" algn="l"/>
              </a:tabLst>
              <a:defRPr>
                <a:solidFill>
                  <a:schemeClr val="tx1"/>
                </a:solidFill>
                <a:latin typeface="Calibri" pitchFamily="34" charset="0"/>
              </a:defRPr>
            </a:lvl4pPr>
            <a:lvl5pPr marL="2057400" indent="-228600" eaLnBrk="0" hangingPunct="0">
              <a:tabLst>
                <a:tab pos="714375" algn="l"/>
              </a:tabLst>
              <a:defRPr>
                <a:solidFill>
                  <a:schemeClr val="tx1"/>
                </a:solidFill>
                <a:latin typeface="Calibri" pitchFamily="34" charset="0"/>
              </a:defRPr>
            </a:lvl5pPr>
            <a:lvl6pPr marL="2514600" indent="-228600" eaLnBrk="0" fontAlgn="base" hangingPunct="0">
              <a:spcBef>
                <a:spcPct val="0"/>
              </a:spcBef>
              <a:spcAft>
                <a:spcPct val="0"/>
              </a:spcAft>
              <a:tabLst>
                <a:tab pos="714375" algn="l"/>
              </a:tabLst>
              <a:defRPr>
                <a:solidFill>
                  <a:schemeClr val="tx1"/>
                </a:solidFill>
                <a:latin typeface="Calibri" pitchFamily="34" charset="0"/>
              </a:defRPr>
            </a:lvl6pPr>
            <a:lvl7pPr marL="2971800" indent="-228600" eaLnBrk="0" fontAlgn="base" hangingPunct="0">
              <a:spcBef>
                <a:spcPct val="0"/>
              </a:spcBef>
              <a:spcAft>
                <a:spcPct val="0"/>
              </a:spcAft>
              <a:tabLst>
                <a:tab pos="714375" algn="l"/>
              </a:tabLst>
              <a:defRPr>
                <a:solidFill>
                  <a:schemeClr val="tx1"/>
                </a:solidFill>
                <a:latin typeface="Calibri" pitchFamily="34" charset="0"/>
              </a:defRPr>
            </a:lvl7pPr>
            <a:lvl8pPr marL="3429000" indent="-228600" eaLnBrk="0" fontAlgn="base" hangingPunct="0">
              <a:spcBef>
                <a:spcPct val="0"/>
              </a:spcBef>
              <a:spcAft>
                <a:spcPct val="0"/>
              </a:spcAft>
              <a:tabLst>
                <a:tab pos="714375" algn="l"/>
              </a:tabLst>
              <a:defRPr>
                <a:solidFill>
                  <a:schemeClr val="tx1"/>
                </a:solidFill>
                <a:latin typeface="Calibri" pitchFamily="34" charset="0"/>
              </a:defRPr>
            </a:lvl8pPr>
            <a:lvl9pPr marL="3886200" indent="-228600" eaLnBrk="0" fontAlgn="base" hangingPunct="0">
              <a:spcBef>
                <a:spcPct val="0"/>
              </a:spcBef>
              <a:spcAft>
                <a:spcPct val="0"/>
              </a:spcAft>
              <a:tabLst>
                <a:tab pos="714375" algn="l"/>
              </a:tabLst>
              <a:defRPr>
                <a:solidFill>
                  <a:schemeClr val="tx1"/>
                </a:solidFill>
                <a:latin typeface="Calibri" pitchFamily="34" charset="0"/>
              </a:defRPr>
            </a:lvl9pPr>
          </a:lstStyle>
          <a:p>
            <a:pPr algn="ctr" defTabSz="685783" eaLnBrk="1" hangingPunct="1">
              <a:tabLst>
                <a:tab pos="535768" algn="l"/>
              </a:tabLst>
              <a:defRPr/>
            </a:pPr>
            <a:r>
              <a:rPr lang="fr-FR" altLang="fr-FR" sz="900" b="1" kern="0" dirty="0">
                <a:solidFill>
                  <a:srgbClr val="000000"/>
                </a:solidFill>
                <a:latin typeface="Avenir Next LT Pro"/>
                <a:ea typeface="ＭＳ Ｐゴシック" pitchFamily="34" charset="-128"/>
                <a:cs typeface="Arial" pitchFamily="34" charset="0"/>
              </a:rPr>
              <a:t>3.4€b</a:t>
            </a:r>
            <a:endParaRPr lang="en-GB" altLang="fr-FR" sz="900" b="1" kern="0" dirty="0">
              <a:solidFill>
                <a:srgbClr val="000000"/>
              </a:solidFill>
              <a:latin typeface="Avenir Next LT Pro"/>
              <a:ea typeface="ＭＳ Ｐゴシック" pitchFamily="34" charset="-128"/>
              <a:cs typeface="Arial" pitchFamily="34" charset="0"/>
            </a:endParaRPr>
          </a:p>
        </p:txBody>
      </p:sp>
      <p:pic>
        <p:nvPicPr>
          <p:cNvPr id="141" name="Image 135"/>
          <p:cNvPicPr>
            <a:picLocks noChangeAspect="1"/>
          </p:cNvPicPr>
          <p:nvPr/>
        </p:nvPicPr>
        <p:blipFill rotWithShape="1">
          <a:blip r:embed="rId5">
            <a:clrChange>
              <a:clrFrom>
                <a:srgbClr val="FFFFFF"/>
              </a:clrFrom>
              <a:clrTo>
                <a:srgbClr val="FFFFFF">
                  <a:alpha val="0"/>
                </a:srgbClr>
              </a:clrTo>
            </a:clrChange>
          </a:blip>
          <a:srcRect r="61279" b="51050"/>
          <a:stretch/>
        </p:blipFill>
        <p:spPr>
          <a:xfrm>
            <a:off x="309033" y="2367424"/>
            <a:ext cx="1018486" cy="368114"/>
          </a:xfrm>
          <a:prstGeom prst="rect">
            <a:avLst/>
          </a:prstGeom>
        </p:spPr>
      </p:pic>
      <p:sp>
        <p:nvSpPr>
          <p:cNvPr id="142" name="Rectangle 141"/>
          <p:cNvSpPr/>
          <p:nvPr/>
        </p:nvSpPr>
        <p:spPr>
          <a:xfrm>
            <a:off x="4947808" y="3930933"/>
            <a:ext cx="407828" cy="196514"/>
          </a:xfrm>
          <a:prstGeom prst="rect">
            <a:avLst/>
          </a:prstGeom>
          <a:solidFill>
            <a:srgbClr val="1D8C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FR">
              <a:solidFill>
                <a:prstClr val="white"/>
              </a:solidFill>
              <a:latin typeface="Arial"/>
            </a:endParaRPr>
          </a:p>
        </p:txBody>
      </p:sp>
      <p:sp>
        <p:nvSpPr>
          <p:cNvPr id="143" name="Rectangle 142"/>
          <p:cNvSpPr/>
          <p:nvPr/>
        </p:nvSpPr>
        <p:spPr>
          <a:xfrm>
            <a:off x="4949061" y="4231639"/>
            <a:ext cx="407828" cy="196514"/>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FR">
              <a:solidFill>
                <a:prstClr val="white"/>
              </a:solidFill>
              <a:latin typeface="Arial"/>
            </a:endParaRPr>
          </a:p>
        </p:txBody>
      </p:sp>
      <p:sp>
        <p:nvSpPr>
          <p:cNvPr id="144" name="ZoneTexte 7"/>
          <p:cNvSpPr txBox="1"/>
          <p:nvPr/>
        </p:nvSpPr>
        <p:spPr>
          <a:xfrm>
            <a:off x="5400087" y="3944690"/>
            <a:ext cx="2304082" cy="492443"/>
          </a:xfrm>
          <a:prstGeom prst="rect">
            <a:avLst/>
          </a:prstGeom>
          <a:noFill/>
        </p:spPr>
        <p:txBody>
          <a:bodyPr wrap="square" rtlCol="0">
            <a:spAutoFit/>
          </a:bodyPr>
          <a:lstStyle/>
          <a:p>
            <a:pPr defTabSz="457189"/>
            <a:r>
              <a:rPr lang="fr-FR" sz="800" dirty="0">
                <a:solidFill>
                  <a:prstClr val="black"/>
                </a:solidFill>
                <a:latin typeface="Avenir Next LT Pro"/>
              </a:rPr>
              <a:t>Direct </a:t>
            </a:r>
            <a:r>
              <a:rPr lang="fr-FR" sz="800" dirty="0" err="1">
                <a:solidFill>
                  <a:prstClr val="black"/>
                </a:solidFill>
                <a:latin typeface="Avenir Next LT Pro"/>
              </a:rPr>
              <a:t>presence</a:t>
            </a:r>
            <a:endParaRPr lang="fr-FR" sz="800" dirty="0">
              <a:solidFill>
                <a:prstClr val="black"/>
              </a:solidFill>
              <a:latin typeface="Avenir Next LT Pro"/>
            </a:endParaRPr>
          </a:p>
          <a:p>
            <a:pPr defTabSz="457189"/>
            <a:endParaRPr lang="fr-FR" sz="700" dirty="0">
              <a:solidFill>
                <a:prstClr val="black"/>
              </a:solidFill>
              <a:latin typeface="Avenir Next LT Pro"/>
            </a:endParaRPr>
          </a:p>
          <a:p>
            <a:pPr defTabSz="457189"/>
            <a:endParaRPr lang="fr-FR" sz="300" dirty="0">
              <a:solidFill>
                <a:prstClr val="black"/>
              </a:solidFill>
              <a:latin typeface="Avenir Next LT Pro"/>
            </a:endParaRPr>
          </a:p>
          <a:p>
            <a:pPr defTabSz="457189"/>
            <a:r>
              <a:rPr lang="fr-FR" sz="800" dirty="0" err="1">
                <a:solidFill>
                  <a:prstClr val="black"/>
                </a:solidFill>
                <a:latin typeface="Avenir Next LT Pro"/>
              </a:rPr>
              <a:t>Presence</a:t>
            </a:r>
            <a:r>
              <a:rPr lang="fr-FR" sz="800" dirty="0">
                <a:solidFill>
                  <a:prstClr val="black"/>
                </a:solidFill>
                <a:latin typeface="Avenir Next LT Pro"/>
              </a:rPr>
              <a:t> via a joint venture</a:t>
            </a:r>
          </a:p>
        </p:txBody>
      </p:sp>
      <p:sp>
        <p:nvSpPr>
          <p:cNvPr id="138" name="Rectangle 137"/>
          <p:cNvSpPr/>
          <p:nvPr/>
        </p:nvSpPr>
        <p:spPr>
          <a:xfrm>
            <a:off x="331526" y="4846728"/>
            <a:ext cx="7322027" cy="559380"/>
          </a:xfrm>
          <a:prstGeom prst="rect">
            <a:avLst/>
          </a:prstGeom>
        </p:spPr>
        <p:txBody>
          <a:bodyPr wrap="square" lIns="96770" tIns="48385" rIns="96770" bIns="48385">
            <a:spAutoFit/>
          </a:bodyPr>
          <a:lstStyle/>
          <a:p>
            <a:pPr marL="96767" indent="-96767" defTabSz="1019747">
              <a:spcBef>
                <a:spcPct val="0"/>
              </a:spcBef>
              <a:tabLst>
                <a:tab pos="633353" algn="l"/>
              </a:tabLst>
            </a:pPr>
            <a:r>
              <a:rPr lang="en-US" sz="600" baseline="30000" dirty="0">
                <a:solidFill>
                  <a:prstClr val="black"/>
                </a:solidFill>
                <a:latin typeface="Arial"/>
              </a:rPr>
              <a:t>1</a:t>
            </a:r>
            <a:r>
              <a:rPr lang="en-US" sz="600" dirty="0">
                <a:solidFill>
                  <a:prstClr val="black"/>
                </a:solidFill>
                <a:latin typeface="Arial"/>
              </a:rPr>
              <a:t> Data in 2023. </a:t>
            </a:r>
          </a:p>
          <a:p>
            <a:pPr marL="96767" indent="-96767" defTabSz="1019747">
              <a:spcBef>
                <a:spcPct val="0"/>
              </a:spcBef>
              <a:tabLst>
                <a:tab pos="633353" algn="l"/>
              </a:tabLst>
            </a:pPr>
            <a:r>
              <a:rPr lang="en-US" sz="600" dirty="0">
                <a:solidFill>
                  <a:prstClr val="black"/>
                </a:solidFill>
                <a:latin typeface="Arial"/>
              </a:rPr>
              <a:t>CACF Group contains (</a:t>
            </a:r>
            <a:r>
              <a:rPr lang="en-US" sz="600" dirty="0" err="1">
                <a:solidFill>
                  <a:prstClr val="black"/>
                </a:solidFill>
                <a:latin typeface="Arial"/>
              </a:rPr>
              <a:t>i.a.</a:t>
            </a:r>
            <a:r>
              <a:rPr lang="en-US" sz="600" dirty="0">
                <a:solidFill>
                  <a:prstClr val="black"/>
                </a:solidFill>
                <a:latin typeface="Arial"/>
              </a:rPr>
              <a:t>) the following main entities: CACF France (</a:t>
            </a:r>
            <a:r>
              <a:rPr lang="en-US" sz="600" dirty="0" err="1">
                <a:solidFill>
                  <a:prstClr val="black"/>
                </a:solidFill>
                <a:latin typeface="Arial"/>
              </a:rPr>
              <a:t>Sofinco</a:t>
            </a:r>
            <a:r>
              <a:rPr lang="en-US" sz="600" dirty="0">
                <a:solidFill>
                  <a:prstClr val="black"/>
                </a:solidFill>
                <a:latin typeface="Arial"/>
              </a:rPr>
              <a:t>), AGOS, CA Auto Bank auto joint venture, </a:t>
            </a:r>
            <a:r>
              <a:rPr lang="en-US" sz="600" dirty="0" err="1">
                <a:solidFill>
                  <a:prstClr val="black"/>
                </a:solidFill>
                <a:latin typeface="Arial"/>
              </a:rPr>
              <a:t>Sofinco</a:t>
            </a:r>
            <a:r>
              <a:rPr lang="en-US" sz="600" dirty="0">
                <a:solidFill>
                  <a:prstClr val="black"/>
                </a:solidFill>
                <a:latin typeface="Arial"/>
              </a:rPr>
              <a:t> </a:t>
            </a:r>
            <a:r>
              <a:rPr lang="en-US" sz="600" dirty="0" err="1">
                <a:solidFill>
                  <a:prstClr val="black"/>
                </a:solidFill>
                <a:latin typeface="Arial"/>
              </a:rPr>
              <a:t>España</a:t>
            </a:r>
            <a:r>
              <a:rPr lang="en-US" sz="600" dirty="0">
                <a:solidFill>
                  <a:prstClr val="black"/>
                </a:solidFill>
                <a:latin typeface="Arial"/>
              </a:rPr>
              <a:t>, </a:t>
            </a:r>
            <a:r>
              <a:rPr lang="en-US" sz="600" dirty="0" err="1">
                <a:solidFill>
                  <a:prstClr val="black"/>
                </a:solidFill>
                <a:latin typeface="Arial"/>
              </a:rPr>
              <a:t>CreditPlus</a:t>
            </a:r>
            <a:r>
              <a:rPr lang="en-US" sz="600" dirty="0">
                <a:solidFill>
                  <a:prstClr val="black"/>
                </a:solidFill>
                <a:latin typeface="Arial"/>
              </a:rPr>
              <a:t>, CACF NL, </a:t>
            </a:r>
            <a:r>
              <a:rPr lang="en-US" sz="600" dirty="0" err="1">
                <a:solidFill>
                  <a:prstClr val="black"/>
                </a:solidFill>
                <a:latin typeface="Arial"/>
              </a:rPr>
              <a:t>Credibom</a:t>
            </a:r>
            <a:r>
              <a:rPr lang="en-US" sz="600" dirty="0">
                <a:solidFill>
                  <a:prstClr val="black"/>
                </a:solidFill>
                <a:latin typeface="Arial"/>
              </a:rPr>
              <a:t>, </a:t>
            </a:r>
            <a:r>
              <a:rPr lang="en-US" sz="600" dirty="0" err="1">
                <a:solidFill>
                  <a:prstClr val="black"/>
                </a:solidFill>
                <a:latin typeface="Arial"/>
              </a:rPr>
              <a:t>Wafasalaf</a:t>
            </a:r>
            <a:r>
              <a:rPr lang="en-US" sz="600" dirty="0">
                <a:solidFill>
                  <a:prstClr val="black"/>
                </a:solidFill>
                <a:latin typeface="Arial"/>
              </a:rPr>
              <a:t>, GAC </a:t>
            </a:r>
            <a:r>
              <a:rPr lang="en-US" sz="600" dirty="0" err="1">
                <a:solidFill>
                  <a:prstClr val="black"/>
                </a:solidFill>
                <a:latin typeface="Arial"/>
              </a:rPr>
              <a:t>Sofinco</a:t>
            </a:r>
            <a:r>
              <a:rPr lang="en-US" sz="600" dirty="0">
                <a:solidFill>
                  <a:prstClr val="black"/>
                </a:solidFill>
                <a:latin typeface="Arial"/>
              </a:rPr>
              <a:t> auto joint venture</a:t>
            </a:r>
          </a:p>
          <a:p>
            <a:pPr marL="96767" indent="-96767" defTabSz="1019747">
              <a:spcBef>
                <a:spcPct val="0"/>
              </a:spcBef>
              <a:tabLst>
                <a:tab pos="633353" algn="l"/>
              </a:tabLst>
            </a:pPr>
            <a:endParaRPr lang="en-US" sz="600" dirty="0">
              <a:solidFill>
                <a:prstClr val="black"/>
              </a:solidFill>
              <a:latin typeface="Arial"/>
            </a:endParaRPr>
          </a:p>
          <a:p>
            <a:pPr marL="96767" indent="-96767" defTabSz="1019747">
              <a:spcBef>
                <a:spcPct val="0"/>
              </a:spcBef>
              <a:tabLst>
                <a:tab pos="633353" algn="l"/>
              </a:tabLst>
            </a:pPr>
            <a:endParaRPr lang="en-US" sz="600" dirty="0">
              <a:solidFill>
                <a:prstClr val="black"/>
              </a:solidFill>
              <a:latin typeface="Arial"/>
            </a:endParaRPr>
          </a:p>
        </p:txBody>
      </p:sp>
      <p:sp>
        <p:nvSpPr>
          <p:cNvPr id="145" name="Slide Number Placeholder 3"/>
          <p:cNvSpPr>
            <a:spLocks noGrp="1"/>
          </p:cNvSpPr>
          <p:nvPr>
            <p:ph type="sldNum" sz="quarter" idx="19"/>
          </p:nvPr>
        </p:nvSpPr>
        <p:spPr>
          <a:xfrm>
            <a:off x="8607765" y="4846820"/>
            <a:ext cx="525046" cy="304373"/>
          </a:xfrm>
        </p:spPr>
        <p:txBody>
          <a:bodyPr/>
          <a:lstStyle/>
          <a:p>
            <a:fld id="{98BD2159-827C-4021-9B0E-DCD852BEB59E}" type="slidenum">
              <a:rPr lang="en-GB" smtClean="0"/>
              <a:pPr/>
              <a:t>7</a:t>
            </a:fld>
            <a:endParaRPr lang="en-GB" dirty="0"/>
          </a:p>
        </p:txBody>
      </p:sp>
      <p:pic>
        <p:nvPicPr>
          <p:cNvPr id="3" name="Image 2">
            <a:extLst>
              <a:ext uri="{FF2B5EF4-FFF2-40B4-BE49-F238E27FC236}">
                <a16:creationId xmlns:a16="http://schemas.microsoft.com/office/drawing/2014/main" id="{03869D02-DED3-4396-BA6B-7F91450EC937}"/>
              </a:ext>
            </a:extLst>
          </p:cNvPr>
          <p:cNvPicPr>
            <a:picLocks noChangeAspect="1"/>
          </p:cNvPicPr>
          <p:nvPr/>
        </p:nvPicPr>
        <p:blipFill>
          <a:blip r:embed="rId12"/>
          <a:stretch>
            <a:fillRect/>
          </a:stretch>
        </p:blipFill>
        <p:spPr>
          <a:xfrm>
            <a:off x="7005786" y="1320577"/>
            <a:ext cx="1122697" cy="198959"/>
          </a:xfrm>
          <a:prstGeom prst="rect">
            <a:avLst/>
          </a:prstGeom>
        </p:spPr>
      </p:pic>
      <p:pic>
        <p:nvPicPr>
          <p:cNvPr id="4" name="Image 3">
            <a:extLst>
              <a:ext uri="{FF2B5EF4-FFF2-40B4-BE49-F238E27FC236}">
                <a16:creationId xmlns:a16="http://schemas.microsoft.com/office/drawing/2014/main" id="{0DE28436-8326-45A6-BD82-431A29EEB12B}"/>
              </a:ext>
            </a:extLst>
          </p:cNvPr>
          <p:cNvPicPr>
            <a:picLocks noChangeAspect="1"/>
          </p:cNvPicPr>
          <p:nvPr/>
        </p:nvPicPr>
        <p:blipFill>
          <a:blip r:embed="rId13"/>
          <a:stretch>
            <a:fillRect/>
          </a:stretch>
        </p:blipFill>
        <p:spPr>
          <a:xfrm>
            <a:off x="7068623" y="2482055"/>
            <a:ext cx="823318" cy="138956"/>
          </a:xfrm>
          <a:prstGeom prst="rect">
            <a:avLst/>
          </a:prstGeom>
        </p:spPr>
      </p:pic>
      <p:sp>
        <p:nvSpPr>
          <p:cNvPr id="5" name="ZoneTexte 4">
            <a:extLst>
              <a:ext uri="{FF2B5EF4-FFF2-40B4-BE49-F238E27FC236}">
                <a16:creationId xmlns:a16="http://schemas.microsoft.com/office/drawing/2014/main" id="{CFBC7663-C596-4D87-A9E5-5BA3C8FDA919}"/>
              </a:ext>
            </a:extLst>
          </p:cNvPr>
          <p:cNvSpPr txBox="1"/>
          <p:nvPr/>
        </p:nvSpPr>
        <p:spPr>
          <a:xfrm>
            <a:off x="6643777" y="2737704"/>
            <a:ext cx="18715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defTabSz="457189">
              <a:spcBef>
                <a:spcPct val="0"/>
              </a:spcBef>
              <a:buFont typeface="Arial" charset="0"/>
              <a:buNone/>
              <a:tabLst>
                <a:tab pos="714357" algn="l"/>
                <a:tab pos="809605" algn="l"/>
              </a:tabLst>
              <a:defRPr sz="900">
                <a:solidFill>
                  <a:srgbClr val="000000"/>
                </a:solidFill>
                <a:latin typeface="Avenir Next LT Pro"/>
                <a:ea typeface="ＭＳ Ｐゴシック" pitchFamily="34" charset="-128"/>
                <a:cs typeface="Arial" pitchFamily="34" charset="0"/>
              </a:defRPr>
            </a:lvl1pPr>
            <a:lvl2pPr marL="742950" indent="-285750" eaLnBrk="0" hangingPunct="0">
              <a:spcBef>
                <a:spcPct val="20000"/>
              </a:spcBef>
              <a:buFont typeface="Arial" charset="0"/>
              <a:buChar char="–"/>
              <a:tabLst>
                <a:tab pos="714375" algn="l"/>
                <a:tab pos="809625" algn="l"/>
              </a:tabLst>
              <a:defRPr sz="2800">
                <a:latin typeface="Calibri" pitchFamily="34" charset="0"/>
              </a:defRPr>
            </a:lvl2pPr>
            <a:lvl3pPr marL="1143000" indent="-228600" eaLnBrk="0" hangingPunct="0">
              <a:spcBef>
                <a:spcPct val="20000"/>
              </a:spcBef>
              <a:buFont typeface="Arial" charset="0"/>
              <a:buChar char="•"/>
              <a:tabLst>
                <a:tab pos="714375" algn="l"/>
                <a:tab pos="809625" algn="l"/>
              </a:tabLst>
              <a:defRPr sz="2400">
                <a:latin typeface="Calibri" pitchFamily="34" charset="0"/>
              </a:defRPr>
            </a:lvl3pPr>
            <a:lvl4pPr marL="1600200" indent="-228600" eaLnBrk="0" hangingPunct="0">
              <a:spcBef>
                <a:spcPct val="20000"/>
              </a:spcBef>
              <a:buFont typeface="Arial" charset="0"/>
              <a:buChar char="–"/>
              <a:tabLst>
                <a:tab pos="714375" algn="l"/>
                <a:tab pos="809625" algn="l"/>
              </a:tabLst>
              <a:defRPr sz="2000">
                <a:latin typeface="Calibri" pitchFamily="34" charset="0"/>
              </a:defRPr>
            </a:lvl4pPr>
            <a:lvl5pPr marL="2057400" indent="-228600" eaLnBrk="0" hangingPunct="0">
              <a:spcBef>
                <a:spcPct val="20000"/>
              </a:spcBef>
              <a:buFont typeface="Arial" charset="0"/>
              <a:buChar char="»"/>
              <a:tabLst>
                <a:tab pos="714375" algn="l"/>
                <a:tab pos="809625" algn="l"/>
              </a:tabLst>
              <a:defRPr sz="2000">
                <a:latin typeface="Calibri" pitchFamily="34" charset="0"/>
              </a:defRPr>
            </a:lvl5pPr>
            <a:lvl6pPr marL="2514600" indent="-228600" eaLnBrk="0" fontAlgn="base" hangingPunct="0">
              <a:spcBef>
                <a:spcPct val="20000"/>
              </a:spcBef>
              <a:spcAft>
                <a:spcPct val="0"/>
              </a:spcAft>
              <a:buFont typeface="Arial" charset="0"/>
              <a:buChar char="»"/>
              <a:tabLst>
                <a:tab pos="714375" algn="l"/>
                <a:tab pos="809625" algn="l"/>
              </a:tabLst>
              <a:defRPr sz="2000">
                <a:latin typeface="Calibri" pitchFamily="34" charset="0"/>
              </a:defRPr>
            </a:lvl6pPr>
            <a:lvl7pPr marL="2971800" indent="-228600" eaLnBrk="0" fontAlgn="base" hangingPunct="0">
              <a:spcBef>
                <a:spcPct val="20000"/>
              </a:spcBef>
              <a:spcAft>
                <a:spcPct val="0"/>
              </a:spcAft>
              <a:buFont typeface="Arial" charset="0"/>
              <a:buChar char="»"/>
              <a:tabLst>
                <a:tab pos="714375" algn="l"/>
                <a:tab pos="809625" algn="l"/>
              </a:tabLst>
              <a:defRPr sz="2000">
                <a:latin typeface="Calibri" pitchFamily="34" charset="0"/>
              </a:defRPr>
            </a:lvl7pPr>
            <a:lvl8pPr marL="3429000" indent="-228600" eaLnBrk="0" fontAlgn="base" hangingPunct="0">
              <a:spcBef>
                <a:spcPct val="20000"/>
              </a:spcBef>
              <a:spcAft>
                <a:spcPct val="0"/>
              </a:spcAft>
              <a:buFont typeface="Arial" charset="0"/>
              <a:buChar char="»"/>
              <a:tabLst>
                <a:tab pos="714375" algn="l"/>
                <a:tab pos="809625" algn="l"/>
              </a:tabLst>
              <a:defRPr sz="2000">
                <a:latin typeface="Calibri" pitchFamily="34" charset="0"/>
              </a:defRPr>
            </a:lvl8pPr>
            <a:lvl9pPr marL="3886200" indent="-228600" eaLnBrk="0" fontAlgn="base" hangingPunct="0">
              <a:spcBef>
                <a:spcPct val="20000"/>
              </a:spcBef>
              <a:spcAft>
                <a:spcPct val="0"/>
              </a:spcAft>
              <a:buFont typeface="Arial" charset="0"/>
              <a:buChar char="»"/>
              <a:tabLst>
                <a:tab pos="714375" algn="l"/>
                <a:tab pos="809625" algn="l"/>
              </a:tabLst>
              <a:defRPr sz="2000">
                <a:latin typeface="Calibri" pitchFamily="34" charset="0"/>
              </a:defRPr>
            </a:lvl9pPr>
          </a:lstStyle>
          <a:p>
            <a:r>
              <a:rPr lang="fr-FR" dirty="0"/>
              <a:t>50% CACF / 50% </a:t>
            </a:r>
            <a:r>
              <a:rPr lang="fr-FR" dirty="0" err="1"/>
              <a:t>Stellantis</a:t>
            </a:r>
            <a:endParaRPr lang="fr-FR" dirty="0"/>
          </a:p>
          <a:p>
            <a:r>
              <a:rPr lang="fr-FR" altLang="fr-FR" sz="900" dirty="0">
                <a:solidFill>
                  <a:srgbClr val="000000"/>
                </a:solidFill>
                <a:latin typeface="Avenir Next LT Pro"/>
                <a:ea typeface="ＭＳ Ｐゴシック" pitchFamily="34" charset="-128"/>
                <a:cs typeface="Arial" pitchFamily="34" charset="0"/>
              </a:rPr>
              <a:t>11 countries in Europe</a:t>
            </a:r>
            <a:endParaRPr lang="fr-FR" dirty="0"/>
          </a:p>
        </p:txBody>
      </p:sp>
    </p:spTree>
    <p:extLst>
      <p:ext uri="{BB962C8B-B14F-4D97-AF65-F5344CB8AC3E}">
        <p14:creationId xmlns:p14="http://schemas.microsoft.com/office/powerpoint/2010/main" val="7662539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3121" name="Diapositive think-cell" r:id="rId4" imgW="416" imgH="416" progId="TCLayout.ActiveDocument.1">
                  <p:embed/>
                </p:oleObj>
              </mc:Choice>
              <mc:Fallback>
                <p:oleObj name="Diapositive think-cell" r:id="rId4" imgW="416" imgH="416" progId="TCLayout.ActiveDocument.1">
                  <p:embed/>
                  <p:pic>
                    <p:nvPicPr>
                      <p:cNvPr id="8" name="Objet 7"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Titre 1"/>
          <p:cNvSpPr>
            <a:spLocks noGrp="1"/>
          </p:cNvSpPr>
          <p:nvPr>
            <p:ph type="title"/>
          </p:nvPr>
        </p:nvSpPr>
        <p:spPr>
          <a:xfrm>
            <a:off x="795939" y="267480"/>
            <a:ext cx="6988246" cy="581698"/>
          </a:xfrm>
          <a:noFill/>
        </p:spPr>
        <p:txBody>
          <a:bodyPr vert="horz"/>
          <a:lstStyle/>
          <a:p>
            <a:r>
              <a:rPr lang="fr-FR" sz="2100" dirty="0">
                <a:solidFill>
                  <a:schemeClr val="tx1"/>
                </a:solidFill>
              </a:rPr>
              <a:t>We want a </a:t>
            </a:r>
            <a:r>
              <a:rPr lang="fr-FR" sz="2100" dirty="0">
                <a:solidFill>
                  <a:srgbClr val="008B92"/>
                </a:solidFill>
              </a:rPr>
              <a:t>just, positive and non-guilt</a:t>
            </a:r>
            <a:r>
              <a:rPr lang="fr-FR" sz="2100" dirty="0">
                <a:solidFill>
                  <a:schemeClr val="tx1"/>
                </a:solidFill>
              </a:rPr>
              <a:t> energy and social transition</a:t>
            </a:r>
            <a:endParaRPr lang="fr-FR" sz="2100" dirty="0">
              <a:solidFill>
                <a:srgbClr val="005908"/>
              </a:solidFill>
            </a:endParaRPr>
          </a:p>
        </p:txBody>
      </p:sp>
      <p:grpSp>
        <p:nvGrpSpPr>
          <p:cNvPr id="11" name="Groupe 10">
            <a:extLst>
              <a:ext uri="{FF2B5EF4-FFF2-40B4-BE49-F238E27FC236}">
                <a16:creationId xmlns:a16="http://schemas.microsoft.com/office/drawing/2014/main" id="{45446D35-D262-AC4E-A1D9-C5F6F1E3092D}"/>
              </a:ext>
            </a:extLst>
          </p:cNvPr>
          <p:cNvGrpSpPr/>
          <p:nvPr/>
        </p:nvGrpSpPr>
        <p:grpSpPr>
          <a:xfrm>
            <a:off x="1446583" y="990531"/>
            <a:ext cx="5686956" cy="3392809"/>
            <a:chOff x="1664697" y="1637343"/>
            <a:chExt cx="7582608" cy="4523745"/>
          </a:xfrm>
        </p:grpSpPr>
        <p:grpSp>
          <p:nvGrpSpPr>
            <p:cNvPr id="10" name="Groupe 9">
              <a:extLst>
                <a:ext uri="{FF2B5EF4-FFF2-40B4-BE49-F238E27FC236}">
                  <a16:creationId xmlns:a16="http://schemas.microsoft.com/office/drawing/2014/main" id="{D6A1A1AE-C7B4-C974-2B8D-29088DB8C1B4}"/>
                </a:ext>
              </a:extLst>
            </p:cNvPr>
            <p:cNvGrpSpPr/>
            <p:nvPr/>
          </p:nvGrpSpPr>
          <p:grpSpPr>
            <a:xfrm>
              <a:off x="6745987" y="1642328"/>
              <a:ext cx="2501318" cy="4518760"/>
              <a:chOff x="7358486" y="1642328"/>
              <a:chExt cx="2501318" cy="4518760"/>
            </a:xfrm>
          </p:grpSpPr>
          <p:sp>
            <p:nvSpPr>
              <p:cNvPr id="146" name="Rectangle 145">
                <a:extLst>
                  <a:ext uri="{FF2B5EF4-FFF2-40B4-BE49-F238E27FC236}">
                    <a16:creationId xmlns:a16="http://schemas.microsoft.com/office/drawing/2014/main" id="{044021F2-9752-CEEF-FC41-E32D47E5E659}"/>
                  </a:ext>
                </a:extLst>
              </p:cNvPr>
              <p:cNvSpPr/>
              <p:nvPr/>
            </p:nvSpPr>
            <p:spPr>
              <a:xfrm>
                <a:off x="7372618" y="2863314"/>
                <a:ext cx="2481411" cy="3004445"/>
              </a:xfrm>
              <a:prstGeom prst="rect">
                <a:avLst/>
              </a:prstGeom>
              <a:solidFill>
                <a:srgbClr val="008B92">
                  <a:alpha val="1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55" name="Rectangle 154">
                <a:extLst>
                  <a:ext uri="{FF2B5EF4-FFF2-40B4-BE49-F238E27FC236}">
                    <a16:creationId xmlns:a16="http://schemas.microsoft.com/office/drawing/2014/main" id="{BCD04E4A-E428-D7C4-3BBF-A0652B4D328A}"/>
                  </a:ext>
                </a:extLst>
              </p:cNvPr>
              <p:cNvSpPr/>
              <p:nvPr/>
            </p:nvSpPr>
            <p:spPr>
              <a:xfrm>
                <a:off x="7358486" y="1658723"/>
                <a:ext cx="2501318" cy="1205958"/>
              </a:xfrm>
              <a:prstGeom prst="rect">
                <a:avLst/>
              </a:prstGeom>
              <a:solidFill>
                <a:srgbClr val="008B92">
                  <a:alpha val="50000"/>
                </a:srgbClr>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52" name="ZoneTexte 51"/>
              <p:cNvSpPr txBox="1"/>
              <p:nvPr/>
            </p:nvSpPr>
            <p:spPr>
              <a:xfrm>
                <a:off x="7358486" y="3376592"/>
                <a:ext cx="2491789" cy="23130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lvl="1" indent="-2381" algn="ctr" defTabSz="457189">
                  <a:lnSpc>
                    <a:spcPts val="825"/>
                  </a:lnSpc>
                  <a:buClr>
                    <a:srgbClr val="00B0F0"/>
                  </a:buClr>
                  <a:defRPr/>
                </a:pPr>
                <a:r>
                  <a:rPr lang="fr-FR" sz="825" b="1" kern="0" dirty="0">
                    <a:solidFill>
                      <a:prstClr val="black"/>
                    </a:solidFill>
                    <a:latin typeface="Arial"/>
                    <a:cs typeface="Arial" panose="020B0604020202020204" pitchFamily="34" charset="0"/>
                  </a:rPr>
                  <a:t>As a business </a:t>
                </a:r>
              </a:p>
              <a:p>
                <a:pPr marL="7144" lvl="1" indent="-2381" algn="ctr" defTabSz="457189">
                  <a:lnSpc>
                    <a:spcPts val="825"/>
                  </a:lnSpc>
                  <a:buClr>
                    <a:srgbClr val="00B0F0"/>
                  </a:buClr>
                  <a:defRPr/>
                </a:pPr>
                <a:r>
                  <a:rPr lang="fr-FR" sz="825" b="1" kern="0" dirty="0">
                    <a:solidFill>
                      <a:prstClr val="black"/>
                    </a:solidFill>
                    <a:latin typeface="Arial"/>
                    <a:cs typeface="Arial" panose="020B0604020202020204" pitchFamily="34" charset="0"/>
                  </a:rPr>
                  <a:t>responsible: </a:t>
                </a:r>
              </a:p>
              <a:p>
                <a:pPr marL="7144" lvl="1" indent="-2381" defTabSz="457189">
                  <a:lnSpc>
                    <a:spcPts val="825"/>
                  </a:lnSpc>
                  <a:buClr>
                    <a:srgbClr val="00B0F0"/>
                  </a:buClr>
                  <a:defRPr/>
                </a:pPr>
                <a:endParaRPr lang="fr-FR" sz="825" kern="0" dirty="0">
                  <a:solidFill>
                    <a:prstClr val="black"/>
                  </a:solidFill>
                  <a:latin typeface="Arial"/>
                  <a:cs typeface="Arial" panose="020B0604020202020204" pitchFamily="34" charset="0"/>
                </a:endParaRPr>
              </a:p>
              <a:p>
                <a:pPr marL="7144" lvl="1" indent="-2381" defTabSz="457189">
                  <a:lnSpc>
                    <a:spcPts val="825"/>
                  </a:lnSpc>
                  <a:buClr>
                    <a:srgbClr val="00B0F0"/>
                  </a:buClr>
                  <a:defRPr/>
                </a:pPr>
                <a:r>
                  <a:rPr lang="fr-FR" sz="1050" kern="0" dirty="0">
                    <a:solidFill>
                      <a:prstClr val="black"/>
                    </a:solidFill>
                    <a:latin typeface="Arial"/>
                    <a:cs typeface="Arial" panose="020B0604020202020204" pitchFamily="34" charset="0"/>
                  </a:rPr>
                  <a:t>Commit to reducing the direct carbon footprint of: </a:t>
                </a:r>
              </a:p>
              <a:p>
                <a:pPr marL="133347" lvl="1" indent="-128585" defTabSz="457189">
                  <a:lnSpc>
                    <a:spcPts val="825"/>
                  </a:lnSpc>
                  <a:buClr>
                    <a:srgbClr val="00B0F0"/>
                  </a:buClr>
                  <a:buFont typeface="Arial" panose="020B0604020202020204" pitchFamily="34" charset="0"/>
                  <a:buChar char="•"/>
                  <a:defRPr/>
                </a:pPr>
                <a:r>
                  <a:rPr lang="fr-FR" sz="1050" kern="0" dirty="0">
                    <a:solidFill>
                      <a:prstClr val="black"/>
                    </a:solidFill>
                    <a:latin typeface="Arial"/>
                    <a:cs typeface="Arial" panose="020B0604020202020204" pitchFamily="34" charset="0"/>
                  </a:rPr>
                  <a:t>our purchases </a:t>
                </a:r>
              </a:p>
              <a:p>
                <a:pPr marL="133347" lvl="1" indent="-128585" defTabSz="457189">
                  <a:lnSpc>
                    <a:spcPts val="825"/>
                  </a:lnSpc>
                  <a:buClr>
                    <a:srgbClr val="00B0F0"/>
                  </a:buClr>
                  <a:buFont typeface="Arial" panose="020B0604020202020204" pitchFamily="34" charset="0"/>
                  <a:buChar char="•"/>
                  <a:defRPr/>
                </a:pPr>
                <a:r>
                  <a:rPr lang="fr-FR" sz="1050" kern="0" dirty="0">
                    <a:solidFill>
                      <a:prstClr val="black"/>
                    </a:solidFill>
                    <a:latin typeface="Arial"/>
                    <a:cs typeface="Arial" panose="020B0604020202020204" pitchFamily="34" charset="0"/>
                  </a:rPr>
                  <a:t>IT</a:t>
                </a:r>
              </a:p>
              <a:p>
                <a:pPr marL="133347" lvl="1" indent="-128585" defTabSz="457189">
                  <a:lnSpc>
                    <a:spcPts val="825"/>
                  </a:lnSpc>
                  <a:buClr>
                    <a:srgbClr val="00B0F0"/>
                  </a:buClr>
                  <a:buFont typeface="Arial" panose="020B0604020202020204" pitchFamily="34" charset="0"/>
                  <a:buChar char="•"/>
                  <a:defRPr/>
                </a:pPr>
                <a:r>
                  <a:rPr lang="fr-FR" sz="1050" kern="0" dirty="0" err="1">
                    <a:solidFill>
                      <a:prstClr val="black"/>
                    </a:solidFill>
                    <a:latin typeface="Arial"/>
                    <a:cs typeface="Arial" panose="020B0604020202020204" pitchFamily="34" charset="0"/>
                  </a:rPr>
                  <a:t>Mobility</a:t>
                </a:r>
                <a:endParaRPr lang="fr-FR" sz="1050" kern="0" dirty="0">
                  <a:solidFill>
                    <a:prstClr val="black"/>
                  </a:solidFill>
                  <a:latin typeface="Arial"/>
                  <a:cs typeface="Arial" panose="020B0604020202020204" pitchFamily="34" charset="0"/>
                </a:endParaRPr>
              </a:p>
              <a:p>
                <a:pPr marL="133347" lvl="1" indent="-128585" defTabSz="457189">
                  <a:lnSpc>
                    <a:spcPts val="825"/>
                  </a:lnSpc>
                  <a:buClr>
                    <a:srgbClr val="00B0F0"/>
                  </a:buClr>
                  <a:buFont typeface="Arial" panose="020B0604020202020204" pitchFamily="34" charset="0"/>
                  <a:buChar char="•"/>
                  <a:defRPr/>
                </a:pPr>
                <a:r>
                  <a:rPr lang="fr-FR" sz="1050" kern="0" dirty="0">
                    <a:solidFill>
                      <a:prstClr val="black"/>
                    </a:solidFill>
                    <a:latin typeface="Arial"/>
                    <a:cs typeface="Arial" panose="020B0604020202020204" pitchFamily="34" charset="0"/>
                  </a:rPr>
                  <a:t>Buildings</a:t>
                </a:r>
              </a:p>
            </p:txBody>
          </p:sp>
          <p:sp>
            <p:nvSpPr>
              <p:cNvPr id="147" name="Rectangle 146">
                <a:extLst>
                  <a:ext uri="{FF2B5EF4-FFF2-40B4-BE49-F238E27FC236}">
                    <a16:creationId xmlns:a16="http://schemas.microsoft.com/office/drawing/2014/main" id="{1329029C-9760-B5F5-4884-8CA5D09CACE2}"/>
                  </a:ext>
                </a:extLst>
              </p:cNvPr>
              <p:cNvSpPr/>
              <p:nvPr/>
            </p:nvSpPr>
            <p:spPr>
              <a:xfrm>
                <a:off x="7368864" y="5869128"/>
                <a:ext cx="2481411" cy="291960"/>
              </a:xfrm>
              <a:prstGeom prst="rect">
                <a:avLst/>
              </a:prstGeom>
              <a:solidFill>
                <a:srgbClr val="008B92">
                  <a:alpha val="50000"/>
                </a:srgbClr>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61" name="ZoneTexte 160">
                <a:extLst>
                  <a:ext uri="{FF2B5EF4-FFF2-40B4-BE49-F238E27FC236}">
                    <a16:creationId xmlns:a16="http://schemas.microsoft.com/office/drawing/2014/main" id="{A8A18590-A57A-C072-62DE-E14AEC199A8F}"/>
                  </a:ext>
                </a:extLst>
              </p:cNvPr>
              <p:cNvSpPr txBox="1"/>
              <p:nvPr/>
            </p:nvSpPr>
            <p:spPr>
              <a:xfrm>
                <a:off x="7391720" y="1642328"/>
                <a:ext cx="2468084" cy="12059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r>
                  <a:rPr lang="fr-FR" sz="1050" b="1" dirty="0">
                    <a:solidFill>
                      <a:prstClr val="white"/>
                    </a:solidFill>
                    <a:latin typeface="Arial"/>
                  </a:rPr>
                  <a:t>Reduce our </a:t>
                </a:r>
              </a:p>
              <a:p>
                <a:pPr algn="ctr" defTabSz="685783">
                  <a:defRPr/>
                </a:pPr>
                <a:r>
                  <a:rPr lang="fr-FR" sz="1050" b="1" dirty="0">
                    <a:solidFill>
                      <a:prstClr val="white"/>
                    </a:solidFill>
                    <a:latin typeface="Arial"/>
                  </a:rPr>
                  <a:t>d</a:t>
                </a:r>
                <a:r>
                  <a:rPr lang="fr-FR" sz="1050" b="1" dirty="0" err="1">
                    <a:solidFill>
                      <a:prstClr val="white"/>
                    </a:solidFill>
                    <a:latin typeface="Arial"/>
                  </a:rPr>
                  <a:t>irect</a:t>
                </a:r>
                <a:r>
                  <a:rPr lang="fr-FR" sz="1050" b="1" dirty="0">
                    <a:solidFill>
                      <a:prstClr val="white"/>
                    </a:solidFill>
                    <a:latin typeface="Arial"/>
                  </a:rPr>
                  <a:t> </a:t>
                </a:r>
                <a:r>
                  <a:rPr lang="fr-FR" sz="1050" b="1" dirty="0" err="1">
                    <a:solidFill>
                      <a:prstClr val="white"/>
                    </a:solidFill>
                    <a:latin typeface="Arial"/>
                  </a:rPr>
                  <a:t>carbon</a:t>
                </a:r>
                <a:r>
                  <a:rPr lang="fr-FR" sz="1050" b="1" dirty="0">
                    <a:solidFill>
                      <a:prstClr val="white"/>
                    </a:solidFill>
                    <a:latin typeface="Arial"/>
                  </a:rPr>
                  <a:t> </a:t>
                </a:r>
                <a:r>
                  <a:rPr lang="fr-FR" sz="1050" b="1" dirty="0" err="1">
                    <a:solidFill>
                      <a:prstClr val="white"/>
                    </a:solidFill>
                    <a:latin typeface="Arial"/>
                  </a:rPr>
                  <a:t>footprint</a:t>
                </a:r>
                <a:r>
                  <a:rPr lang="fr-FR" sz="1050" b="1" dirty="0">
                    <a:solidFill>
                      <a:prstClr val="white"/>
                    </a:solidFill>
                    <a:latin typeface="Arial"/>
                  </a:rPr>
                  <a:t> </a:t>
                </a:r>
              </a:p>
            </p:txBody>
          </p:sp>
          <p:grpSp>
            <p:nvGrpSpPr>
              <p:cNvPr id="162" name="Groupe 161">
                <a:extLst>
                  <a:ext uri="{FF2B5EF4-FFF2-40B4-BE49-F238E27FC236}">
                    <a16:creationId xmlns:a16="http://schemas.microsoft.com/office/drawing/2014/main" id="{68173FBD-DDB1-B0DA-07B8-BC9ECE050EFB}"/>
                  </a:ext>
                </a:extLst>
              </p:cNvPr>
              <p:cNvGrpSpPr/>
              <p:nvPr/>
            </p:nvGrpSpPr>
            <p:grpSpPr>
              <a:xfrm rot="5400000">
                <a:off x="8425730" y="2953205"/>
                <a:ext cx="318468" cy="318468"/>
                <a:chOff x="3186870" y="475057"/>
                <a:chExt cx="566849" cy="566849"/>
              </a:xfrm>
            </p:grpSpPr>
            <p:sp>
              <p:nvSpPr>
                <p:cNvPr id="170" name="Ellipse 169">
                  <a:extLst>
                    <a:ext uri="{FF2B5EF4-FFF2-40B4-BE49-F238E27FC236}">
                      <a16:creationId xmlns:a16="http://schemas.microsoft.com/office/drawing/2014/main" id="{7F4555B3-FE55-F9FB-ED7F-59EC4941187C}"/>
                    </a:ext>
                  </a:extLst>
                </p:cNvPr>
                <p:cNvSpPr/>
                <p:nvPr/>
              </p:nvSpPr>
              <p:spPr>
                <a:xfrm rot="16200000">
                  <a:off x="3186870" y="475057"/>
                  <a:ext cx="566849" cy="566849"/>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71" name="Graphique 47">
                  <a:extLst>
                    <a:ext uri="{FF2B5EF4-FFF2-40B4-BE49-F238E27FC236}">
                      <a16:creationId xmlns:a16="http://schemas.microsoft.com/office/drawing/2014/main" id="{EBCEF6F6-7EF7-D2E7-DB42-7AABBA8AB70F}"/>
                    </a:ext>
                  </a:extLst>
                </p:cNvPr>
                <p:cNvSpPr/>
                <p:nvPr/>
              </p:nvSpPr>
              <p:spPr>
                <a:xfrm>
                  <a:off x="3346870" y="676661"/>
                  <a:ext cx="246850" cy="18191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grpSp>
        <p:grpSp>
          <p:nvGrpSpPr>
            <p:cNvPr id="9" name="Groupe 8">
              <a:extLst>
                <a:ext uri="{FF2B5EF4-FFF2-40B4-BE49-F238E27FC236}">
                  <a16:creationId xmlns:a16="http://schemas.microsoft.com/office/drawing/2014/main" id="{40ADD1A3-71E4-596C-293E-4A3CD52904D7}"/>
                </a:ext>
              </a:extLst>
            </p:cNvPr>
            <p:cNvGrpSpPr/>
            <p:nvPr/>
          </p:nvGrpSpPr>
          <p:grpSpPr>
            <a:xfrm>
              <a:off x="4213584" y="1653153"/>
              <a:ext cx="2517557" cy="4507935"/>
              <a:chOff x="4854264" y="1653153"/>
              <a:chExt cx="2517557" cy="4507935"/>
            </a:xfrm>
          </p:grpSpPr>
          <p:sp>
            <p:nvSpPr>
              <p:cNvPr id="143" name="Rectangle 142">
                <a:extLst>
                  <a:ext uri="{FF2B5EF4-FFF2-40B4-BE49-F238E27FC236}">
                    <a16:creationId xmlns:a16="http://schemas.microsoft.com/office/drawing/2014/main" id="{261E29E1-E3AC-6B7A-C8F0-E2178D1BDBFE}"/>
                  </a:ext>
                </a:extLst>
              </p:cNvPr>
              <p:cNvSpPr/>
              <p:nvPr/>
            </p:nvSpPr>
            <p:spPr>
              <a:xfrm>
                <a:off x="4857169" y="2860479"/>
                <a:ext cx="2514652" cy="3004446"/>
              </a:xfrm>
              <a:prstGeom prst="rect">
                <a:avLst/>
              </a:prstGeom>
              <a:solidFill>
                <a:srgbClr val="008B92">
                  <a:alpha val="1025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54" name="Rectangle 153">
                <a:extLst>
                  <a:ext uri="{FF2B5EF4-FFF2-40B4-BE49-F238E27FC236}">
                    <a16:creationId xmlns:a16="http://schemas.microsoft.com/office/drawing/2014/main" id="{8DFCD6DD-E687-A63E-F42E-F4B6A677BD86}"/>
                  </a:ext>
                </a:extLst>
              </p:cNvPr>
              <p:cNvSpPr/>
              <p:nvPr/>
            </p:nvSpPr>
            <p:spPr>
              <a:xfrm>
                <a:off x="4857168" y="1657356"/>
                <a:ext cx="2501318" cy="1205958"/>
              </a:xfrm>
              <a:prstGeom prst="rect">
                <a:avLst/>
              </a:prstGeom>
              <a:solidFill>
                <a:srgbClr val="008B92">
                  <a:alpha val="70000"/>
                </a:srgbClr>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59" name="ZoneTexte 158">
                <a:extLst>
                  <a:ext uri="{FF2B5EF4-FFF2-40B4-BE49-F238E27FC236}">
                    <a16:creationId xmlns:a16="http://schemas.microsoft.com/office/drawing/2014/main" id="{99A75897-2D34-2ED7-0446-4AAA337AA097}"/>
                  </a:ext>
                </a:extLst>
              </p:cNvPr>
              <p:cNvSpPr txBox="1"/>
              <p:nvPr/>
            </p:nvSpPr>
            <p:spPr>
              <a:xfrm>
                <a:off x="4856370" y="1653153"/>
                <a:ext cx="2514651" cy="12101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lnSpc>
                    <a:spcPts val="1200"/>
                  </a:lnSpc>
                  <a:defRPr/>
                </a:pPr>
                <a:r>
                  <a:rPr lang="fr-FR" sz="1050" b="1" dirty="0">
                    <a:solidFill>
                      <a:srgbClr val="F3F3F3"/>
                    </a:solidFill>
                    <a:latin typeface="Arial"/>
                  </a:rPr>
                  <a:t>Have a role in society, based on </a:t>
                </a:r>
              </a:p>
              <a:p>
                <a:pPr algn="ctr" defTabSz="685783">
                  <a:lnSpc>
                    <a:spcPts val="1200"/>
                  </a:lnSpc>
                  <a:defRPr/>
                </a:pPr>
                <a:r>
                  <a:rPr lang="fr-FR" sz="1050" b="1" dirty="0">
                    <a:solidFill>
                      <a:srgbClr val="F3F3F3"/>
                    </a:solidFill>
                    <a:latin typeface="Arial"/>
                  </a:rPr>
                  <a:t>the raison d’être of </a:t>
                </a:r>
                <a:r>
                  <a:rPr lang="fr-FR" sz="1050" b="1" dirty="0" err="1">
                    <a:solidFill>
                      <a:srgbClr val="F3F3F3"/>
                    </a:solidFill>
                    <a:latin typeface="Arial"/>
                  </a:rPr>
                  <a:t>Credit</a:t>
                </a:r>
                <a:r>
                  <a:rPr lang="fr-FR" sz="1050" b="1" dirty="0">
                    <a:solidFill>
                      <a:srgbClr val="F3F3F3"/>
                    </a:solidFill>
                    <a:latin typeface="Arial"/>
                  </a:rPr>
                  <a:t> Agricole Group</a:t>
                </a:r>
              </a:p>
            </p:txBody>
          </p:sp>
          <p:grpSp>
            <p:nvGrpSpPr>
              <p:cNvPr id="160" name="Groupe 159">
                <a:extLst>
                  <a:ext uri="{FF2B5EF4-FFF2-40B4-BE49-F238E27FC236}">
                    <a16:creationId xmlns:a16="http://schemas.microsoft.com/office/drawing/2014/main" id="{3CE54642-2B5C-4199-B175-A87319A7101D}"/>
                  </a:ext>
                </a:extLst>
              </p:cNvPr>
              <p:cNvGrpSpPr/>
              <p:nvPr/>
            </p:nvGrpSpPr>
            <p:grpSpPr>
              <a:xfrm rot="5400000">
                <a:off x="5964426" y="2953205"/>
                <a:ext cx="318468" cy="318468"/>
                <a:chOff x="3186870" y="475057"/>
                <a:chExt cx="566849" cy="566849"/>
              </a:xfrm>
            </p:grpSpPr>
            <p:sp>
              <p:nvSpPr>
                <p:cNvPr id="172" name="Ellipse 171">
                  <a:extLst>
                    <a:ext uri="{FF2B5EF4-FFF2-40B4-BE49-F238E27FC236}">
                      <a16:creationId xmlns:a16="http://schemas.microsoft.com/office/drawing/2014/main" id="{1F5DF8BD-9993-E463-D672-3284F2D08A57}"/>
                    </a:ext>
                  </a:extLst>
                </p:cNvPr>
                <p:cNvSpPr/>
                <p:nvPr/>
              </p:nvSpPr>
              <p:spPr>
                <a:xfrm rot="16200000">
                  <a:off x="3186870" y="475057"/>
                  <a:ext cx="566849" cy="566849"/>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73" name="Graphique 47">
                  <a:extLst>
                    <a:ext uri="{FF2B5EF4-FFF2-40B4-BE49-F238E27FC236}">
                      <a16:creationId xmlns:a16="http://schemas.microsoft.com/office/drawing/2014/main" id="{0E69A490-64D8-E942-2A33-B7C08B9D8C51}"/>
                    </a:ext>
                  </a:extLst>
                </p:cNvPr>
                <p:cNvSpPr/>
                <p:nvPr/>
              </p:nvSpPr>
              <p:spPr>
                <a:xfrm>
                  <a:off x="3346870" y="676661"/>
                  <a:ext cx="246850" cy="18191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sp>
            <p:nvSpPr>
              <p:cNvPr id="4" name="ZoneTexte 3">
                <a:extLst>
                  <a:ext uri="{FF2B5EF4-FFF2-40B4-BE49-F238E27FC236}">
                    <a16:creationId xmlns:a16="http://schemas.microsoft.com/office/drawing/2014/main" id="{677F5325-6D2B-F096-8414-E796DCC06F3C}"/>
                  </a:ext>
                </a:extLst>
              </p:cNvPr>
              <p:cNvSpPr txBox="1"/>
              <p:nvPr/>
            </p:nvSpPr>
            <p:spPr>
              <a:xfrm>
                <a:off x="4865030" y="3376592"/>
                <a:ext cx="2498501" cy="2488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indent="-7144" algn="ctr" defTabSz="457189">
                  <a:lnSpc>
                    <a:spcPts val="825"/>
                  </a:lnSpc>
                  <a:buClr>
                    <a:srgbClr val="7030A0"/>
                  </a:buClr>
                  <a:defRPr/>
                </a:pPr>
                <a:r>
                  <a:rPr lang="fr-FR" sz="825" b="1" kern="0" dirty="0">
                    <a:solidFill>
                      <a:prstClr val="black"/>
                    </a:solidFill>
                    <a:latin typeface="Arial"/>
                    <a:cs typeface="Arial" panose="020B0604020202020204" pitchFamily="34" charset="0"/>
                  </a:rPr>
                  <a:t>As an </a:t>
                </a:r>
                <a:r>
                  <a:rPr lang="fr-FR" sz="825" b="1" kern="0" dirty="0" err="1">
                    <a:solidFill>
                      <a:prstClr val="black"/>
                    </a:solidFill>
                    <a:latin typeface="Arial"/>
                    <a:cs typeface="Arial" panose="020B0604020202020204" pitchFamily="34" charset="0"/>
                  </a:rPr>
                  <a:t>financing</a:t>
                </a:r>
                <a:r>
                  <a:rPr lang="fr-FR" sz="825" b="1" kern="0" dirty="0">
                    <a:solidFill>
                      <a:prstClr val="black"/>
                    </a:solidFill>
                    <a:latin typeface="Arial"/>
                    <a:cs typeface="Arial" panose="020B0604020202020204" pitchFamily="34" charset="0"/>
                  </a:rPr>
                  <a:t>expert </a:t>
                </a:r>
              </a:p>
              <a:p>
                <a:pPr marL="7144" indent="-7144" algn="ctr" defTabSz="685783">
                  <a:lnSpc>
                    <a:spcPts val="825"/>
                  </a:lnSpc>
                  <a:buClr>
                    <a:srgbClr val="7030A0"/>
                  </a:buClr>
                  <a:defRPr/>
                </a:pPr>
                <a:r>
                  <a:rPr lang="fr-FR" sz="825" b="1" kern="0" dirty="0">
                    <a:solidFill>
                      <a:prstClr val="black"/>
                    </a:solidFill>
                    <a:latin typeface="Arial"/>
                    <a:cs typeface="Arial" panose="020B0604020202020204" pitchFamily="34" charset="0"/>
                  </a:rPr>
                  <a:t>for consumption and mobility: </a:t>
                </a:r>
                <a:r>
                  <a:rPr lang="fr-FR" sz="825" kern="0" dirty="0">
                    <a:solidFill>
                      <a:prstClr val="black"/>
                    </a:solidFill>
                    <a:latin typeface="Arial"/>
                    <a:cs typeface="Arial" panose="020B0604020202020204" pitchFamily="34" charset="0"/>
                  </a:rPr>
                  <a:t> </a:t>
                </a:r>
              </a:p>
              <a:p>
                <a:pPr marL="128585" indent="-128585" defTabSz="685783">
                  <a:lnSpc>
                    <a:spcPts val="825"/>
                  </a:lnSpc>
                  <a:buClr>
                    <a:srgbClr val="EB3738"/>
                  </a:buClr>
                  <a:buFont typeface="Arial" panose="020B0604020202020204" pitchFamily="34" charset="0"/>
                  <a:buChar char="•"/>
                  <a:defRPr/>
                </a:pPr>
                <a:endParaRPr lang="fr-FR" sz="825" kern="0" dirty="0">
                  <a:solidFill>
                    <a:prstClr val="black"/>
                  </a:solidFill>
                  <a:latin typeface="Arial"/>
                  <a:cs typeface="Arial" panose="020B0604020202020204" pitchFamily="34" charset="0"/>
                </a:endParaRPr>
              </a:p>
              <a:p>
                <a:pPr marL="74586" indent="-74586" defTabSz="685783">
                  <a:lnSpc>
                    <a:spcPts val="825"/>
                  </a:lnSpc>
                  <a:buClr>
                    <a:srgbClr val="EB3738"/>
                  </a:buClr>
                  <a:buFont typeface="Arial" panose="020B0604020202020204" pitchFamily="34" charset="0"/>
                  <a:buChar char="•"/>
                  <a:defRPr/>
                </a:pPr>
                <a:r>
                  <a:rPr lang="fr-FR" sz="1050" kern="0" dirty="0">
                    <a:solidFill>
                      <a:prstClr val="black"/>
                    </a:solidFill>
                    <a:latin typeface="Arial"/>
                    <a:cs typeface="Arial" panose="020B0604020202020204" pitchFamily="34" charset="0"/>
                  </a:rPr>
                  <a:t>support the development of new modes of soft mobility, </a:t>
                </a:r>
              </a:p>
              <a:p>
                <a:pPr marL="74586" indent="-74586" defTabSz="685783">
                  <a:lnSpc>
                    <a:spcPts val="825"/>
                  </a:lnSpc>
                  <a:buClr>
                    <a:srgbClr val="EB3738"/>
                  </a:buClr>
                  <a:buFont typeface="Arial" panose="020B0604020202020204" pitchFamily="34" charset="0"/>
                  <a:buChar char="•"/>
                  <a:defRPr/>
                </a:pPr>
                <a:endParaRPr lang="fr-FR" sz="1050" kern="0" dirty="0">
                  <a:solidFill>
                    <a:prstClr val="black"/>
                  </a:solidFill>
                  <a:latin typeface="Arial"/>
                  <a:cs typeface="Arial" panose="020B0604020202020204" pitchFamily="34" charset="0"/>
                </a:endParaRPr>
              </a:p>
              <a:p>
                <a:pPr marL="74586" indent="-74586" defTabSz="685783">
                  <a:lnSpc>
                    <a:spcPts val="825"/>
                  </a:lnSpc>
                  <a:buClr>
                    <a:srgbClr val="EB3738"/>
                  </a:buClr>
                  <a:buFont typeface="Arial" panose="020B0604020202020204" pitchFamily="34" charset="0"/>
                  <a:buChar char="•"/>
                  <a:defRPr/>
                </a:pPr>
                <a:r>
                  <a:rPr lang="fr-FR" sz="1050" kern="0" dirty="0">
                    <a:solidFill>
                      <a:prstClr val="black"/>
                    </a:solidFill>
                    <a:latin typeface="Arial"/>
                    <a:cs typeface="Arial" panose="020B0604020202020204" pitchFamily="34" charset="0"/>
                  </a:rPr>
                  <a:t>promoting the energy transition of housings, </a:t>
                </a:r>
              </a:p>
              <a:p>
                <a:pPr marL="74586" indent="-74586" defTabSz="685783">
                  <a:lnSpc>
                    <a:spcPts val="825"/>
                  </a:lnSpc>
                  <a:buClr>
                    <a:srgbClr val="EB3738"/>
                  </a:buClr>
                  <a:buFont typeface="Arial" panose="020B0604020202020204" pitchFamily="34" charset="0"/>
                  <a:buChar char="•"/>
                  <a:defRPr/>
                </a:pPr>
                <a:endParaRPr lang="fr-FR" sz="1050" kern="0" dirty="0">
                  <a:solidFill>
                    <a:prstClr val="black"/>
                  </a:solidFill>
                  <a:latin typeface="Arial"/>
                  <a:cs typeface="Arial" panose="020B0604020202020204" pitchFamily="34" charset="0"/>
                </a:endParaRPr>
              </a:p>
              <a:p>
                <a:pPr marL="74586" indent="-74586" defTabSz="685783">
                  <a:lnSpc>
                    <a:spcPts val="825"/>
                  </a:lnSpc>
                  <a:buClr>
                    <a:srgbClr val="EB3738"/>
                  </a:buClr>
                  <a:buFont typeface="Arial" panose="020B0604020202020204" pitchFamily="34" charset="0"/>
                  <a:buChar char="•"/>
                  <a:defRPr/>
                </a:pPr>
                <a:r>
                  <a:rPr lang="fr-FR" sz="1050" kern="0" dirty="0">
                    <a:solidFill>
                      <a:prstClr val="black"/>
                    </a:solidFill>
                    <a:latin typeface="Arial"/>
                    <a:cs typeface="Arial" panose="020B0604020202020204" pitchFamily="34" charset="0"/>
                  </a:rPr>
                  <a:t>generalize the circular economy, sustainability, reparability.</a:t>
                </a:r>
              </a:p>
              <a:p>
                <a:pPr marL="7144" indent="-7144" defTabSz="685783">
                  <a:lnSpc>
                    <a:spcPts val="825"/>
                  </a:lnSpc>
                  <a:buClr>
                    <a:srgbClr val="7030A0"/>
                  </a:buClr>
                  <a:defRPr/>
                </a:pPr>
                <a:endParaRPr lang="fr-FR" sz="825" kern="0" dirty="0">
                  <a:solidFill>
                    <a:prstClr val="black"/>
                  </a:solidFill>
                  <a:latin typeface="Arial"/>
                  <a:cs typeface="Arial" panose="020B0604020202020204" pitchFamily="34" charset="0"/>
                </a:endParaRPr>
              </a:p>
            </p:txBody>
          </p:sp>
          <p:sp>
            <p:nvSpPr>
              <p:cNvPr id="6" name="Rectangle 5">
                <a:extLst>
                  <a:ext uri="{FF2B5EF4-FFF2-40B4-BE49-F238E27FC236}">
                    <a16:creationId xmlns:a16="http://schemas.microsoft.com/office/drawing/2014/main" id="{09DF021A-FC54-D481-CE9F-5B4D387CD346}"/>
                  </a:ext>
                </a:extLst>
              </p:cNvPr>
              <p:cNvSpPr/>
              <p:nvPr/>
            </p:nvSpPr>
            <p:spPr>
              <a:xfrm>
                <a:off x="4854264" y="5869128"/>
                <a:ext cx="2516757" cy="291960"/>
              </a:xfrm>
              <a:prstGeom prst="rect">
                <a:avLst/>
              </a:prstGeom>
              <a:solidFill>
                <a:srgbClr val="008B92">
                  <a:alpha val="70000"/>
                </a:srgbClr>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pSp>
          <p:nvGrpSpPr>
            <p:cNvPr id="3" name="Groupe 2">
              <a:extLst>
                <a:ext uri="{FF2B5EF4-FFF2-40B4-BE49-F238E27FC236}">
                  <a16:creationId xmlns:a16="http://schemas.microsoft.com/office/drawing/2014/main" id="{49FBE001-8958-09E0-7802-943EAB93D1F6}"/>
                </a:ext>
              </a:extLst>
            </p:cNvPr>
            <p:cNvGrpSpPr/>
            <p:nvPr/>
          </p:nvGrpSpPr>
          <p:grpSpPr>
            <a:xfrm>
              <a:off x="1664697" y="1637343"/>
              <a:ext cx="2518278" cy="4523745"/>
              <a:chOff x="2342515" y="1637343"/>
              <a:chExt cx="2518278" cy="4523745"/>
            </a:xfrm>
          </p:grpSpPr>
          <p:sp>
            <p:nvSpPr>
              <p:cNvPr id="140" name="Rectangle 139">
                <a:extLst>
                  <a:ext uri="{FF2B5EF4-FFF2-40B4-BE49-F238E27FC236}">
                    <a16:creationId xmlns:a16="http://schemas.microsoft.com/office/drawing/2014/main" id="{9E2A51B7-99B9-80E6-B35D-B2161789A4A0}"/>
                  </a:ext>
                </a:extLst>
              </p:cNvPr>
              <p:cNvSpPr/>
              <p:nvPr/>
            </p:nvSpPr>
            <p:spPr>
              <a:xfrm>
                <a:off x="2369185" y="2808430"/>
                <a:ext cx="2488779" cy="3056494"/>
              </a:xfrm>
              <a:prstGeom prst="rect">
                <a:avLst/>
              </a:prstGeom>
              <a:solidFill>
                <a:srgbClr val="008B92">
                  <a:alpha val="1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45" name="ZoneTexte 44">
                <a:extLst>
                  <a:ext uri="{FF2B5EF4-FFF2-40B4-BE49-F238E27FC236}">
                    <a16:creationId xmlns:a16="http://schemas.microsoft.com/office/drawing/2014/main" id="{C846E9BC-AF61-5585-A6DA-61CC281D74F8}"/>
                  </a:ext>
                </a:extLst>
              </p:cNvPr>
              <p:cNvSpPr txBox="1"/>
              <p:nvPr/>
            </p:nvSpPr>
            <p:spPr>
              <a:xfrm>
                <a:off x="3848291" y="16373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1350" dirty="0" err="1">
                  <a:solidFill>
                    <a:prstClr val="black"/>
                  </a:solidFill>
                  <a:latin typeface="Arial"/>
                </a:endParaRPr>
              </a:p>
            </p:txBody>
          </p:sp>
          <p:sp>
            <p:nvSpPr>
              <p:cNvPr id="151" name="Rectangle 150">
                <a:extLst>
                  <a:ext uri="{FF2B5EF4-FFF2-40B4-BE49-F238E27FC236}">
                    <a16:creationId xmlns:a16="http://schemas.microsoft.com/office/drawing/2014/main" id="{7050AF24-2B24-50C6-FE6B-A427ADF87DF5}"/>
                  </a:ext>
                </a:extLst>
              </p:cNvPr>
              <p:cNvSpPr/>
              <p:nvPr/>
            </p:nvSpPr>
            <p:spPr>
              <a:xfrm>
                <a:off x="2355850" y="1658552"/>
                <a:ext cx="2501318" cy="1205958"/>
              </a:xfrm>
              <a:prstGeom prst="rect">
                <a:avLst/>
              </a:prstGeom>
              <a:solidFill>
                <a:srgbClr val="008B92"/>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nvGrpSpPr>
              <p:cNvPr id="164" name="Groupe 163">
                <a:extLst>
                  <a:ext uri="{FF2B5EF4-FFF2-40B4-BE49-F238E27FC236}">
                    <a16:creationId xmlns:a16="http://schemas.microsoft.com/office/drawing/2014/main" id="{DE689E17-43C1-9222-D3A6-8A91939BE9A7}"/>
                  </a:ext>
                </a:extLst>
              </p:cNvPr>
              <p:cNvGrpSpPr/>
              <p:nvPr/>
            </p:nvGrpSpPr>
            <p:grpSpPr>
              <a:xfrm rot="5400000">
                <a:off x="3444332" y="2953205"/>
                <a:ext cx="318468" cy="318468"/>
                <a:chOff x="3186870" y="475057"/>
                <a:chExt cx="566849" cy="566849"/>
              </a:xfrm>
            </p:grpSpPr>
            <p:sp>
              <p:nvSpPr>
                <p:cNvPr id="166" name="Ellipse 165">
                  <a:extLst>
                    <a:ext uri="{FF2B5EF4-FFF2-40B4-BE49-F238E27FC236}">
                      <a16:creationId xmlns:a16="http://schemas.microsoft.com/office/drawing/2014/main" id="{89D590D4-E3FB-B22C-DBA7-79F9E0120258}"/>
                    </a:ext>
                  </a:extLst>
                </p:cNvPr>
                <p:cNvSpPr/>
                <p:nvPr/>
              </p:nvSpPr>
              <p:spPr>
                <a:xfrm rot="16200000">
                  <a:off x="3186870" y="475057"/>
                  <a:ext cx="566849" cy="566849"/>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67" name="Graphique 47">
                  <a:extLst>
                    <a:ext uri="{FF2B5EF4-FFF2-40B4-BE49-F238E27FC236}">
                      <a16:creationId xmlns:a16="http://schemas.microsoft.com/office/drawing/2014/main" id="{3EB3D4A9-358A-DFEC-B7FB-E32C7D1B566C}"/>
                    </a:ext>
                  </a:extLst>
                </p:cNvPr>
                <p:cNvSpPr/>
                <p:nvPr/>
              </p:nvSpPr>
              <p:spPr>
                <a:xfrm>
                  <a:off x="3346870" y="676661"/>
                  <a:ext cx="246850" cy="18191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sp>
            <p:nvSpPr>
              <p:cNvPr id="28" name="ZoneTexte 27"/>
              <p:cNvSpPr txBox="1"/>
              <p:nvPr/>
            </p:nvSpPr>
            <p:spPr>
              <a:xfrm>
                <a:off x="2355850" y="1662755"/>
                <a:ext cx="2488778" cy="12059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r>
                  <a:rPr lang="fr-FR" sz="1050" b="1" dirty="0">
                    <a:solidFill>
                      <a:prstClr val="white"/>
                    </a:solidFill>
                    <a:latin typeface="Arial"/>
                  </a:rPr>
                  <a:t>Put </a:t>
                </a:r>
                <a:r>
                  <a:rPr lang="fr-FR" sz="1050" b="1" dirty="0" err="1">
                    <a:solidFill>
                      <a:prstClr val="white"/>
                    </a:solidFill>
                    <a:latin typeface="Arial"/>
                  </a:rPr>
                  <a:t>our</a:t>
                </a:r>
                <a:r>
                  <a:rPr lang="fr-FR" sz="1050" b="1" dirty="0">
                    <a:solidFill>
                      <a:prstClr val="white"/>
                    </a:solidFill>
                    <a:latin typeface="Arial"/>
                  </a:rPr>
                  <a:t> business </a:t>
                </a:r>
              </a:p>
              <a:p>
                <a:pPr algn="ctr" defTabSz="685783">
                  <a:defRPr/>
                </a:pPr>
                <a:r>
                  <a:rPr lang="fr-FR" sz="1050" b="1" dirty="0">
                    <a:solidFill>
                      <a:prstClr val="white"/>
                    </a:solidFill>
                    <a:latin typeface="Arial"/>
                  </a:rPr>
                  <a:t>at the heart of a </a:t>
                </a:r>
              </a:p>
              <a:p>
                <a:pPr algn="ctr" defTabSz="685783">
                  <a:defRPr/>
                </a:pPr>
                <a:r>
                  <a:rPr lang="fr-FR" sz="1050" b="1" dirty="0">
                    <a:solidFill>
                      <a:prstClr val="white"/>
                    </a:solidFill>
                    <a:latin typeface="Arial"/>
                  </a:rPr>
                  <a:t>just and positive transition </a:t>
                </a:r>
              </a:p>
            </p:txBody>
          </p:sp>
          <p:sp>
            <p:nvSpPr>
              <p:cNvPr id="5" name="ZoneTexte 4">
                <a:extLst>
                  <a:ext uri="{FF2B5EF4-FFF2-40B4-BE49-F238E27FC236}">
                    <a16:creationId xmlns:a16="http://schemas.microsoft.com/office/drawing/2014/main" id="{40B7D357-1FAB-5CB9-5D35-1DD551FCF8DA}"/>
                  </a:ext>
                </a:extLst>
              </p:cNvPr>
              <p:cNvSpPr txBox="1"/>
              <p:nvPr/>
            </p:nvSpPr>
            <p:spPr>
              <a:xfrm>
                <a:off x="2342515" y="3376593"/>
                <a:ext cx="2518278" cy="19980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lvl="1" algn="ctr" defTabSz="457189">
                  <a:lnSpc>
                    <a:spcPts val="975"/>
                  </a:lnSpc>
                  <a:buClr>
                    <a:srgbClr val="007C54"/>
                  </a:buClr>
                  <a:defRPr/>
                </a:pPr>
                <a:r>
                  <a:rPr lang="fr-FR" sz="825" b="1" kern="0" dirty="0">
                    <a:solidFill>
                      <a:prstClr val="black"/>
                    </a:solidFill>
                    <a:latin typeface="Arial"/>
                    <a:cs typeface="Arial" panose="020B0604020202020204" pitchFamily="34" charset="0"/>
                  </a:rPr>
                  <a:t>As a major </a:t>
                </a:r>
                <a:r>
                  <a:rPr lang="fr-FR" sz="825" b="1" kern="0" dirty="0" err="1">
                    <a:solidFill>
                      <a:prstClr val="black"/>
                    </a:solidFill>
                    <a:latin typeface="Arial"/>
                    <a:cs typeface="Arial" panose="020B0604020202020204" pitchFamily="34" charset="0"/>
                  </a:rPr>
                  <a:t>financing</a:t>
                </a:r>
                <a:r>
                  <a:rPr lang="fr-FR" sz="825" b="1" kern="0" dirty="0">
                    <a:solidFill>
                      <a:prstClr val="black"/>
                    </a:solidFill>
                    <a:latin typeface="Arial"/>
                    <a:cs typeface="Arial" panose="020B0604020202020204" pitchFamily="34" charset="0"/>
                  </a:rPr>
                  <a:t> player:  </a:t>
                </a:r>
              </a:p>
              <a:p>
                <a:pPr marL="7144" lvl="1" defTabSz="457189">
                  <a:lnSpc>
                    <a:spcPts val="975"/>
                  </a:lnSpc>
                  <a:buClr>
                    <a:srgbClr val="007C54"/>
                  </a:buClr>
                  <a:defRPr/>
                </a:pPr>
                <a:endParaRPr lang="fr-FR" sz="825" kern="0" dirty="0">
                  <a:solidFill>
                    <a:prstClr val="black"/>
                  </a:solidFill>
                  <a:latin typeface="Arial"/>
                  <a:cs typeface="Arial" panose="020B0604020202020204" pitchFamily="34" charset="0"/>
                </a:endParaRPr>
              </a:p>
              <a:p>
                <a:pPr marL="7144" lvl="1" defTabSz="457189">
                  <a:lnSpc>
                    <a:spcPts val="975"/>
                  </a:lnSpc>
                  <a:buClr>
                    <a:srgbClr val="007C54"/>
                  </a:buClr>
                  <a:defRPr/>
                </a:pPr>
                <a:r>
                  <a:rPr lang="fr-FR" sz="1050" kern="0" dirty="0">
                    <a:solidFill>
                      <a:prstClr val="black"/>
                    </a:solidFill>
                    <a:latin typeface="Arial"/>
                    <a:cs typeface="Arial" panose="020B0604020202020204" pitchFamily="34" charset="0"/>
                  </a:rPr>
                  <a:t>Combine </a:t>
                </a:r>
                <a:r>
                  <a:rPr lang="fr-FR" sz="1050" kern="0" dirty="0" err="1">
                    <a:solidFill>
                      <a:prstClr val="black"/>
                    </a:solidFill>
                    <a:latin typeface="Arial"/>
                    <a:cs typeface="Arial" panose="020B0604020202020204" pitchFamily="34" charset="0"/>
                  </a:rPr>
                  <a:t>energy </a:t>
                </a:r>
                <a:r>
                  <a:rPr lang="fr-FR" sz="1050" kern="0" dirty="0">
                    <a:solidFill>
                      <a:prstClr val="black"/>
                    </a:solidFill>
                    <a:latin typeface="Arial"/>
                    <a:cs typeface="Arial" panose="020B0604020202020204" pitchFamily="34" charset="0"/>
                  </a:rPr>
                  <a:t>transition and inclusion to: </a:t>
                </a:r>
              </a:p>
              <a:p>
                <a:pPr marL="135728" lvl="1" indent="-128585" defTabSz="457189">
                  <a:lnSpc>
                    <a:spcPts val="975"/>
                  </a:lnSpc>
                  <a:buClr>
                    <a:srgbClr val="007C54"/>
                  </a:buClr>
                  <a:buFont typeface="Arial" panose="020B0604020202020204" pitchFamily="34" charset="0"/>
                  <a:buChar char="•"/>
                  <a:defRPr/>
                </a:pPr>
                <a:r>
                  <a:rPr lang="fr-FR" sz="1050" kern="0" dirty="0" err="1">
                    <a:solidFill>
                      <a:prstClr val="black"/>
                    </a:solidFill>
                    <a:latin typeface="Arial"/>
                    <a:cs typeface="Arial" panose="020B0604020202020204" pitchFamily="34" charset="0"/>
                  </a:rPr>
                  <a:t>accelerate </a:t>
                </a:r>
                <a:r>
                  <a:rPr lang="fr-FR" sz="1050" kern="0" dirty="0">
                    <a:solidFill>
                      <a:prstClr val="black"/>
                    </a:solidFill>
                    <a:latin typeface="Arial"/>
                    <a:cs typeface="Arial" panose="020B0604020202020204" pitchFamily="34" charset="0"/>
                  </a:rPr>
                  <a:t>the transformation</a:t>
                </a:r>
              </a:p>
              <a:p>
                <a:pPr marL="135728" lvl="1" indent="-128585" defTabSz="457189">
                  <a:lnSpc>
                    <a:spcPts val="975"/>
                  </a:lnSpc>
                  <a:buClr>
                    <a:srgbClr val="007C54"/>
                  </a:buClr>
                  <a:buFont typeface="Arial" panose="020B0604020202020204" pitchFamily="34" charset="0"/>
                  <a:buChar char="•"/>
                  <a:defRPr/>
                </a:pPr>
                <a:r>
                  <a:rPr lang="fr-FR" sz="1050" kern="0" dirty="0">
                    <a:solidFill>
                      <a:prstClr val="black"/>
                    </a:solidFill>
                    <a:latin typeface="Arial"/>
                    <a:cs typeface="Arial" panose="020B0604020202020204" pitchFamily="34" charset="0"/>
                  </a:rPr>
                  <a:t>enable better credit access and stronger protection for fragile customers .</a:t>
                </a:r>
              </a:p>
              <a:p>
                <a:pPr marL="135728" lvl="1" indent="-128585" defTabSz="457189">
                  <a:lnSpc>
                    <a:spcPts val="975"/>
                  </a:lnSpc>
                  <a:buClr>
                    <a:srgbClr val="007C54"/>
                  </a:buClr>
                  <a:buFont typeface="Arial" panose="020B0604020202020204" pitchFamily="34" charset="0"/>
                  <a:buChar char="•"/>
                  <a:defRPr/>
                </a:pPr>
                <a:r>
                  <a:rPr lang="fr-FR" sz="1050" kern="0" dirty="0">
                    <a:solidFill>
                      <a:prstClr val="black"/>
                    </a:solidFill>
                    <a:latin typeface="Arial"/>
                    <a:cs typeface="Arial" panose="020B0604020202020204" pitchFamily="34" charset="0"/>
                  </a:rPr>
                  <a:t>encourage progressive but powerful movements without guilt </a:t>
                </a:r>
              </a:p>
            </p:txBody>
          </p:sp>
          <p:sp>
            <p:nvSpPr>
              <p:cNvPr id="7" name="Rectangle 6">
                <a:extLst>
                  <a:ext uri="{FF2B5EF4-FFF2-40B4-BE49-F238E27FC236}">
                    <a16:creationId xmlns:a16="http://schemas.microsoft.com/office/drawing/2014/main" id="{EE04E1ED-EDAE-56F2-6D80-FEB8A45C882B}"/>
                  </a:ext>
                </a:extLst>
              </p:cNvPr>
              <p:cNvSpPr/>
              <p:nvPr/>
            </p:nvSpPr>
            <p:spPr>
              <a:xfrm>
                <a:off x="2365064" y="5869128"/>
                <a:ext cx="2487603" cy="291960"/>
              </a:xfrm>
              <a:prstGeom prst="rect">
                <a:avLst/>
              </a:prstGeom>
              <a:solidFill>
                <a:srgbClr val="008B92"/>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pSp>
      <p:grpSp>
        <p:nvGrpSpPr>
          <p:cNvPr id="19" name="Graphique 36">
            <a:extLst>
              <a:ext uri="{FF2B5EF4-FFF2-40B4-BE49-F238E27FC236}">
                <a16:creationId xmlns:a16="http://schemas.microsoft.com/office/drawing/2014/main" id="{44D1BB57-8123-A5DC-FB8B-DB9DEB835AC5}"/>
              </a:ext>
            </a:extLst>
          </p:cNvPr>
          <p:cNvGrpSpPr/>
          <p:nvPr/>
        </p:nvGrpSpPr>
        <p:grpSpPr>
          <a:xfrm>
            <a:off x="7893737" y="112963"/>
            <a:ext cx="818298" cy="877568"/>
            <a:chOff x="3852405" y="2530054"/>
            <a:chExt cx="1257731" cy="1348829"/>
          </a:xfrm>
          <a:solidFill>
            <a:srgbClr val="008B92"/>
          </a:solidFill>
        </p:grpSpPr>
        <p:sp>
          <p:nvSpPr>
            <p:cNvPr id="25" name="Forme libre 24">
              <a:extLst>
                <a:ext uri="{FF2B5EF4-FFF2-40B4-BE49-F238E27FC236}">
                  <a16:creationId xmlns:a16="http://schemas.microsoft.com/office/drawing/2014/main" id="{86A94E0B-3E22-99D8-D581-6AC698E88BA0}"/>
                </a:ext>
              </a:extLst>
            </p:cNvPr>
            <p:cNvSpPr/>
            <p:nvPr/>
          </p:nvSpPr>
          <p:spPr>
            <a:xfrm>
              <a:off x="4487284" y="2696222"/>
              <a:ext cx="270205" cy="270205"/>
            </a:xfrm>
            <a:custGeom>
              <a:avLst/>
              <a:gdLst>
                <a:gd name="connsiteX0" fmla="*/ 82468 w 270205"/>
                <a:gd name="connsiteY0" fmla="*/ 259575 h 270205"/>
                <a:gd name="connsiteX1" fmla="*/ 135103 w 270205"/>
                <a:gd name="connsiteY1" fmla="*/ 270205 h 270205"/>
                <a:gd name="connsiteX2" fmla="*/ 187738 w 270205"/>
                <a:gd name="connsiteY2" fmla="*/ 259575 h 270205"/>
                <a:gd name="connsiteX3" fmla="*/ 230600 w 270205"/>
                <a:gd name="connsiteY3" fmla="*/ 230600 h 270205"/>
                <a:gd name="connsiteX4" fmla="*/ 259575 w 270205"/>
                <a:gd name="connsiteY4" fmla="*/ 187738 h 270205"/>
                <a:gd name="connsiteX5" fmla="*/ 270205 w 270205"/>
                <a:gd name="connsiteY5" fmla="*/ 135103 h 270205"/>
                <a:gd name="connsiteX6" fmla="*/ 259575 w 270205"/>
                <a:gd name="connsiteY6" fmla="*/ 82467 h 270205"/>
                <a:gd name="connsiteX7" fmla="*/ 230600 w 270205"/>
                <a:gd name="connsiteY7" fmla="*/ 39605 h 270205"/>
                <a:gd name="connsiteX8" fmla="*/ 187738 w 270205"/>
                <a:gd name="connsiteY8" fmla="*/ 10630 h 270205"/>
                <a:gd name="connsiteX9" fmla="*/ 135103 w 270205"/>
                <a:gd name="connsiteY9" fmla="*/ 0 h 270205"/>
                <a:gd name="connsiteX10" fmla="*/ 82468 w 270205"/>
                <a:gd name="connsiteY10" fmla="*/ 10630 h 270205"/>
                <a:gd name="connsiteX11" fmla="*/ 39605 w 270205"/>
                <a:gd name="connsiteY11" fmla="*/ 39605 h 270205"/>
                <a:gd name="connsiteX12" fmla="*/ 10630 w 270205"/>
                <a:gd name="connsiteY12" fmla="*/ 82467 h 270205"/>
                <a:gd name="connsiteX13" fmla="*/ 0 w 270205"/>
                <a:gd name="connsiteY13" fmla="*/ 135103 h 270205"/>
                <a:gd name="connsiteX14" fmla="*/ 10630 w 270205"/>
                <a:gd name="connsiteY14" fmla="*/ 187738 h 270205"/>
                <a:gd name="connsiteX15" fmla="*/ 39605 w 270205"/>
                <a:gd name="connsiteY15" fmla="*/ 230600 h 270205"/>
                <a:gd name="connsiteX16" fmla="*/ 82468 w 270205"/>
                <a:gd name="connsiteY16" fmla="*/ 259575 h 270205"/>
                <a:gd name="connsiteX17" fmla="*/ 39948 w 270205"/>
                <a:gd name="connsiteY17" fmla="*/ 135103 h 270205"/>
                <a:gd name="connsiteX18" fmla="*/ 135103 w 270205"/>
                <a:gd name="connsiteY18" fmla="*/ 39948 h 270205"/>
                <a:gd name="connsiteX19" fmla="*/ 230257 w 270205"/>
                <a:gd name="connsiteY19" fmla="*/ 135103 h 270205"/>
                <a:gd name="connsiteX20" fmla="*/ 135103 w 270205"/>
                <a:gd name="connsiteY20" fmla="*/ 230257 h 270205"/>
                <a:gd name="connsiteX21" fmla="*/ 39948 w 270205"/>
                <a:gd name="connsiteY21" fmla="*/ 135103 h 270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0205" h="270205">
                  <a:moveTo>
                    <a:pt x="82468" y="259575"/>
                  </a:moveTo>
                  <a:cubicBezTo>
                    <a:pt x="99098" y="266605"/>
                    <a:pt x="116758" y="270205"/>
                    <a:pt x="135103" y="270205"/>
                  </a:cubicBezTo>
                  <a:cubicBezTo>
                    <a:pt x="153276" y="270205"/>
                    <a:pt x="171107" y="266605"/>
                    <a:pt x="187738" y="259575"/>
                  </a:cubicBezTo>
                  <a:cubicBezTo>
                    <a:pt x="203854" y="252717"/>
                    <a:pt x="218256" y="242945"/>
                    <a:pt x="230600" y="230600"/>
                  </a:cubicBezTo>
                  <a:cubicBezTo>
                    <a:pt x="242945" y="218256"/>
                    <a:pt x="252717" y="203683"/>
                    <a:pt x="259575" y="187738"/>
                  </a:cubicBezTo>
                  <a:cubicBezTo>
                    <a:pt x="266605" y="171107"/>
                    <a:pt x="270205" y="153448"/>
                    <a:pt x="270205" y="135103"/>
                  </a:cubicBezTo>
                  <a:cubicBezTo>
                    <a:pt x="270205" y="116929"/>
                    <a:pt x="266605" y="99098"/>
                    <a:pt x="259575" y="82467"/>
                  </a:cubicBezTo>
                  <a:cubicBezTo>
                    <a:pt x="252717" y="66351"/>
                    <a:pt x="243116" y="51949"/>
                    <a:pt x="230600" y="39605"/>
                  </a:cubicBezTo>
                  <a:cubicBezTo>
                    <a:pt x="218256" y="27261"/>
                    <a:pt x="203683" y="17488"/>
                    <a:pt x="187738" y="10630"/>
                  </a:cubicBezTo>
                  <a:cubicBezTo>
                    <a:pt x="171107" y="3600"/>
                    <a:pt x="153448" y="0"/>
                    <a:pt x="135103" y="0"/>
                  </a:cubicBezTo>
                  <a:cubicBezTo>
                    <a:pt x="116758" y="0"/>
                    <a:pt x="99098" y="3600"/>
                    <a:pt x="82468" y="10630"/>
                  </a:cubicBezTo>
                  <a:cubicBezTo>
                    <a:pt x="66351" y="17488"/>
                    <a:pt x="51949" y="27089"/>
                    <a:pt x="39605" y="39605"/>
                  </a:cubicBezTo>
                  <a:cubicBezTo>
                    <a:pt x="27261" y="51949"/>
                    <a:pt x="17488" y="66523"/>
                    <a:pt x="10630" y="82467"/>
                  </a:cubicBezTo>
                  <a:cubicBezTo>
                    <a:pt x="3601" y="99098"/>
                    <a:pt x="0" y="116757"/>
                    <a:pt x="0" y="135103"/>
                  </a:cubicBezTo>
                  <a:cubicBezTo>
                    <a:pt x="0" y="153276"/>
                    <a:pt x="3601" y="171107"/>
                    <a:pt x="10630" y="187738"/>
                  </a:cubicBezTo>
                  <a:cubicBezTo>
                    <a:pt x="17488" y="203854"/>
                    <a:pt x="27261" y="218256"/>
                    <a:pt x="39605" y="230600"/>
                  </a:cubicBezTo>
                  <a:cubicBezTo>
                    <a:pt x="51949" y="242945"/>
                    <a:pt x="66351" y="252717"/>
                    <a:pt x="82468" y="259575"/>
                  </a:cubicBezTo>
                  <a:close/>
                  <a:moveTo>
                    <a:pt x="39948" y="135103"/>
                  </a:moveTo>
                  <a:cubicBezTo>
                    <a:pt x="39948" y="82639"/>
                    <a:pt x="82639" y="39948"/>
                    <a:pt x="135103" y="39948"/>
                  </a:cubicBezTo>
                  <a:cubicBezTo>
                    <a:pt x="187566" y="39948"/>
                    <a:pt x="230257" y="82639"/>
                    <a:pt x="230257" y="135103"/>
                  </a:cubicBezTo>
                  <a:cubicBezTo>
                    <a:pt x="230257" y="187566"/>
                    <a:pt x="187566" y="230257"/>
                    <a:pt x="135103" y="230257"/>
                  </a:cubicBezTo>
                  <a:cubicBezTo>
                    <a:pt x="82639" y="230257"/>
                    <a:pt x="39948" y="187566"/>
                    <a:pt x="39948" y="135103"/>
                  </a:cubicBezTo>
                  <a:close/>
                </a:path>
              </a:pathLst>
            </a:custGeom>
            <a:grpFill/>
            <a:ln w="9525" cap="flat">
              <a:noFill/>
              <a:prstDash val="solid"/>
              <a:miter/>
            </a:ln>
          </p:spPr>
          <p:txBody>
            <a:bodyPr rtlCol="0" anchor="ctr"/>
            <a:lstStyle/>
            <a:p>
              <a:pPr defTabSz="457189"/>
              <a:endParaRPr lang="fr-FR" sz="1350">
                <a:solidFill>
                  <a:prstClr val="black"/>
                </a:solidFill>
                <a:latin typeface="Arial"/>
              </a:endParaRPr>
            </a:p>
          </p:txBody>
        </p:sp>
        <p:sp>
          <p:nvSpPr>
            <p:cNvPr id="26" name="Forme libre 25">
              <a:extLst>
                <a:ext uri="{FF2B5EF4-FFF2-40B4-BE49-F238E27FC236}">
                  <a16:creationId xmlns:a16="http://schemas.microsoft.com/office/drawing/2014/main" id="{47000539-9251-B501-0EB4-3C09E82A82CE}"/>
                </a:ext>
              </a:extLst>
            </p:cNvPr>
            <p:cNvSpPr/>
            <p:nvPr/>
          </p:nvSpPr>
          <p:spPr>
            <a:xfrm>
              <a:off x="4413979" y="2977229"/>
              <a:ext cx="416492" cy="143160"/>
            </a:xfrm>
            <a:custGeom>
              <a:avLst/>
              <a:gdLst>
                <a:gd name="connsiteX0" fmla="*/ 1811 w 416492"/>
                <a:gd name="connsiteY0" fmla="*/ 115043 h 143160"/>
                <a:gd name="connsiteX1" fmla="*/ 1297 w 416492"/>
                <a:gd name="connsiteY1" fmla="*/ 130302 h 143160"/>
                <a:gd name="connsiteX2" fmla="*/ 11755 w 416492"/>
                <a:gd name="connsiteY2" fmla="*/ 141446 h 143160"/>
                <a:gd name="connsiteX3" fmla="*/ 19985 w 416492"/>
                <a:gd name="connsiteY3" fmla="*/ 143161 h 143160"/>
                <a:gd name="connsiteX4" fmla="*/ 38158 w 416492"/>
                <a:gd name="connsiteY4" fmla="*/ 131331 h 143160"/>
                <a:gd name="connsiteX5" fmla="*/ 118226 w 416492"/>
                <a:gd name="connsiteY5" fmla="*/ 44748 h 143160"/>
                <a:gd name="connsiteX6" fmla="*/ 192806 w 416492"/>
                <a:gd name="connsiteY6" fmla="*/ 135788 h 143160"/>
                <a:gd name="connsiteX7" fmla="*/ 208237 w 416492"/>
                <a:gd name="connsiteY7" fmla="*/ 143161 h 143160"/>
                <a:gd name="connsiteX8" fmla="*/ 223667 w 416492"/>
                <a:gd name="connsiteY8" fmla="*/ 135788 h 143160"/>
                <a:gd name="connsiteX9" fmla="*/ 298248 w 416492"/>
                <a:gd name="connsiteY9" fmla="*/ 44748 h 143160"/>
                <a:gd name="connsiteX10" fmla="*/ 378315 w 416492"/>
                <a:gd name="connsiteY10" fmla="*/ 131331 h 143160"/>
                <a:gd name="connsiteX11" fmla="*/ 396489 w 416492"/>
                <a:gd name="connsiteY11" fmla="*/ 143161 h 143160"/>
                <a:gd name="connsiteX12" fmla="*/ 404718 w 416492"/>
                <a:gd name="connsiteY12" fmla="*/ 141446 h 143160"/>
                <a:gd name="connsiteX13" fmla="*/ 414663 w 416492"/>
                <a:gd name="connsiteY13" fmla="*/ 115043 h 143160"/>
                <a:gd name="connsiteX14" fmla="*/ 368200 w 416492"/>
                <a:gd name="connsiteY14" fmla="*/ 48006 h 143160"/>
                <a:gd name="connsiteX15" fmla="*/ 300991 w 416492"/>
                <a:gd name="connsiteY15" fmla="*/ 1715 h 143160"/>
                <a:gd name="connsiteX16" fmla="*/ 300305 w 416492"/>
                <a:gd name="connsiteY16" fmla="*/ 1372 h 143160"/>
                <a:gd name="connsiteX17" fmla="*/ 299620 w 416492"/>
                <a:gd name="connsiteY17" fmla="*/ 1200 h 143160"/>
                <a:gd name="connsiteX18" fmla="*/ 298591 w 416492"/>
                <a:gd name="connsiteY18" fmla="*/ 857 h 143160"/>
                <a:gd name="connsiteX19" fmla="*/ 297905 w 416492"/>
                <a:gd name="connsiteY19" fmla="*/ 686 h 143160"/>
                <a:gd name="connsiteX20" fmla="*/ 296705 w 416492"/>
                <a:gd name="connsiteY20" fmla="*/ 343 h 143160"/>
                <a:gd name="connsiteX21" fmla="*/ 296191 w 416492"/>
                <a:gd name="connsiteY21" fmla="*/ 171 h 143160"/>
                <a:gd name="connsiteX22" fmla="*/ 294819 w 416492"/>
                <a:gd name="connsiteY22" fmla="*/ 0 h 143160"/>
                <a:gd name="connsiteX23" fmla="*/ 294305 w 416492"/>
                <a:gd name="connsiteY23" fmla="*/ 0 h 143160"/>
                <a:gd name="connsiteX24" fmla="*/ 292419 w 416492"/>
                <a:gd name="connsiteY24" fmla="*/ 0 h 143160"/>
                <a:gd name="connsiteX25" fmla="*/ 290876 w 416492"/>
                <a:gd name="connsiteY25" fmla="*/ 0 h 143160"/>
                <a:gd name="connsiteX26" fmla="*/ 290361 w 416492"/>
                <a:gd name="connsiteY26" fmla="*/ 0 h 143160"/>
                <a:gd name="connsiteX27" fmla="*/ 288990 w 416492"/>
                <a:gd name="connsiteY27" fmla="*/ 171 h 143160"/>
                <a:gd name="connsiteX28" fmla="*/ 288304 w 416492"/>
                <a:gd name="connsiteY28" fmla="*/ 343 h 143160"/>
                <a:gd name="connsiteX29" fmla="*/ 287104 w 416492"/>
                <a:gd name="connsiteY29" fmla="*/ 686 h 143160"/>
                <a:gd name="connsiteX30" fmla="*/ 286418 w 416492"/>
                <a:gd name="connsiteY30" fmla="*/ 857 h 143160"/>
                <a:gd name="connsiteX31" fmla="*/ 286247 w 416492"/>
                <a:gd name="connsiteY31" fmla="*/ 857 h 143160"/>
                <a:gd name="connsiteX32" fmla="*/ 285218 w 416492"/>
                <a:gd name="connsiteY32" fmla="*/ 1200 h 143160"/>
                <a:gd name="connsiteX33" fmla="*/ 284361 w 416492"/>
                <a:gd name="connsiteY33" fmla="*/ 1543 h 143160"/>
                <a:gd name="connsiteX34" fmla="*/ 283503 w 416492"/>
                <a:gd name="connsiteY34" fmla="*/ 2057 h 143160"/>
                <a:gd name="connsiteX35" fmla="*/ 282646 w 416492"/>
                <a:gd name="connsiteY35" fmla="*/ 2572 h 143160"/>
                <a:gd name="connsiteX36" fmla="*/ 281789 w 416492"/>
                <a:gd name="connsiteY36" fmla="*/ 3086 h 143160"/>
                <a:gd name="connsiteX37" fmla="*/ 281103 w 416492"/>
                <a:gd name="connsiteY37" fmla="*/ 3600 h 143160"/>
                <a:gd name="connsiteX38" fmla="*/ 280246 w 416492"/>
                <a:gd name="connsiteY38" fmla="*/ 4286 h 143160"/>
                <a:gd name="connsiteX39" fmla="*/ 279731 w 416492"/>
                <a:gd name="connsiteY39" fmla="*/ 4801 h 143160"/>
                <a:gd name="connsiteX40" fmla="*/ 278874 w 416492"/>
                <a:gd name="connsiteY40" fmla="*/ 5658 h 143160"/>
                <a:gd name="connsiteX41" fmla="*/ 278360 w 416492"/>
                <a:gd name="connsiteY41" fmla="*/ 6172 h 143160"/>
                <a:gd name="connsiteX42" fmla="*/ 277674 w 416492"/>
                <a:gd name="connsiteY42" fmla="*/ 7029 h 143160"/>
                <a:gd name="connsiteX43" fmla="*/ 277331 w 416492"/>
                <a:gd name="connsiteY43" fmla="*/ 7372 h 143160"/>
                <a:gd name="connsiteX44" fmla="*/ 208065 w 416492"/>
                <a:gd name="connsiteY44" fmla="*/ 91897 h 143160"/>
                <a:gd name="connsiteX45" fmla="*/ 138800 w 416492"/>
                <a:gd name="connsiteY45" fmla="*/ 7372 h 143160"/>
                <a:gd name="connsiteX46" fmla="*/ 138457 w 416492"/>
                <a:gd name="connsiteY46" fmla="*/ 7029 h 143160"/>
                <a:gd name="connsiteX47" fmla="*/ 137771 w 416492"/>
                <a:gd name="connsiteY47" fmla="*/ 6344 h 143160"/>
                <a:gd name="connsiteX48" fmla="*/ 137256 w 416492"/>
                <a:gd name="connsiteY48" fmla="*/ 5829 h 143160"/>
                <a:gd name="connsiteX49" fmla="*/ 136399 w 416492"/>
                <a:gd name="connsiteY49" fmla="*/ 4972 h 143160"/>
                <a:gd name="connsiteX50" fmla="*/ 135713 w 416492"/>
                <a:gd name="connsiteY50" fmla="*/ 4458 h 143160"/>
                <a:gd name="connsiteX51" fmla="*/ 134856 w 416492"/>
                <a:gd name="connsiteY51" fmla="*/ 3772 h 143160"/>
                <a:gd name="connsiteX52" fmla="*/ 134170 w 416492"/>
                <a:gd name="connsiteY52" fmla="*/ 3258 h 143160"/>
                <a:gd name="connsiteX53" fmla="*/ 133313 w 416492"/>
                <a:gd name="connsiteY53" fmla="*/ 2743 h 143160"/>
                <a:gd name="connsiteX54" fmla="*/ 132627 w 416492"/>
                <a:gd name="connsiteY54" fmla="*/ 2400 h 143160"/>
                <a:gd name="connsiteX55" fmla="*/ 131599 w 416492"/>
                <a:gd name="connsiteY55" fmla="*/ 1886 h 143160"/>
                <a:gd name="connsiteX56" fmla="*/ 130913 w 416492"/>
                <a:gd name="connsiteY56" fmla="*/ 1543 h 143160"/>
                <a:gd name="connsiteX57" fmla="*/ 129884 w 416492"/>
                <a:gd name="connsiteY57" fmla="*/ 1200 h 143160"/>
                <a:gd name="connsiteX58" fmla="*/ 129198 w 416492"/>
                <a:gd name="connsiteY58" fmla="*/ 1029 h 143160"/>
                <a:gd name="connsiteX59" fmla="*/ 127998 w 416492"/>
                <a:gd name="connsiteY59" fmla="*/ 686 h 143160"/>
                <a:gd name="connsiteX60" fmla="*/ 127312 w 416492"/>
                <a:gd name="connsiteY60" fmla="*/ 514 h 143160"/>
                <a:gd name="connsiteX61" fmla="*/ 125941 w 416492"/>
                <a:gd name="connsiteY61" fmla="*/ 343 h 143160"/>
                <a:gd name="connsiteX62" fmla="*/ 125426 w 416492"/>
                <a:gd name="connsiteY62" fmla="*/ 343 h 143160"/>
                <a:gd name="connsiteX63" fmla="*/ 124055 w 416492"/>
                <a:gd name="connsiteY63" fmla="*/ 343 h 143160"/>
                <a:gd name="connsiteX64" fmla="*/ 122169 w 416492"/>
                <a:gd name="connsiteY64" fmla="*/ 343 h 143160"/>
                <a:gd name="connsiteX65" fmla="*/ 121655 w 416492"/>
                <a:gd name="connsiteY65" fmla="*/ 343 h 143160"/>
                <a:gd name="connsiteX66" fmla="*/ 120283 w 416492"/>
                <a:gd name="connsiteY66" fmla="*/ 514 h 143160"/>
                <a:gd name="connsiteX67" fmla="*/ 119769 w 416492"/>
                <a:gd name="connsiteY67" fmla="*/ 686 h 143160"/>
                <a:gd name="connsiteX68" fmla="*/ 118568 w 416492"/>
                <a:gd name="connsiteY68" fmla="*/ 1029 h 143160"/>
                <a:gd name="connsiteX69" fmla="*/ 117883 w 416492"/>
                <a:gd name="connsiteY69" fmla="*/ 1200 h 143160"/>
                <a:gd name="connsiteX70" fmla="*/ 116854 w 416492"/>
                <a:gd name="connsiteY70" fmla="*/ 1543 h 143160"/>
                <a:gd name="connsiteX71" fmla="*/ 116168 w 416492"/>
                <a:gd name="connsiteY71" fmla="*/ 1886 h 143160"/>
                <a:gd name="connsiteX72" fmla="*/ 115482 w 416492"/>
                <a:gd name="connsiteY72" fmla="*/ 2057 h 143160"/>
                <a:gd name="connsiteX73" fmla="*/ 48274 w 416492"/>
                <a:gd name="connsiteY73" fmla="*/ 48349 h 143160"/>
                <a:gd name="connsiteX74" fmla="*/ 1811 w 416492"/>
                <a:gd name="connsiteY74" fmla="*/ 115043 h 14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16492" h="143160">
                  <a:moveTo>
                    <a:pt x="1811" y="115043"/>
                  </a:moveTo>
                  <a:cubicBezTo>
                    <a:pt x="-418" y="119844"/>
                    <a:pt x="-589" y="125330"/>
                    <a:pt x="1297" y="130302"/>
                  </a:cubicBezTo>
                  <a:cubicBezTo>
                    <a:pt x="3183" y="135274"/>
                    <a:pt x="6954" y="139217"/>
                    <a:pt x="11755" y="141446"/>
                  </a:cubicBezTo>
                  <a:cubicBezTo>
                    <a:pt x="14327" y="142646"/>
                    <a:pt x="17070" y="143161"/>
                    <a:pt x="19985" y="143161"/>
                  </a:cubicBezTo>
                  <a:cubicBezTo>
                    <a:pt x="27871" y="143161"/>
                    <a:pt x="34901" y="138532"/>
                    <a:pt x="38158" y="131331"/>
                  </a:cubicBezTo>
                  <a:cubicBezTo>
                    <a:pt x="54789" y="94812"/>
                    <a:pt x="83078" y="64122"/>
                    <a:pt x="118226" y="44748"/>
                  </a:cubicBezTo>
                  <a:lnTo>
                    <a:pt x="192806" y="135788"/>
                  </a:lnTo>
                  <a:cubicBezTo>
                    <a:pt x="196578" y="140418"/>
                    <a:pt x="202236" y="143161"/>
                    <a:pt x="208237" y="143161"/>
                  </a:cubicBezTo>
                  <a:cubicBezTo>
                    <a:pt x="214238" y="143161"/>
                    <a:pt x="219895" y="140418"/>
                    <a:pt x="223667" y="135788"/>
                  </a:cubicBezTo>
                  <a:lnTo>
                    <a:pt x="298248" y="44748"/>
                  </a:lnTo>
                  <a:cubicBezTo>
                    <a:pt x="333395" y="64122"/>
                    <a:pt x="361856" y="94812"/>
                    <a:pt x="378315" y="131331"/>
                  </a:cubicBezTo>
                  <a:cubicBezTo>
                    <a:pt x="381573" y="138532"/>
                    <a:pt x="388774" y="143161"/>
                    <a:pt x="396489" y="143161"/>
                  </a:cubicBezTo>
                  <a:cubicBezTo>
                    <a:pt x="399404" y="143161"/>
                    <a:pt x="402147" y="142475"/>
                    <a:pt x="404718" y="141446"/>
                  </a:cubicBezTo>
                  <a:cubicBezTo>
                    <a:pt x="414834" y="136817"/>
                    <a:pt x="419292" y="124987"/>
                    <a:pt x="414663" y="115043"/>
                  </a:cubicBezTo>
                  <a:cubicBezTo>
                    <a:pt x="403347" y="90011"/>
                    <a:pt x="387745" y="67380"/>
                    <a:pt x="368200" y="48006"/>
                  </a:cubicBezTo>
                  <a:cubicBezTo>
                    <a:pt x="348654" y="28461"/>
                    <a:pt x="326023" y="13030"/>
                    <a:pt x="300991" y="1715"/>
                  </a:cubicBezTo>
                  <a:cubicBezTo>
                    <a:pt x="300820" y="1543"/>
                    <a:pt x="300648" y="1543"/>
                    <a:pt x="300305" y="1372"/>
                  </a:cubicBezTo>
                  <a:cubicBezTo>
                    <a:pt x="300134" y="1372"/>
                    <a:pt x="299963" y="1200"/>
                    <a:pt x="299620" y="1200"/>
                  </a:cubicBezTo>
                  <a:cubicBezTo>
                    <a:pt x="299277" y="1029"/>
                    <a:pt x="298934" y="1029"/>
                    <a:pt x="298591" y="857"/>
                  </a:cubicBezTo>
                  <a:cubicBezTo>
                    <a:pt x="298419" y="857"/>
                    <a:pt x="298077" y="686"/>
                    <a:pt x="297905" y="686"/>
                  </a:cubicBezTo>
                  <a:cubicBezTo>
                    <a:pt x="297562" y="514"/>
                    <a:pt x="297048" y="514"/>
                    <a:pt x="296705" y="343"/>
                  </a:cubicBezTo>
                  <a:cubicBezTo>
                    <a:pt x="296534" y="343"/>
                    <a:pt x="296362" y="343"/>
                    <a:pt x="296191" y="171"/>
                  </a:cubicBezTo>
                  <a:cubicBezTo>
                    <a:pt x="295676" y="171"/>
                    <a:pt x="295333" y="0"/>
                    <a:pt x="294819" y="0"/>
                  </a:cubicBezTo>
                  <a:cubicBezTo>
                    <a:pt x="294648" y="0"/>
                    <a:pt x="294476" y="0"/>
                    <a:pt x="294305" y="0"/>
                  </a:cubicBezTo>
                  <a:cubicBezTo>
                    <a:pt x="293790" y="0"/>
                    <a:pt x="293105" y="0"/>
                    <a:pt x="292419" y="0"/>
                  </a:cubicBezTo>
                  <a:cubicBezTo>
                    <a:pt x="291904" y="0"/>
                    <a:pt x="291390" y="0"/>
                    <a:pt x="290876" y="0"/>
                  </a:cubicBezTo>
                  <a:cubicBezTo>
                    <a:pt x="290704" y="0"/>
                    <a:pt x="290533" y="0"/>
                    <a:pt x="290361" y="0"/>
                  </a:cubicBezTo>
                  <a:cubicBezTo>
                    <a:pt x="289847" y="0"/>
                    <a:pt x="289504" y="171"/>
                    <a:pt x="288990" y="171"/>
                  </a:cubicBezTo>
                  <a:cubicBezTo>
                    <a:pt x="288818" y="171"/>
                    <a:pt x="288647" y="171"/>
                    <a:pt x="288304" y="343"/>
                  </a:cubicBezTo>
                  <a:cubicBezTo>
                    <a:pt x="287790" y="514"/>
                    <a:pt x="287447" y="514"/>
                    <a:pt x="287104" y="686"/>
                  </a:cubicBezTo>
                  <a:cubicBezTo>
                    <a:pt x="286932" y="686"/>
                    <a:pt x="286589" y="857"/>
                    <a:pt x="286418" y="857"/>
                  </a:cubicBezTo>
                  <a:lnTo>
                    <a:pt x="286247" y="857"/>
                  </a:lnTo>
                  <a:cubicBezTo>
                    <a:pt x="285904" y="1029"/>
                    <a:pt x="285561" y="1029"/>
                    <a:pt x="285218" y="1200"/>
                  </a:cubicBezTo>
                  <a:cubicBezTo>
                    <a:pt x="284875" y="1372"/>
                    <a:pt x="284703" y="1372"/>
                    <a:pt x="284361" y="1543"/>
                  </a:cubicBezTo>
                  <a:cubicBezTo>
                    <a:pt x="284018" y="1715"/>
                    <a:pt x="283675" y="1886"/>
                    <a:pt x="283503" y="2057"/>
                  </a:cubicBezTo>
                  <a:cubicBezTo>
                    <a:pt x="283332" y="2229"/>
                    <a:pt x="282989" y="2400"/>
                    <a:pt x="282646" y="2572"/>
                  </a:cubicBezTo>
                  <a:cubicBezTo>
                    <a:pt x="282303" y="2743"/>
                    <a:pt x="281960" y="2915"/>
                    <a:pt x="281789" y="3086"/>
                  </a:cubicBezTo>
                  <a:cubicBezTo>
                    <a:pt x="281617" y="3258"/>
                    <a:pt x="281446" y="3429"/>
                    <a:pt x="281103" y="3600"/>
                  </a:cubicBezTo>
                  <a:cubicBezTo>
                    <a:pt x="280760" y="3772"/>
                    <a:pt x="280417" y="4115"/>
                    <a:pt x="280246" y="4286"/>
                  </a:cubicBezTo>
                  <a:cubicBezTo>
                    <a:pt x="280074" y="4458"/>
                    <a:pt x="279903" y="4629"/>
                    <a:pt x="279731" y="4801"/>
                  </a:cubicBezTo>
                  <a:cubicBezTo>
                    <a:pt x="279389" y="5144"/>
                    <a:pt x="279046" y="5315"/>
                    <a:pt x="278874" y="5658"/>
                  </a:cubicBezTo>
                  <a:cubicBezTo>
                    <a:pt x="278703" y="5829"/>
                    <a:pt x="278531" y="6001"/>
                    <a:pt x="278360" y="6172"/>
                  </a:cubicBezTo>
                  <a:cubicBezTo>
                    <a:pt x="278188" y="6515"/>
                    <a:pt x="277845" y="6687"/>
                    <a:pt x="277674" y="7029"/>
                  </a:cubicBezTo>
                  <a:cubicBezTo>
                    <a:pt x="277503" y="7201"/>
                    <a:pt x="277331" y="7372"/>
                    <a:pt x="277331" y="7372"/>
                  </a:cubicBezTo>
                  <a:lnTo>
                    <a:pt x="208065" y="91897"/>
                  </a:lnTo>
                  <a:lnTo>
                    <a:pt x="138800" y="7372"/>
                  </a:lnTo>
                  <a:cubicBezTo>
                    <a:pt x="138628" y="7201"/>
                    <a:pt x="138628" y="7029"/>
                    <a:pt x="138457" y="7029"/>
                  </a:cubicBezTo>
                  <a:cubicBezTo>
                    <a:pt x="138285" y="6687"/>
                    <a:pt x="137942" y="6515"/>
                    <a:pt x="137771" y="6344"/>
                  </a:cubicBezTo>
                  <a:lnTo>
                    <a:pt x="137256" y="5829"/>
                  </a:lnTo>
                  <a:cubicBezTo>
                    <a:pt x="136914" y="5486"/>
                    <a:pt x="136571" y="5315"/>
                    <a:pt x="136399" y="4972"/>
                  </a:cubicBezTo>
                  <a:cubicBezTo>
                    <a:pt x="136228" y="4801"/>
                    <a:pt x="136056" y="4629"/>
                    <a:pt x="135713" y="4458"/>
                  </a:cubicBezTo>
                  <a:cubicBezTo>
                    <a:pt x="135371" y="4286"/>
                    <a:pt x="135199" y="4115"/>
                    <a:pt x="134856" y="3772"/>
                  </a:cubicBezTo>
                  <a:cubicBezTo>
                    <a:pt x="134685" y="3600"/>
                    <a:pt x="134342" y="3429"/>
                    <a:pt x="134170" y="3258"/>
                  </a:cubicBezTo>
                  <a:cubicBezTo>
                    <a:pt x="133827" y="3086"/>
                    <a:pt x="133656" y="2915"/>
                    <a:pt x="133313" y="2743"/>
                  </a:cubicBezTo>
                  <a:cubicBezTo>
                    <a:pt x="132970" y="2572"/>
                    <a:pt x="132799" y="2400"/>
                    <a:pt x="132627" y="2400"/>
                  </a:cubicBezTo>
                  <a:cubicBezTo>
                    <a:pt x="132284" y="2229"/>
                    <a:pt x="132113" y="2057"/>
                    <a:pt x="131599" y="1886"/>
                  </a:cubicBezTo>
                  <a:cubicBezTo>
                    <a:pt x="131256" y="1715"/>
                    <a:pt x="131084" y="1715"/>
                    <a:pt x="130913" y="1543"/>
                  </a:cubicBezTo>
                  <a:cubicBezTo>
                    <a:pt x="130570" y="1372"/>
                    <a:pt x="130227" y="1372"/>
                    <a:pt x="129884" y="1200"/>
                  </a:cubicBezTo>
                  <a:cubicBezTo>
                    <a:pt x="129541" y="1029"/>
                    <a:pt x="129370" y="1029"/>
                    <a:pt x="129198" y="1029"/>
                  </a:cubicBezTo>
                  <a:cubicBezTo>
                    <a:pt x="128855" y="857"/>
                    <a:pt x="128513" y="857"/>
                    <a:pt x="127998" y="686"/>
                  </a:cubicBezTo>
                  <a:cubicBezTo>
                    <a:pt x="127827" y="686"/>
                    <a:pt x="127484" y="514"/>
                    <a:pt x="127312" y="514"/>
                  </a:cubicBezTo>
                  <a:cubicBezTo>
                    <a:pt x="126969" y="514"/>
                    <a:pt x="126455" y="343"/>
                    <a:pt x="125941" y="343"/>
                  </a:cubicBezTo>
                  <a:cubicBezTo>
                    <a:pt x="125769" y="343"/>
                    <a:pt x="125598" y="343"/>
                    <a:pt x="125426" y="343"/>
                  </a:cubicBezTo>
                  <a:cubicBezTo>
                    <a:pt x="124912" y="343"/>
                    <a:pt x="124569" y="343"/>
                    <a:pt x="124055" y="343"/>
                  </a:cubicBezTo>
                  <a:cubicBezTo>
                    <a:pt x="123540" y="343"/>
                    <a:pt x="122855" y="343"/>
                    <a:pt x="122169" y="343"/>
                  </a:cubicBezTo>
                  <a:cubicBezTo>
                    <a:pt x="121997" y="343"/>
                    <a:pt x="121826" y="343"/>
                    <a:pt x="121655" y="343"/>
                  </a:cubicBezTo>
                  <a:cubicBezTo>
                    <a:pt x="121312" y="343"/>
                    <a:pt x="120797" y="514"/>
                    <a:pt x="120283" y="514"/>
                  </a:cubicBezTo>
                  <a:cubicBezTo>
                    <a:pt x="120111" y="514"/>
                    <a:pt x="119940" y="514"/>
                    <a:pt x="119769" y="686"/>
                  </a:cubicBezTo>
                  <a:cubicBezTo>
                    <a:pt x="119426" y="686"/>
                    <a:pt x="119083" y="857"/>
                    <a:pt x="118568" y="1029"/>
                  </a:cubicBezTo>
                  <a:cubicBezTo>
                    <a:pt x="118397" y="1029"/>
                    <a:pt x="118054" y="1200"/>
                    <a:pt x="117883" y="1200"/>
                  </a:cubicBezTo>
                  <a:cubicBezTo>
                    <a:pt x="117540" y="1372"/>
                    <a:pt x="117197" y="1372"/>
                    <a:pt x="116854" y="1543"/>
                  </a:cubicBezTo>
                  <a:cubicBezTo>
                    <a:pt x="116682" y="1715"/>
                    <a:pt x="116340" y="1715"/>
                    <a:pt x="116168" y="1886"/>
                  </a:cubicBezTo>
                  <a:cubicBezTo>
                    <a:pt x="115997" y="1886"/>
                    <a:pt x="115825" y="2057"/>
                    <a:pt x="115482" y="2057"/>
                  </a:cubicBezTo>
                  <a:cubicBezTo>
                    <a:pt x="90451" y="13373"/>
                    <a:pt x="67819" y="28975"/>
                    <a:pt x="48274" y="48349"/>
                  </a:cubicBezTo>
                  <a:cubicBezTo>
                    <a:pt x="28729" y="67380"/>
                    <a:pt x="13127" y="90011"/>
                    <a:pt x="1811" y="115043"/>
                  </a:cubicBezTo>
                  <a:close/>
                </a:path>
              </a:pathLst>
            </a:custGeom>
            <a:grpFill/>
            <a:ln w="9525" cap="flat">
              <a:noFill/>
              <a:prstDash val="solid"/>
              <a:miter/>
            </a:ln>
          </p:spPr>
          <p:txBody>
            <a:bodyPr rtlCol="0" anchor="ctr"/>
            <a:lstStyle/>
            <a:p>
              <a:pPr defTabSz="457189"/>
              <a:endParaRPr lang="fr-FR" sz="1350">
                <a:solidFill>
                  <a:prstClr val="black"/>
                </a:solidFill>
                <a:latin typeface="Arial"/>
              </a:endParaRPr>
            </a:p>
          </p:txBody>
        </p:sp>
        <p:sp>
          <p:nvSpPr>
            <p:cNvPr id="27" name="Forme libre 26">
              <a:extLst>
                <a:ext uri="{FF2B5EF4-FFF2-40B4-BE49-F238E27FC236}">
                  <a16:creationId xmlns:a16="http://schemas.microsoft.com/office/drawing/2014/main" id="{5D72560E-DFDA-B317-54F5-E9C64668EBF9}"/>
                </a:ext>
              </a:extLst>
            </p:cNvPr>
            <p:cNvSpPr/>
            <p:nvPr/>
          </p:nvSpPr>
          <p:spPr>
            <a:xfrm>
              <a:off x="4134637" y="2530054"/>
              <a:ext cx="846372" cy="527412"/>
            </a:xfrm>
            <a:custGeom>
              <a:avLst/>
              <a:gdLst>
                <a:gd name="connsiteX0" fmla="*/ 88786 w 846372"/>
                <a:gd name="connsiteY0" fmla="*/ 517812 h 527412"/>
                <a:gd name="connsiteX1" fmla="*/ 105588 w 846372"/>
                <a:gd name="connsiteY1" fmla="*/ 527413 h 527412"/>
                <a:gd name="connsiteX2" fmla="*/ 105759 w 846372"/>
                <a:gd name="connsiteY2" fmla="*/ 527413 h 527412"/>
                <a:gd name="connsiteX3" fmla="*/ 122561 w 846372"/>
                <a:gd name="connsiteY3" fmla="*/ 517469 h 527412"/>
                <a:gd name="connsiteX4" fmla="*/ 206743 w 846372"/>
                <a:gd name="connsiteY4" fmla="*/ 369165 h 527412"/>
                <a:gd name="connsiteX5" fmla="*/ 206572 w 846372"/>
                <a:gd name="connsiteY5" fmla="*/ 349619 h 527412"/>
                <a:gd name="connsiteX6" fmla="*/ 189598 w 846372"/>
                <a:gd name="connsiteY6" fmla="*/ 340018 h 527412"/>
                <a:gd name="connsiteX7" fmla="*/ 127019 w 846372"/>
                <a:gd name="connsiteY7" fmla="*/ 340532 h 527412"/>
                <a:gd name="connsiteX8" fmla="*/ 531127 w 846372"/>
                <a:gd name="connsiteY8" fmla="*/ 41695 h 527412"/>
                <a:gd name="connsiteX9" fmla="*/ 809733 w 846372"/>
                <a:gd name="connsiteY9" fmla="*/ 231319 h 527412"/>
                <a:gd name="connsiteX10" fmla="*/ 836136 w 846372"/>
                <a:gd name="connsiteY10" fmla="*/ 239205 h 527412"/>
                <a:gd name="connsiteX11" fmla="*/ 844023 w 846372"/>
                <a:gd name="connsiteY11" fmla="*/ 212802 h 527412"/>
                <a:gd name="connsiteX12" fmla="*/ 718179 w 846372"/>
                <a:gd name="connsiteY12" fmla="*/ 72042 h 527412"/>
                <a:gd name="connsiteX13" fmla="*/ 632797 w 846372"/>
                <a:gd name="connsiteY13" fmla="*/ 26950 h 527412"/>
                <a:gd name="connsiteX14" fmla="*/ 535927 w 846372"/>
                <a:gd name="connsiteY14" fmla="*/ 2947 h 527412"/>
                <a:gd name="connsiteX15" fmla="*/ 375622 w 846372"/>
                <a:gd name="connsiteY15" fmla="*/ 15806 h 527412"/>
                <a:gd name="connsiteX16" fmla="*/ 237433 w 846372"/>
                <a:gd name="connsiteY16" fmla="*/ 86615 h 527412"/>
                <a:gd name="connsiteX17" fmla="*/ 135935 w 846372"/>
                <a:gd name="connsiteY17" fmla="*/ 204230 h 527412"/>
                <a:gd name="connsiteX18" fmla="*/ 85528 w 846372"/>
                <a:gd name="connsiteY18" fmla="*/ 356992 h 527412"/>
                <a:gd name="connsiteX19" fmla="*/ 85528 w 846372"/>
                <a:gd name="connsiteY19" fmla="*/ 357334 h 527412"/>
                <a:gd name="connsiteX20" fmla="*/ 85357 w 846372"/>
                <a:gd name="connsiteY20" fmla="*/ 360421 h 527412"/>
                <a:gd name="connsiteX21" fmla="*/ 104902 w 846372"/>
                <a:gd name="connsiteY21" fmla="*/ 379794 h 527412"/>
                <a:gd name="connsiteX22" fmla="*/ 105074 w 846372"/>
                <a:gd name="connsiteY22" fmla="*/ 379794 h 527412"/>
                <a:gd name="connsiteX23" fmla="*/ 156509 w 846372"/>
                <a:gd name="connsiteY23" fmla="*/ 379452 h 527412"/>
                <a:gd name="connsiteX24" fmla="*/ 105588 w 846372"/>
                <a:gd name="connsiteY24" fmla="*/ 469120 h 527412"/>
                <a:gd name="connsiteX25" fmla="*/ 36322 w 846372"/>
                <a:gd name="connsiteY25" fmla="*/ 351162 h 527412"/>
                <a:gd name="connsiteX26" fmla="*/ 9576 w 846372"/>
                <a:gd name="connsiteY26" fmla="*/ 344304 h 527412"/>
                <a:gd name="connsiteX27" fmla="*/ 2718 w 846372"/>
                <a:gd name="connsiteY27" fmla="*/ 371050 h 527412"/>
                <a:gd name="connsiteX28" fmla="*/ 88786 w 846372"/>
                <a:gd name="connsiteY28" fmla="*/ 517812 h 52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46372" h="527412">
                  <a:moveTo>
                    <a:pt x="88786" y="517812"/>
                  </a:moveTo>
                  <a:cubicBezTo>
                    <a:pt x="92215" y="523812"/>
                    <a:pt x="98730" y="527413"/>
                    <a:pt x="105588" y="527413"/>
                  </a:cubicBezTo>
                  <a:cubicBezTo>
                    <a:pt x="105588" y="527413"/>
                    <a:pt x="105759" y="527413"/>
                    <a:pt x="105759" y="527413"/>
                  </a:cubicBezTo>
                  <a:cubicBezTo>
                    <a:pt x="112789" y="527413"/>
                    <a:pt x="119132" y="523641"/>
                    <a:pt x="122561" y="517469"/>
                  </a:cubicBezTo>
                  <a:lnTo>
                    <a:pt x="206743" y="369165"/>
                  </a:lnTo>
                  <a:cubicBezTo>
                    <a:pt x="210172" y="363164"/>
                    <a:pt x="210172" y="355620"/>
                    <a:pt x="206572" y="349619"/>
                  </a:cubicBezTo>
                  <a:cubicBezTo>
                    <a:pt x="202972" y="343618"/>
                    <a:pt x="196628" y="340018"/>
                    <a:pt x="189598" y="340018"/>
                  </a:cubicBezTo>
                  <a:lnTo>
                    <a:pt x="127019" y="340532"/>
                  </a:lnTo>
                  <a:cubicBezTo>
                    <a:pt x="160966" y="151252"/>
                    <a:pt x="337731" y="18549"/>
                    <a:pt x="531127" y="41695"/>
                  </a:cubicBezTo>
                  <a:cubicBezTo>
                    <a:pt x="649084" y="55754"/>
                    <a:pt x="753155" y="126734"/>
                    <a:pt x="809733" y="231319"/>
                  </a:cubicBezTo>
                  <a:cubicBezTo>
                    <a:pt x="814877" y="240748"/>
                    <a:pt x="826707" y="244349"/>
                    <a:pt x="836136" y="239205"/>
                  </a:cubicBezTo>
                  <a:cubicBezTo>
                    <a:pt x="845566" y="234062"/>
                    <a:pt x="849167" y="222232"/>
                    <a:pt x="844023" y="212802"/>
                  </a:cubicBezTo>
                  <a:cubicBezTo>
                    <a:pt x="813848" y="156909"/>
                    <a:pt x="770300" y="108218"/>
                    <a:pt x="718179" y="72042"/>
                  </a:cubicBezTo>
                  <a:cubicBezTo>
                    <a:pt x="691604" y="53697"/>
                    <a:pt x="662800" y="38437"/>
                    <a:pt x="632797" y="26950"/>
                  </a:cubicBezTo>
                  <a:cubicBezTo>
                    <a:pt x="601764" y="15120"/>
                    <a:pt x="569189" y="7062"/>
                    <a:pt x="535927" y="2947"/>
                  </a:cubicBezTo>
                  <a:cubicBezTo>
                    <a:pt x="481578" y="-3568"/>
                    <a:pt x="427742" y="718"/>
                    <a:pt x="375622" y="15806"/>
                  </a:cubicBezTo>
                  <a:cubicBezTo>
                    <a:pt x="325215" y="30379"/>
                    <a:pt x="278752" y="54211"/>
                    <a:pt x="237433" y="86615"/>
                  </a:cubicBezTo>
                  <a:cubicBezTo>
                    <a:pt x="196114" y="119190"/>
                    <a:pt x="161824" y="158624"/>
                    <a:pt x="135935" y="204230"/>
                  </a:cubicBezTo>
                  <a:cubicBezTo>
                    <a:pt x="109017" y="251378"/>
                    <a:pt x="92043" y="302813"/>
                    <a:pt x="85528" y="356992"/>
                  </a:cubicBezTo>
                  <a:cubicBezTo>
                    <a:pt x="85528" y="357163"/>
                    <a:pt x="85528" y="357163"/>
                    <a:pt x="85528" y="357334"/>
                  </a:cubicBezTo>
                  <a:cubicBezTo>
                    <a:pt x="85357" y="358363"/>
                    <a:pt x="85357" y="359392"/>
                    <a:pt x="85357" y="360421"/>
                  </a:cubicBezTo>
                  <a:cubicBezTo>
                    <a:pt x="85357" y="371050"/>
                    <a:pt x="94101" y="379794"/>
                    <a:pt x="104902" y="379794"/>
                  </a:cubicBezTo>
                  <a:cubicBezTo>
                    <a:pt x="104902" y="379794"/>
                    <a:pt x="105074" y="379794"/>
                    <a:pt x="105074" y="379794"/>
                  </a:cubicBezTo>
                  <a:lnTo>
                    <a:pt x="156509" y="379452"/>
                  </a:lnTo>
                  <a:lnTo>
                    <a:pt x="105588" y="469120"/>
                  </a:lnTo>
                  <a:lnTo>
                    <a:pt x="36322" y="351162"/>
                  </a:lnTo>
                  <a:cubicBezTo>
                    <a:pt x="30836" y="341904"/>
                    <a:pt x="19006" y="338818"/>
                    <a:pt x="9576" y="344304"/>
                  </a:cubicBezTo>
                  <a:cubicBezTo>
                    <a:pt x="318" y="349791"/>
                    <a:pt x="-2768" y="361621"/>
                    <a:pt x="2718" y="371050"/>
                  </a:cubicBezTo>
                  <a:lnTo>
                    <a:pt x="88786" y="517812"/>
                  </a:lnTo>
                  <a:close/>
                </a:path>
              </a:pathLst>
            </a:custGeom>
            <a:grpFill/>
            <a:ln w="9525" cap="flat">
              <a:noFill/>
              <a:prstDash val="solid"/>
              <a:miter/>
            </a:ln>
          </p:spPr>
          <p:txBody>
            <a:bodyPr rtlCol="0" anchor="ctr"/>
            <a:lstStyle/>
            <a:p>
              <a:pPr defTabSz="457189"/>
              <a:endParaRPr lang="fr-FR" sz="1350">
                <a:solidFill>
                  <a:prstClr val="black"/>
                </a:solidFill>
                <a:latin typeface="Arial"/>
              </a:endParaRPr>
            </a:p>
          </p:txBody>
        </p:sp>
        <p:sp>
          <p:nvSpPr>
            <p:cNvPr id="29" name="Forme libre 28">
              <a:extLst>
                <a:ext uri="{FF2B5EF4-FFF2-40B4-BE49-F238E27FC236}">
                  <a16:creationId xmlns:a16="http://schemas.microsoft.com/office/drawing/2014/main" id="{E13C56BC-88C8-CFA5-DF16-C71BE7AC424A}"/>
                </a:ext>
              </a:extLst>
            </p:cNvPr>
            <p:cNvSpPr/>
            <p:nvPr/>
          </p:nvSpPr>
          <p:spPr>
            <a:xfrm>
              <a:off x="4270768" y="2811780"/>
              <a:ext cx="839368" cy="528580"/>
            </a:xfrm>
            <a:custGeom>
              <a:avLst/>
              <a:gdLst>
                <a:gd name="connsiteX0" fmla="*/ 836651 w 839368"/>
                <a:gd name="connsiteY0" fmla="*/ 156705 h 528580"/>
                <a:gd name="connsiteX1" fmla="*/ 750240 w 839368"/>
                <a:gd name="connsiteY1" fmla="*/ 9601 h 528580"/>
                <a:gd name="connsiteX2" fmla="*/ 733438 w 839368"/>
                <a:gd name="connsiteY2" fmla="*/ 0 h 528580"/>
                <a:gd name="connsiteX3" fmla="*/ 733266 w 839368"/>
                <a:gd name="connsiteY3" fmla="*/ 0 h 528580"/>
                <a:gd name="connsiteX4" fmla="*/ 716464 w 839368"/>
                <a:gd name="connsiteY4" fmla="*/ 9944 h 528580"/>
                <a:gd name="connsiteX5" fmla="*/ 632282 w 839368"/>
                <a:gd name="connsiteY5" fmla="*/ 158248 h 528580"/>
                <a:gd name="connsiteX6" fmla="*/ 632454 w 839368"/>
                <a:gd name="connsiteY6" fmla="*/ 177794 h 528580"/>
                <a:gd name="connsiteX7" fmla="*/ 649256 w 839368"/>
                <a:gd name="connsiteY7" fmla="*/ 187395 h 528580"/>
                <a:gd name="connsiteX8" fmla="*/ 649427 w 839368"/>
                <a:gd name="connsiteY8" fmla="*/ 187395 h 528580"/>
                <a:gd name="connsiteX9" fmla="*/ 712007 w 839368"/>
                <a:gd name="connsiteY9" fmla="*/ 186881 h 528580"/>
                <a:gd name="connsiteX10" fmla="*/ 577590 w 839368"/>
                <a:gd name="connsiteY10" fmla="*/ 411480 h 528580"/>
                <a:gd name="connsiteX11" fmla="*/ 307728 w 839368"/>
                <a:gd name="connsiteY11" fmla="*/ 487089 h 528580"/>
                <a:gd name="connsiteX12" fmla="*/ 36322 w 839368"/>
                <a:gd name="connsiteY12" fmla="*/ 310153 h 528580"/>
                <a:gd name="connsiteX13" fmla="*/ 9576 w 839368"/>
                <a:gd name="connsiteY13" fmla="*/ 303295 h 528580"/>
                <a:gd name="connsiteX14" fmla="*/ 2718 w 839368"/>
                <a:gd name="connsiteY14" fmla="*/ 330041 h 528580"/>
                <a:gd name="connsiteX15" fmla="*/ 127362 w 839368"/>
                <a:gd name="connsiteY15" fmla="*/ 461201 h 528580"/>
                <a:gd name="connsiteX16" fmla="*/ 210001 w 839368"/>
                <a:gd name="connsiteY16" fmla="*/ 503206 h 528580"/>
                <a:gd name="connsiteX17" fmla="*/ 303098 w 839368"/>
                <a:gd name="connsiteY17" fmla="*/ 525666 h 528580"/>
                <a:gd name="connsiteX18" fmla="*/ 351962 w 839368"/>
                <a:gd name="connsiteY18" fmla="*/ 528580 h 528580"/>
                <a:gd name="connsiteX19" fmla="*/ 463404 w 839368"/>
                <a:gd name="connsiteY19" fmla="*/ 512807 h 528580"/>
                <a:gd name="connsiteX20" fmla="*/ 601593 w 839368"/>
                <a:gd name="connsiteY20" fmla="*/ 441998 h 528580"/>
                <a:gd name="connsiteX21" fmla="*/ 703091 w 839368"/>
                <a:gd name="connsiteY21" fmla="*/ 324383 h 528580"/>
                <a:gd name="connsiteX22" fmla="*/ 753498 w 839368"/>
                <a:gd name="connsiteY22" fmla="*/ 171621 h 528580"/>
                <a:gd name="connsiteX23" fmla="*/ 753669 w 839368"/>
                <a:gd name="connsiteY23" fmla="*/ 170421 h 528580"/>
                <a:gd name="connsiteX24" fmla="*/ 754012 w 839368"/>
                <a:gd name="connsiteY24" fmla="*/ 166821 h 528580"/>
                <a:gd name="connsiteX25" fmla="*/ 734295 w 839368"/>
                <a:gd name="connsiteY25" fmla="*/ 147447 h 528580"/>
                <a:gd name="connsiteX26" fmla="*/ 682860 w 839368"/>
                <a:gd name="connsiteY26" fmla="*/ 147790 h 528580"/>
                <a:gd name="connsiteX27" fmla="*/ 733781 w 839368"/>
                <a:gd name="connsiteY27" fmla="*/ 58122 h 528580"/>
                <a:gd name="connsiteX28" fmla="*/ 803047 w 839368"/>
                <a:gd name="connsiteY28" fmla="*/ 176079 h 528580"/>
                <a:gd name="connsiteX29" fmla="*/ 829793 w 839368"/>
                <a:gd name="connsiteY29" fmla="*/ 182937 h 528580"/>
                <a:gd name="connsiteX30" fmla="*/ 836651 w 839368"/>
                <a:gd name="connsiteY30" fmla="*/ 156705 h 52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39368" h="528580">
                  <a:moveTo>
                    <a:pt x="836651" y="156705"/>
                  </a:moveTo>
                  <a:lnTo>
                    <a:pt x="750240" y="9601"/>
                  </a:lnTo>
                  <a:cubicBezTo>
                    <a:pt x="746811" y="3600"/>
                    <a:pt x="740296" y="0"/>
                    <a:pt x="733438" y="0"/>
                  </a:cubicBezTo>
                  <a:cubicBezTo>
                    <a:pt x="733438" y="0"/>
                    <a:pt x="733266" y="0"/>
                    <a:pt x="733266" y="0"/>
                  </a:cubicBezTo>
                  <a:cubicBezTo>
                    <a:pt x="726237" y="0"/>
                    <a:pt x="719893" y="3772"/>
                    <a:pt x="716464" y="9944"/>
                  </a:cubicBezTo>
                  <a:lnTo>
                    <a:pt x="632282" y="158248"/>
                  </a:lnTo>
                  <a:cubicBezTo>
                    <a:pt x="628853" y="164249"/>
                    <a:pt x="628853" y="171793"/>
                    <a:pt x="632454" y="177794"/>
                  </a:cubicBezTo>
                  <a:cubicBezTo>
                    <a:pt x="635883" y="183794"/>
                    <a:pt x="642398" y="187395"/>
                    <a:pt x="649256" y="187395"/>
                  </a:cubicBezTo>
                  <a:cubicBezTo>
                    <a:pt x="649256" y="187395"/>
                    <a:pt x="649427" y="187395"/>
                    <a:pt x="649427" y="187395"/>
                  </a:cubicBezTo>
                  <a:lnTo>
                    <a:pt x="712007" y="186881"/>
                  </a:lnTo>
                  <a:cubicBezTo>
                    <a:pt x="696405" y="276035"/>
                    <a:pt x="649256" y="355073"/>
                    <a:pt x="577590" y="411480"/>
                  </a:cubicBezTo>
                  <a:cubicBezTo>
                    <a:pt x="500609" y="472002"/>
                    <a:pt x="404768" y="498748"/>
                    <a:pt x="307728" y="487089"/>
                  </a:cubicBezTo>
                  <a:cubicBezTo>
                    <a:pt x="193885" y="473373"/>
                    <a:pt x="94958" y="408908"/>
                    <a:pt x="36322" y="310153"/>
                  </a:cubicBezTo>
                  <a:cubicBezTo>
                    <a:pt x="30836" y="300895"/>
                    <a:pt x="18834" y="297809"/>
                    <a:pt x="9576" y="303295"/>
                  </a:cubicBezTo>
                  <a:cubicBezTo>
                    <a:pt x="318" y="308781"/>
                    <a:pt x="-2768" y="320783"/>
                    <a:pt x="2718" y="330041"/>
                  </a:cubicBezTo>
                  <a:cubicBezTo>
                    <a:pt x="33750" y="382334"/>
                    <a:pt x="76784" y="427768"/>
                    <a:pt x="127362" y="461201"/>
                  </a:cubicBezTo>
                  <a:cubicBezTo>
                    <a:pt x="153251" y="478346"/>
                    <a:pt x="181026" y="492576"/>
                    <a:pt x="210001" y="503206"/>
                  </a:cubicBezTo>
                  <a:cubicBezTo>
                    <a:pt x="239833" y="514350"/>
                    <a:pt x="271209" y="521894"/>
                    <a:pt x="303098" y="525666"/>
                  </a:cubicBezTo>
                  <a:cubicBezTo>
                    <a:pt x="319386" y="527552"/>
                    <a:pt x="335674" y="528580"/>
                    <a:pt x="351962" y="528580"/>
                  </a:cubicBezTo>
                  <a:cubicBezTo>
                    <a:pt x="389681" y="528580"/>
                    <a:pt x="427057" y="523265"/>
                    <a:pt x="463404" y="512807"/>
                  </a:cubicBezTo>
                  <a:cubicBezTo>
                    <a:pt x="513810" y="498234"/>
                    <a:pt x="560273" y="474402"/>
                    <a:pt x="601593" y="441998"/>
                  </a:cubicBezTo>
                  <a:cubicBezTo>
                    <a:pt x="642912" y="409423"/>
                    <a:pt x="677202" y="369989"/>
                    <a:pt x="703091" y="324383"/>
                  </a:cubicBezTo>
                  <a:cubicBezTo>
                    <a:pt x="730009" y="277235"/>
                    <a:pt x="746982" y="225800"/>
                    <a:pt x="753498" y="171621"/>
                  </a:cubicBezTo>
                  <a:cubicBezTo>
                    <a:pt x="753498" y="171279"/>
                    <a:pt x="753498" y="170936"/>
                    <a:pt x="753669" y="170421"/>
                  </a:cubicBezTo>
                  <a:cubicBezTo>
                    <a:pt x="753840" y="169221"/>
                    <a:pt x="754012" y="168021"/>
                    <a:pt x="754012" y="166821"/>
                  </a:cubicBezTo>
                  <a:cubicBezTo>
                    <a:pt x="754012" y="156020"/>
                    <a:pt x="745096" y="147447"/>
                    <a:pt x="734295" y="147447"/>
                  </a:cubicBezTo>
                  <a:lnTo>
                    <a:pt x="682860" y="147790"/>
                  </a:lnTo>
                  <a:lnTo>
                    <a:pt x="733781" y="58122"/>
                  </a:lnTo>
                  <a:lnTo>
                    <a:pt x="803047" y="176079"/>
                  </a:lnTo>
                  <a:cubicBezTo>
                    <a:pt x="808533" y="185337"/>
                    <a:pt x="820363" y="188424"/>
                    <a:pt x="829793" y="182937"/>
                  </a:cubicBezTo>
                  <a:cubicBezTo>
                    <a:pt x="839051" y="177965"/>
                    <a:pt x="842137" y="165964"/>
                    <a:pt x="836651" y="156705"/>
                  </a:cubicBezTo>
                  <a:close/>
                </a:path>
              </a:pathLst>
            </a:custGeom>
            <a:grpFill/>
            <a:ln w="9525" cap="flat">
              <a:noFill/>
              <a:prstDash val="solid"/>
              <a:miter/>
            </a:ln>
          </p:spPr>
          <p:txBody>
            <a:bodyPr rtlCol="0" anchor="ctr"/>
            <a:lstStyle/>
            <a:p>
              <a:pPr defTabSz="457189"/>
              <a:endParaRPr lang="fr-FR" sz="1350">
                <a:solidFill>
                  <a:prstClr val="black"/>
                </a:solidFill>
                <a:latin typeface="Arial"/>
              </a:endParaRPr>
            </a:p>
          </p:txBody>
        </p:sp>
        <p:sp>
          <p:nvSpPr>
            <p:cNvPr id="30" name="Forme libre 29">
              <a:extLst>
                <a:ext uri="{FF2B5EF4-FFF2-40B4-BE49-F238E27FC236}">
                  <a16:creationId xmlns:a16="http://schemas.microsoft.com/office/drawing/2014/main" id="{56E49E94-3320-C6D9-7053-3AEA37EE02DA}"/>
                </a:ext>
              </a:extLst>
            </p:cNvPr>
            <p:cNvSpPr/>
            <p:nvPr/>
          </p:nvSpPr>
          <p:spPr>
            <a:xfrm>
              <a:off x="3852405" y="3365392"/>
              <a:ext cx="1206152" cy="513492"/>
            </a:xfrm>
            <a:custGeom>
              <a:avLst/>
              <a:gdLst>
                <a:gd name="connsiteX0" fmla="*/ 1110482 w 1206152"/>
                <a:gd name="connsiteY0" fmla="*/ 20574 h 513492"/>
                <a:gd name="connsiteX1" fmla="*/ 1055446 w 1206152"/>
                <a:gd name="connsiteY1" fmla="*/ 38062 h 513492"/>
                <a:gd name="connsiteX2" fmla="*/ 916057 w 1206152"/>
                <a:gd name="connsiteY2" fmla="*/ 135617 h 513492"/>
                <a:gd name="connsiteX3" fmla="*/ 907485 w 1206152"/>
                <a:gd name="connsiteY3" fmla="*/ 149333 h 513492"/>
                <a:gd name="connsiteX4" fmla="*/ 911085 w 1206152"/>
                <a:gd name="connsiteY4" fmla="*/ 165106 h 513492"/>
                <a:gd name="connsiteX5" fmla="*/ 928402 w 1206152"/>
                <a:gd name="connsiteY5" fmla="*/ 174022 h 513492"/>
                <a:gd name="connsiteX6" fmla="*/ 940575 w 1206152"/>
                <a:gd name="connsiteY6" fmla="*/ 170079 h 513492"/>
                <a:gd name="connsiteX7" fmla="*/ 1079964 w 1206152"/>
                <a:gd name="connsiteY7" fmla="*/ 72523 h 513492"/>
                <a:gd name="connsiteX8" fmla="*/ 1110482 w 1206152"/>
                <a:gd name="connsiteY8" fmla="*/ 62751 h 513492"/>
                <a:gd name="connsiteX9" fmla="*/ 1153687 w 1206152"/>
                <a:gd name="connsiteY9" fmla="*/ 85039 h 513492"/>
                <a:gd name="connsiteX10" fmla="*/ 1162774 w 1206152"/>
                <a:gd name="connsiteY10" fmla="*/ 124473 h 513492"/>
                <a:gd name="connsiteX11" fmla="*/ 1141171 w 1206152"/>
                <a:gd name="connsiteY11" fmla="*/ 158763 h 513492"/>
                <a:gd name="connsiteX12" fmla="*/ 767239 w 1206152"/>
                <a:gd name="connsiteY12" fmla="*/ 422967 h 513492"/>
                <a:gd name="connsiteX13" fmla="*/ 753866 w 1206152"/>
                <a:gd name="connsiteY13" fmla="*/ 429825 h 513492"/>
                <a:gd name="connsiteX14" fmla="*/ 736721 w 1206152"/>
                <a:gd name="connsiteY14" fmla="*/ 432740 h 513492"/>
                <a:gd name="connsiteX15" fmla="*/ 731406 w 1206152"/>
                <a:gd name="connsiteY15" fmla="*/ 432397 h 513492"/>
                <a:gd name="connsiteX16" fmla="*/ 731234 w 1206152"/>
                <a:gd name="connsiteY16" fmla="*/ 432397 h 513492"/>
                <a:gd name="connsiteX17" fmla="*/ 731063 w 1206152"/>
                <a:gd name="connsiteY17" fmla="*/ 432397 h 513492"/>
                <a:gd name="connsiteX18" fmla="*/ 383362 w 1206152"/>
                <a:gd name="connsiteY18" fmla="*/ 343929 h 513492"/>
                <a:gd name="connsiteX19" fmla="*/ 380962 w 1206152"/>
                <a:gd name="connsiteY19" fmla="*/ 343414 h 513492"/>
                <a:gd name="connsiteX20" fmla="*/ 366389 w 1206152"/>
                <a:gd name="connsiteY20" fmla="*/ 342386 h 513492"/>
                <a:gd name="connsiteX21" fmla="*/ 311353 w 1206152"/>
                <a:gd name="connsiteY21" fmla="*/ 360045 h 513492"/>
                <a:gd name="connsiteX22" fmla="*/ 288550 w 1206152"/>
                <a:gd name="connsiteY22" fmla="*/ 376161 h 513492"/>
                <a:gd name="connsiteX23" fmla="*/ 146247 w 1206152"/>
                <a:gd name="connsiteY23" fmla="*/ 175736 h 513492"/>
                <a:gd name="connsiteX24" fmla="*/ 305352 w 1206152"/>
                <a:gd name="connsiteY24" fmla="*/ 62236 h 513492"/>
                <a:gd name="connsiteX25" fmla="*/ 368618 w 1206152"/>
                <a:gd name="connsiteY25" fmla="*/ 42005 h 513492"/>
                <a:gd name="connsiteX26" fmla="*/ 385591 w 1206152"/>
                <a:gd name="connsiteY26" fmla="*/ 43377 h 513492"/>
                <a:gd name="connsiteX27" fmla="*/ 385934 w 1206152"/>
                <a:gd name="connsiteY27" fmla="*/ 43548 h 513492"/>
                <a:gd name="connsiteX28" fmla="*/ 782669 w 1206152"/>
                <a:gd name="connsiteY28" fmla="*/ 158763 h 513492"/>
                <a:gd name="connsiteX29" fmla="*/ 783012 w 1206152"/>
                <a:gd name="connsiteY29" fmla="*/ 158934 h 513492"/>
                <a:gd name="connsiteX30" fmla="*/ 783012 w 1206152"/>
                <a:gd name="connsiteY30" fmla="*/ 158934 h 513492"/>
                <a:gd name="connsiteX31" fmla="*/ 819702 w 1206152"/>
                <a:gd name="connsiteY31" fmla="*/ 222885 h 513492"/>
                <a:gd name="connsiteX32" fmla="*/ 795357 w 1206152"/>
                <a:gd name="connsiteY32" fmla="*/ 254260 h 513492"/>
                <a:gd name="connsiteX33" fmla="*/ 769125 w 1206152"/>
                <a:gd name="connsiteY33" fmla="*/ 261118 h 513492"/>
                <a:gd name="connsiteX34" fmla="*/ 755066 w 1206152"/>
                <a:gd name="connsiteY34" fmla="*/ 259233 h 513492"/>
                <a:gd name="connsiteX35" fmla="*/ 754723 w 1206152"/>
                <a:gd name="connsiteY35" fmla="*/ 259233 h 513492"/>
                <a:gd name="connsiteX36" fmla="*/ 754380 w 1206152"/>
                <a:gd name="connsiteY36" fmla="*/ 259061 h 513492"/>
                <a:gd name="connsiteX37" fmla="*/ 754380 w 1206152"/>
                <a:gd name="connsiteY37" fmla="*/ 259061 h 513492"/>
                <a:gd name="connsiteX38" fmla="*/ 754380 w 1206152"/>
                <a:gd name="connsiteY38" fmla="*/ 259061 h 513492"/>
                <a:gd name="connsiteX39" fmla="*/ 549669 w 1206152"/>
                <a:gd name="connsiteY39" fmla="*/ 209340 h 513492"/>
                <a:gd name="connsiteX40" fmla="*/ 544868 w 1206152"/>
                <a:gd name="connsiteY40" fmla="*/ 208826 h 513492"/>
                <a:gd name="connsiteX41" fmla="*/ 524294 w 1206152"/>
                <a:gd name="connsiteY41" fmla="*/ 225114 h 513492"/>
                <a:gd name="connsiteX42" fmla="*/ 527723 w 1206152"/>
                <a:gd name="connsiteY42" fmla="*/ 242259 h 513492"/>
                <a:gd name="connsiteX43" fmla="*/ 540068 w 1206152"/>
                <a:gd name="connsiteY43" fmla="*/ 250660 h 513492"/>
                <a:gd name="connsiteX44" fmla="*/ 744607 w 1206152"/>
                <a:gd name="connsiteY44" fmla="*/ 300381 h 513492"/>
                <a:gd name="connsiteX45" fmla="*/ 744950 w 1206152"/>
                <a:gd name="connsiteY45" fmla="*/ 300381 h 513492"/>
                <a:gd name="connsiteX46" fmla="*/ 769296 w 1206152"/>
                <a:gd name="connsiteY46" fmla="*/ 303466 h 513492"/>
                <a:gd name="connsiteX47" fmla="*/ 816273 w 1206152"/>
                <a:gd name="connsiteY47" fmla="*/ 291122 h 513492"/>
                <a:gd name="connsiteX48" fmla="*/ 860679 w 1206152"/>
                <a:gd name="connsiteY48" fmla="*/ 233858 h 513492"/>
                <a:gd name="connsiteX49" fmla="*/ 794671 w 1206152"/>
                <a:gd name="connsiteY49" fmla="*/ 118301 h 513492"/>
                <a:gd name="connsiteX50" fmla="*/ 794499 w 1206152"/>
                <a:gd name="connsiteY50" fmla="*/ 118301 h 513492"/>
                <a:gd name="connsiteX51" fmla="*/ 398107 w 1206152"/>
                <a:gd name="connsiteY51" fmla="*/ 3258 h 513492"/>
                <a:gd name="connsiteX52" fmla="*/ 397935 w 1206152"/>
                <a:gd name="connsiteY52" fmla="*/ 3258 h 513492"/>
                <a:gd name="connsiteX53" fmla="*/ 394335 w 1206152"/>
                <a:gd name="connsiteY53" fmla="*/ 2229 h 513492"/>
                <a:gd name="connsiteX54" fmla="*/ 368618 w 1206152"/>
                <a:gd name="connsiteY54" fmla="*/ 0 h 513492"/>
                <a:gd name="connsiteX55" fmla="*/ 280835 w 1206152"/>
                <a:gd name="connsiteY55" fmla="*/ 28118 h 513492"/>
                <a:gd name="connsiteX56" fmla="*/ 121901 w 1206152"/>
                <a:gd name="connsiteY56" fmla="*/ 141618 h 513492"/>
                <a:gd name="connsiteX57" fmla="*/ 105270 w 1206152"/>
                <a:gd name="connsiteY57" fmla="*/ 118129 h 513492"/>
                <a:gd name="connsiteX58" fmla="*/ 87954 w 1206152"/>
                <a:gd name="connsiteY58" fmla="*/ 109214 h 513492"/>
                <a:gd name="connsiteX59" fmla="*/ 75781 w 1206152"/>
                <a:gd name="connsiteY59" fmla="*/ 113157 h 513492"/>
                <a:gd name="connsiteX60" fmla="*/ 9430 w 1206152"/>
                <a:gd name="connsiteY60" fmla="*/ 160134 h 513492"/>
                <a:gd name="connsiteX61" fmla="*/ 8915 w 1206152"/>
                <a:gd name="connsiteY61" fmla="*/ 160477 h 513492"/>
                <a:gd name="connsiteX62" fmla="*/ 8573 w 1206152"/>
                <a:gd name="connsiteY62" fmla="*/ 160649 h 513492"/>
                <a:gd name="connsiteX63" fmla="*/ 0 w 1206152"/>
                <a:gd name="connsiteY63" fmla="*/ 177794 h 513492"/>
                <a:gd name="connsiteX64" fmla="*/ 21260 w 1206152"/>
                <a:gd name="connsiteY64" fmla="*/ 199053 h 513492"/>
                <a:gd name="connsiteX65" fmla="*/ 34461 w 1206152"/>
                <a:gd name="connsiteY65" fmla="*/ 194424 h 513492"/>
                <a:gd name="connsiteX66" fmla="*/ 34633 w 1206152"/>
                <a:gd name="connsiteY66" fmla="*/ 194253 h 513492"/>
                <a:gd name="connsiteX67" fmla="*/ 82982 w 1206152"/>
                <a:gd name="connsiteY67" fmla="*/ 159963 h 513492"/>
                <a:gd name="connsiteX68" fmla="*/ 283407 w 1206152"/>
                <a:gd name="connsiteY68" fmla="*/ 442170 h 513492"/>
                <a:gd name="connsiteX69" fmla="*/ 239344 w 1206152"/>
                <a:gd name="connsiteY69" fmla="*/ 473716 h 513492"/>
                <a:gd name="connsiteX70" fmla="*/ 235401 w 1206152"/>
                <a:gd name="connsiteY70" fmla="*/ 476460 h 513492"/>
                <a:gd name="connsiteX71" fmla="*/ 228371 w 1206152"/>
                <a:gd name="connsiteY71" fmla="*/ 492233 h 513492"/>
                <a:gd name="connsiteX72" fmla="*/ 249631 w 1206152"/>
                <a:gd name="connsiteY72" fmla="*/ 513493 h 513492"/>
                <a:gd name="connsiteX73" fmla="*/ 262147 w 1206152"/>
                <a:gd name="connsiteY73" fmla="*/ 509378 h 513492"/>
                <a:gd name="connsiteX74" fmla="*/ 262490 w 1206152"/>
                <a:gd name="connsiteY74" fmla="*/ 509206 h 513492"/>
                <a:gd name="connsiteX75" fmla="*/ 325241 w 1206152"/>
                <a:gd name="connsiteY75" fmla="*/ 464458 h 513492"/>
                <a:gd name="connsiteX76" fmla="*/ 330213 w 1206152"/>
                <a:gd name="connsiteY76" fmla="*/ 434969 h 513492"/>
                <a:gd name="connsiteX77" fmla="*/ 313239 w 1206152"/>
                <a:gd name="connsiteY77" fmla="*/ 411137 h 513492"/>
                <a:gd name="connsiteX78" fmla="*/ 336042 w 1206152"/>
                <a:gd name="connsiteY78" fmla="*/ 395021 h 513492"/>
                <a:gd name="connsiteX79" fmla="*/ 366560 w 1206152"/>
                <a:gd name="connsiteY79" fmla="*/ 385248 h 513492"/>
                <a:gd name="connsiteX80" fmla="*/ 373761 w 1206152"/>
                <a:gd name="connsiteY80" fmla="*/ 385762 h 513492"/>
                <a:gd name="connsiteX81" fmla="*/ 374104 w 1206152"/>
                <a:gd name="connsiteY81" fmla="*/ 385762 h 513492"/>
                <a:gd name="connsiteX82" fmla="*/ 722662 w 1206152"/>
                <a:gd name="connsiteY82" fmla="*/ 474402 h 513492"/>
                <a:gd name="connsiteX83" fmla="*/ 723005 w 1206152"/>
                <a:gd name="connsiteY83" fmla="*/ 474402 h 513492"/>
                <a:gd name="connsiteX84" fmla="*/ 723862 w 1206152"/>
                <a:gd name="connsiteY84" fmla="*/ 474573 h 513492"/>
                <a:gd name="connsiteX85" fmla="*/ 724033 w 1206152"/>
                <a:gd name="connsiteY85" fmla="*/ 474573 h 513492"/>
                <a:gd name="connsiteX86" fmla="*/ 724891 w 1206152"/>
                <a:gd name="connsiteY86" fmla="*/ 474745 h 513492"/>
                <a:gd name="connsiteX87" fmla="*/ 725062 w 1206152"/>
                <a:gd name="connsiteY87" fmla="*/ 474745 h 513492"/>
                <a:gd name="connsiteX88" fmla="*/ 725234 w 1206152"/>
                <a:gd name="connsiteY88" fmla="*/ 474745 h 513492"/>
                <a:gd name="connsiteX89" fmla="*/ 736892 w 1206152"/>
                <a:gd name="connsiteY89" fmla="*/ 475431 h 513492"/>
                <a:gd name="connsiteX90" fmla="*/ 736892 w 1206152"/>
                <a:gd name="connsiteY90" fmla="*/ 475431 h 513492"/>
                <a:gd name="connsiteX91" fmla="*/ 768096 w 1206152"/>
                <a:gd name="connsiteY91" fmla="*/ 470287 h 513492"/>
                <a:gd name="connsiteX92" fmla="*/ 792099 w 1206152"/>
                <a:gd name="connsiteY92" fmla="*/ 457943 h 513492"/>
                <a:gd name="connsiteX93" fmla="*/ 1166031 w 1206152"/>
                <a:gd name="connsiteY93" fmla="*/ 193738 h 513492"/>
                <a:gd name="connsiteX94" fmla="*/ 1204779 w 1206152"/>
                <a:gd name="connsiteY94" fmla="*/ 132017 h 513492"/>
                <a:gd name="connsiteX95" fmla="*/ 1188491 w 1206152"/>
                <a:gd name="connsiteY95" fmla="*/ 60865 h 513492"/>
                <a:gd name="connsiteX96" fmla="*/ 1110482 w 1206152"/>
                <a:gd name="connsiteY96" fmla="*/ 20574 h 51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206152" h="513492">
                  <a:moveTo>
                    <a:pt x="1110482" y="20574"/>
                  </a:moveTo>
                  <a:cubicBezTo>
                    <a:pt x="1090593" y="20574"/>
                    <a:pt x="1071563" y="26575"/>
                    <a:pt x="1055446" y="38062"/>
                  </a:cubicBezTo>
                  <a:lnTo>
                    <a:pt x="916057" y="135617"/>
                  </a:lnTo>
                  <a:cubicBezTo>
                    <a:pt x="911428" y="138875"/>
                    <a:pt x="908342" y="143675"/>
                    <a:pt x="907485" y="149333"/>
                  </a:cubicBezTo>
                  <a:cubicBezTo>
                    <a:pt x="906456" y="154991"/>
                    <a:pt x="907828" y="160477"/>
                    <a:pt x="911085" y="165106"/>
                  </a:cubicBezTo>
                  <a:cubicBezTo>
                    <a:pt x="915029" y="170764"/>
                    <a:pt x="921544" y="174022"/>
                    <a:pt x="928402" y="174022"/>
                  </a:cubicBezTo>
                  <a:cubicBezTo>
                    <a:pt x="932859" y="174022"/>
                    <a:pt x="936974" y="172650"/>
                    <a:pt x="940575" y="170079"/>
                  </a:cubicBezTo>
                  <a:lnTo>
                    <a:pt x="1079964" y="72523"/>
                  </a:lnTo>
                  <a:cubicBezTo>
                    <a:pt x="1088879" y="66180"/>
                    <a:pt x="1099509" y="62751"/>
                    <a:pt x="1110482" y="62751"/>
                  </a:cubicBezTo>
                  <a:cubicBezTo>
                    <a:pt x="1127627" y="62751"/>
                    <a:pt x="1143743" y="71152"/>
                    <a:pt x="1153687" y="85039"/>
                  </a:cubicBezTo>
                  <a:cubicBezTo>
                    <a:pt x="1161917" y="96526"/>
                    <a:pt x="1165003" y="110585"/>
                    <a:pt x="1162774" y="124473"/>
                  </a:cubicBezTo>
                  <a:cubicBezTo>
                    <a:pt x="1160374" y="138360"/>
                    <a:pt x="1152830" y="150705"/>
                    <a:pt x="1141171" y="158763"/>
                  </a:cubicBezTo>
                  <a:lnTo>
                    <a:pt x="767239" y="422967"/>
                  </a:lnTo>
                  <a:cubicBezTo>
                    <a:pt x="763124" y="425882"/>
                    <a:pt x="758666" y="428282"/>
                    <a:pt x="753866" y="429825"/>
                  </a:cubicBezTo>
                  <a:cubicBezTo>
                    <a:pt x="748379" y="431711"/>
                    <a:pt x="742550" y="432740"/>
                    <a:pt x="736721" y="432740"/>
                  </a:cubicBezTo>
                  <a:cubicBezTo>
                    <a:pt x="735006" y="432740"/>
                    <a:pt x="733120" y="432568"/>
                    <a:pt x="731406" y="432397"/>
                  </a:cubicBezTo>
                  <a:lnTo>
                    <a:pt x="731234" y="432397"/>
                  </a:lnTo>
                  <a:lnTo>
                    <a:pt x="731063" y="432397"/>
                  </a:lnTo>
                  <a:lnTo>
                    <a:pt x="383362" y="343929"/>
                  </a:lnTo>
                  <a:cubicBezTo>
                    <a:pt x="382505" y="343757"/>
                    <a:pt x="381648" y="343586"/>
                    <a:pt x="380962" y="343414"/>
                  </a:cubicBezTo>
                  <a:cubicBezTo>
                    <a:pt x="376161" y="342729"/>
                    <a:pt x="371189" y="342386"/>
                    <a:pt x="366389" y="342386"/>
                  </a:cubicBezTo>
                  <a:cubicBezTo>
                    <a:pt x="346672" y="342386"/>
                    <a:pt x="327641" y="348558"/>
                    <a:pt x="311353" y="360045"/>
                  </a:cubicBezTo>
                  <a:lnTo>
                    <a:pt x="288550" y="376161"/>
                  </a:lnTo>
                  <a:lnTo>
                    <a:pt x="146247" y="175736"/>
                  </a:lnTo>
                  <a:lnTo>
                    <a:pt x="305352" y="62236"/>
                  </a:lnTo>
                  <a:cubicBezTo>
                    <a:pt x="324041" y="49035"/>
                    <a:pt x="345986" y="42005"/>
                    <a:pt x="368618" y="42005"/>
                  </a:cubicBezTo>
                  <a:cubicBezTo>
                    <a:pt x="374275" y="42005"/>
                    <a:pt x="379933" y="42519"/>
                    <a:pt x="385591" y="43377"/>
                  </a:cubicBezTo>
                  <a:lnTo>
                    <a:pt x="385934" y="43548"/>
                  </a:lnTo>
                  <a:lnTo>
                    <a:pt x="782669" y="158763"/>
                  </a:lnTo>
                  <a:lnTo>
                    <a:pt x="783012" y="158934"/>
                  </a:lnTo>
                  <a:cubicBezTo>
                    <a:pt x="783012" y="158934"/>
                    <a:pt x="783012" y="158934"/>
                    <a:pt x="783012" y="158934"/>
                  </a:cubicBezTo>
                  <a:cubicBezTo>
                    <a:pt x="810616" y="166821"/>
                    <a:pt x="827075" y="195453"/>
                    <a:pt x="819702" y="222885"/>
                  </a:cubicBezTo>
                  <a:cubicBezTo>
                    <a:pt x="816102" y="236258"/>
                    <a:pt x="807530" y="247402"/>
                    <a:pt x="795357" y="254260"/>
                  </a:cubicBezTo>
                  <a:cubicBezTo>
                    <a:pt x="787298" y="258718"/>
                    <a:pt x="778212" y="261118"/>
                    <a:pt x="769125" y="261118"/>
                  </a:cubicBezTo>
                  <a:cubicBezTo>
                    <a:pt x="764324" y="261118"/>
                    <a:pt x="759695" y="260433"/>
                    <a:pt x="755066" y="259233"/>
                  </a:cubicBezTo>
                  <a:cubicBezTo>
                    <a:pt x="754894" y="259233"/>
                    <a:pt x="754894" y="259233"/>
                    <a:pt x="754723" y="259233"/>
                  </a:cubicBezTo>
                  <a:cubicBezTo>
                    <a:pt x="754551" y="259233"/>
                    <a:pt x="754551" y="259233"/>
                    <a:pt x="754380" y="259061"/>
                  </a:cubicBezTo>
                  <a:cubicBezTo>
                    <a:pt x="754380" y="259061"/>
                    <a:pt x="754380" y="259061"/>
                    <a:pt x="754380" y="259061"/>
                  </a:cubicBezTo>
                  <a:lnTo>
                    <a:pt x="754380" y="259061"/>
                  </a:lnTo>
                  <a:lnTo>
                    <a:pt x="549669" y="209340"/>
                  </a:lnTo>
                  <a:cubicBezTo>
                    <a:pt x="548126" y="208998"/>
                    <a:pt x="546411" y="208826"/>
                    <a:pt x="544868" y="208826"/>
                  </a:cubicBezTo>
                  <a:cubicBezTo>
                    <a:pt x="534924" y="208826"/>
                    <a:pt x="526523" y="215513"/>
                    <a:pt x="524294" y="225114"/>
                  </a:cubicBezTo>
                  <a:cubicBezTo>
                    <a:pt x="522923" y="230943"/>
                    <a:pt x="524123" y="237287"/>
                    <a:pt x="527723" y="242259"/>
                  </a:cubicBezTo>
                  <a:cubicBezTo>
                    <a:pt x="530638" y="246545"/>
                    <a:pt x="535095" y="249460"/>
                    <a:pt x="540068" y="250660"/>
                  </a:cubicBezTo>
                  <a:lnTo>
                    <a:pt x="744607" y="300381"/>
                  </a:lnTo>
                  <a:cubicBezTo>
                    <a:pt x="744779" y="300381"/>
                    <a:pt x="744779" y="300381"/>
                    <a:pt x="744950" y="300381"/>
                  </a:cubicBezTo>
                  <a:cubicBezTo>
                    <a:pt x="753008" y="302438"/>
                    <a:pt x="761067" y="303466"/>
                    <a:pt x="769296" y="303466"/>
                  </a:cubicBezTo>
                  <a:cubicBezTo>
                    <a:pt x="785755" y="303466"/>
                    <a:pt x="801872" y="299180"/>
                    <a:pt x="816273" y="291122"/>
                  </a:cubicBezTo>
                  <a:cubicBezTo>
                    <a:pt x="838391" y="278606"/>
                    <a:pt x="854164" y="258375"/>
                    <a:pt x="860679" y="233858"/>
                  </a:cubicBezTo>
                  <a:cubicBezTo>
                    <a:pt x="873881" y="184309"/>
                    <a:pt x="844391" y="132531"/>
                    <a:pt x="794671" y="118301"/>
                  </a:cubicBezTo>
                  <a:lnTo>
                    <a:pt x="794499" y="118301"/>
                  </a:lnTo>
                  <a:lnTo>
                    <a:pt x="398107" y="3258"/>
                  </a:lnTo>
                  <a:lnTo>
                    <a:pt x="397935" y="3258"/>
                  </a:lnTo>
                  <a:cubicBezTo>
                    <a:pt x="396735" y="2743"/>
                    <a:pt x="395535" y="2400"/>
                    <a:pt x="394335" y="2229"/>
                  </a:cubicBezTo>
                  <a:cubicBezTo>
                    <a:pt x="385763" y="857"/>
                    <a:pt x="377190" y="0"/>
                    <a:pt x="368618" y="0"/>
                  </a:cubicBezTo>
                  <a:cubicBezTo>
                    <a:pt x="337071" y="0"/>
                    <a:pt x="306724" y="9773"/>
                    <a:pt x="280835" y="28118"/>
                  </a:cubicBezTo>
                  <a:lnTo>
                    <a:pt x="121901" y="141618"/>
                  </a:lnTo>
                  <a:lnTo>
                    <a:pt x="105270" y="118129"/>
                  </a:lnTo>
                  <a:cubicBezTo>
                    <a:pt x="101327" y="112471"/>
                    <a:pt x="94812" y="109214"/>
                    <a:pt x="87954" y="109214"/>
                  </a:cubicBezTo>
                  <a:cubicBezTo>
                    <a:pt x="83496" y="109214"/>
                    <a:pt x="79381" y="110585"/>
                    <a:pt x="75781" y="113157"/>
                  </a:cubicBezTo>
                  <a:lnTo>
                    <a:pt x="9430" y="160134"/>
                  </a:lnTo>
                  <a:cubicBezTo>
                    <a:pt x="9258" y="160306"/>
                    <a:pt x="9087" y="160306"/>
                    <a:pt x="8915" y="160477"/>
                  </a:cubicBezTo>
                  <a:lnTo>
                    <a:pt x="8573" y="160649"/>
                  </a:lnTo>
                  <a:cubicBezTo>
                    <a:pt x="3257" y="164592"/>
                    <a:pt x="0" y="171107"/>
                    <a:pt x="0" y="177794"/>
                  </a:cubicBezTo>
                  <a:cubicBezTo>
                    <a:pt x="0" y="189452"/>
                    <a:pt x="9601" y="199053"/>
                    <a:pt x="21260" y="199053"/>
                  </a:cubicBezTo>
                  <a:cubicBezTo>
                    <a:pt x="26060" y="199053"/>
                    <a:pt x="30689" y="197511"/>
                    <a:pt x="34461" y="194424"/>
                  </a:cubicBezTo>
                  <a:lnTo>
                    <a:pt x="34633" y="194253"/>
                  </a:lnTo>
                  <a:lnTo>
                    <a:pt x="82982" y="159963"/>
                  </a:lnTo>
                  <a:lnTo>
                    <a:pt x="283407" y="442170"/>
                  </a:lnTo>
                  <a:lnTo>
                    <a:pt x="239344" y="473716"/>
                  </a:lnTo>
                  <a:cubicBezTo>
                    <a:pt x="237973" y="474573"/>
                    <a:pt x="236601" y="475431"/>
                    <a:pt x="235401" y="476460"/>
                  </a:cubicBezTo>
                  <a:cubicBezTo>
                    <a:pt x="230943" y="480574"/>
                    <a:pt x="228371" y="486232"/>
                    <a:pt x="228371" y="492233"/>
                  </a:cubicBezTo>
                  <a:cubicBezTo>
                    <a:pt x="228371" y="503892"/>
                    <a:pt x="237973" y="513493"/>
                    <a:pt x="249631" y="513493"/>
                  </a:cubicBezTo>
                  <a:cubicBezTo>
                    <a:pt x="254089" y="513493"/>
                    <a:pt x="258375" y="512121"/>
                    <a:pt x="262147" y="509378"/>
                  </a:cubicBezTo>
                  <a:lnTo>
                    <a:pt x="262490" y="509206"/>
                  </a:lnTo>
                  <a:lnTo>
                    <a:pt x="325241" y="464458"/>
                  </a:lnTo>
                  <a:cubicBezTo>
                    <a:pt x="334842" y="457771"/>
                    <a:pt x="337071" y="444399"/>
                    <a:pt x="330213" y="434969"/>
                  </a:cubicBezTo>
                  <a:lnTo>
                    <a:pt x="313239" y="411137"/>
                  </a:lnTo>
                  <a:lnTo>
                    <a:pt x="336042" y="395021"/>
                  </a:lnTo>
                  <a:cubicBezTo>
                    <a:pt x="344957" y="388677"/>
                    <a:pt x="355587" y="385248"/>
                    <a:pt x="366560" y="385248"/>
                  </a:cubicBezTo>
                  <a:cubicBezTo>
                    <a:pt x="368960" y="385248"/>
                    <a:pt x="371361" y="385419"/>
                    <a:pt x="373761" y="385762"/>
                  </a:cubicBezTo>
                  <a:lnTo>
                    <a:pt x="374104" y="385762"/>
                  </a:lnTo>
                  <a:lnTo>
                    <a:pt x="722662" y="474402"/>
                  </a:lnTo>
                  <a:lnTo>
                    <a:pt x="723005" y="474402"/>
                  </a:lnTo>
                  <a:cubicBezTo>
                    <a:pt x="723348" y="474402"/>
                    <a:pt x="723519" y="474573"/>
                    <a:pt x="723862" y="474573"/>
                  </a:cubicBezTo>
                  <a:lnTo>
                    <a:pt x="724033" y="474573"/>
                  </a:lnTo>
                  <a:cubicBezTo>
                    <a:pt x="724376" y="474573"/>
                    <a:pt x="724719" y="474745"/>
                    <a:pt x="724891" y="474745"/>
                  </a:cubicBezTo>
                  <a:lnTo>
                    <a:pt x="725062" y="474745"/>
                  </a:lnTo>
                  <a:cubicBezTo>
                    <a:pt x="725062" y="474745"/>
                    <a:pt x="725234" y="474745"/>
                    <a:pt x="725234" y="474745"/>
                  </a:cubicBezTo>
                  <a:cubicBezTo>
                    <a:pt x="729177" y="475260"/>
                    <a:pt x="733120" y="475431"/>
                    <a:pt x="736892" y="475431"/>
                  </a:cubicBezTo>
                  <a:cubicBezTo>
                    <a:pt x="736892" y="475431"/>
                    <a:pt x="736892" y="475431"/>
                    <a:pt x="736892" y="475431"/>
                  </a:cubicBezTo>
                  <a:cubicBezTo>
                    <a:pt x="747522" y="475431"/>
                    <a:pt x="757980" y="473716"/>
                    <a:pt x="768096" y="470287"/>
                  </a:cubicBezTo>
                  <a:cubicBezTo>
                    <a:pt x="776669" y="467373"/>
                    <a:pt x="784727" y="463086"/>
                    <a:pt x="792099" y="457943"/>
                  </a:cubicBezTo>
                  <a:lnTo>
                    <a:pt x="1166031" y="193738"/>
                  </a:lnTo>
                  <a:cubicBezTo>
                    <a:pt x="1186777" y="178994"/>
                    <a:pt x="1200493" y="157048"/>
                    <a:pt x="1204779" y="132017"/>
                  </a:cubicBezTo>
                  <a:cubicBezTo>
                    <a:pt x="1209065" y="106813"/>
                    <a:pt x="1203236" y="81610"/>
                    <a:pt x="1188491" y="60865"/>
                  </a:cubicBezTo>
                  <a:cubicBezTo>
                    <a:pt x="1170489" y="35661"/>
                    <a:pt x="1141343" y="20574"/>
                    <a:pt x="1110482" y="20574"/>
                  </a:cubicBezTo>
                  <a:close/>
                </a:path>
              </a:pathLst>
            </a:custGeom>
            <a:grpFill/>
            <a:ln w="9525" cap="flat">
              <a:noFill/>
              <a:prstDash val="solid"/>
              <a:miter/>
            </a:ln>
          </p:spPr>
          <p:txBody>
            <a:bodyPr rtlCol="0" anchor="ctr"/>
            <a:lstStyle/>
            <a:p>
              <a:pPr defTabSz="457189"/>
              <a:endParaRPr lang="fr-FR" sz="1350" dirty="0">
                <a:solidFill>
                  <a:prstClr val="black"/>
                </a:solidFill>
                <a:latin typeface="Arial"/>
              </a:endParaRPr>
            </a:p>
          </p:txBody>
        </p:sp>
      </p:grpSp>
      <p:sp>
        <p:nvSpPr>
          <p:cNvPr id="32" name="ZoneTexte 31">
            <a:extLst>
              <a:ext uri="{FF2B5EF4-FFF2-40B4-BE49-F238E27FC236}">
                <a16:creationId xmlns:a16="http://schemas.microsoft.com/office/drawing/2014/main" id="{829DF9B7-CD24-405F-0A0B-F0945F06C614}"/>
              </a:ext>
            </a:extLst>
          </p:cNvPr>
          <p:cNvSpPr txBox="1"/>
          <p:nvPr/>
        </p:nvSpPr>
        <p:spPr>
          <a:xfrm>
            <a:off x="194640" y="454254"/>
            <a:ext cx="591638" cy="3032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defTabSz="457189">
              <a:lnSpc>
                <a:spcPts val="1050"/>
              </a:lnSpc>
              <a:buClr>
                <a:srgbClr val="007C54"/>
              </a:buClr>
              <a:defRPr/>
            </a:pPr>
            <a:r>
              <a:rPr lang="fr-FR" sz="3600" b="1" dirty="0">
                <a:solidFill>
                  <a:srgbClr val="008B92"/>
                </a:solidFill>
                <a:latin typeface="Arial"/>
              </a:rPr>
              <a:t>1</a:t>
            </a:r>
          </a:p>
        </p:txBody>
      </p:sp>
      <p:cxnSp>
        <p:nvCxnSpPr>
          <p:cNvPr id="33" name="Connecteur droit 32">
            <a:extLst>
              <a:ext uri="{FF2B5EF4-FFF2-40B4-BE49-F238E27FC236}">
                <a16:creationId xmlns:a16="http://schemas.microsoft.com/office/drawing/2014/main" id="{0AE88863-E285-4BFD-EC05-E6202B8A65B8}"/>
              </a:ext>
            </a:extLst>
          </p:cNvPr>
          <p:cNvCxnSpPr>
            <a:cxnSpLocks/>
          </p:cNvCxnSpPr>
          <p:nvPr/>
        </p:nvCxnSpPr>
        <p:spPr>
          <a:xfrm flipV="1">
            <a:off x="541866" y="286499"/>
            <a:ext cx="0" cy="531113"/>
          </a:xfrm>
          <a:prstGeom prst="line">
            <a:avLst/>
          </a:prstGeom>
          <a:ln w="25400" cap="rnd">
            <a:solidFill>
              <a:srgbClr val="008B92"/>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8709213" y="4799870"/>
            <a:ext cx="312906" cy="230832"/>
          </a:xfrm>
          <a:prstGeom prst="rect">
            <a:avLst/>
          </a:prstGeom>
        </p:spPr>
        <p:txBody>
          <a:bodyPr wrap="none">
            <a:spAutoFit/>
          </a:bodyPr>
          <a:lstStyle/>
          <a:p>
            <a:pPr defTabSz="457189"/>
            <a:r>
              <a:rPr lang="fr-FR" sz="900" b="1" dirty="0">
                <a:solidFill>
                  <a:prstClr val="white"/>
                </a:solidFill>
                <a:latin typeface="Arial"/>
              </a:rPr>
              <a:t>61</a:t>
            </a:r>
          </a:p>
        </p:txBody>
      </p:sp>
    </p:spTree>
    <p:extLst>
      <p:ext uri="{BB962C8B-B14F-4D97-AF65-F5344CB8AC3E}">
        <p14:creationId xmlns:p14="http://schemas.microsoft.com/office/powerpoint/2010/main" val="595189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4145" name="Diapositive think-cell" r:id="rId4" imgW="416" imgH="416" progId="TCLayout.ActiveDocument.1">
                  <p:embed/>
                </p:oleObj>
              </mc:Choice>
              <mc:Fallback>
                <p:oleObj name="Diapositive think-cell" r:id="rId4" imgW="416" imgH="416" progId="TCLayout.ActiveDocument.1">
                  <p:embed/>
                  <p:pic>
                    <p:nvPicPr>
                      <p:cNvPr id="8" name="Objet 7"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Titre 1"/>
          <p:cNvSpPr>
            <a:spLocks noGrp="1"/>
          </p:cNvSpPr>
          <p:nvPr>
            <p:ph type="title"/>
          </p:nvPr>
        </p:nvSpPr>
        <p:spPr>
          <a:xfrm>
            <a:off x="1035382" y="278868"/>
            <a:ext cx="4465457" cy="581698"/>
          </a:xfrm>
          <a:noFill/>
        </p:spPr>
        <p:txBody>
          <a:bodyPr vert="horz"/>
          <a:lstStyle/>
          <a:p>
            <a:r>
              <a:rPr lang="fr-FR" sz="2100" dirty="0">
                <a:solidFill>
                  <a:schemeClr val="tx1"/>
                </a:solidFill>
              </a:rPr>
              <a:t>We want to be the </a:t>
            </a:r>
            <a:r>
              <a:rPr lang="fr-FR" sz="2100" dirty="0" err="1">
                <a:solidFill>
                  <a:schemeClr val="tx1"/>
                </a:solidFill>
              </a:rPr>
              <a:t>reference</a:t>
            </a:r>
            <a:r>
              <a:rPr lang="fr-FR" sz="2100" dirty="0">
                <a:solidFill>
                  <a:schemeClr val="tx1"/>
                </a:solidFill>
              </a:rPr>
              <a:t> of </a:t>
            </a:r>
            <a:r>
              <a:rPr lang="fr-FR" sz="2100" dirty="0" err="1">
                <a:solidFill>
                  <a:srgbClr val="7030A0"/>
                </a:solidFill>
              </a:rPr>
              <a:t>societal</a:t>
            </a:r>
            <a:r>
              <a:rPr lang="fr-FR" sz="2100" dirty="0">
                <a:solidFill>
                  <a:srgbClr val="7030A0"/>
                </a:solidFill>
              </a:rPr>
              <a:t> </a:t>
            </a:r>
            <a:r>
              <a:rPr lang="fr-FR" sz="2100" dirty="0" err="1">
                <a:solidFill>
                  <a:srgbClr val="7030A0"/>
                </a:solidFill>
              </a:rPr>
              <a:t>commitments</a:t>
            </a:r>
            <a:endParaRPr lang="fr-FR" sz="2100" dirty="0">
              <a:solidFill>
                <a:srgbClr val="7030A0"/>
              </a:solidFill>
            </a:endParaRPr>
          </a:p>
        </p:txBody>
      </p:sp>
      <p:grpSp>
        <p:nvGrpSpPr>
          <p:cNvPr id="47" name="Groupe 46">
            <a:extLst>
              <a:ext uri="{FF2B5EF4-FFF2-40B4-BE49-F238E27FC236}">
                <a16:creationId xmlns:a16="http://schemas.microsoft.com/office/drawing/2014/main" id="{172731CD-EAF7-1CA8-4B10-4B85E47D1276}"/>
              </a:ext>
            </a:extLst>
          </p:cNvPr>
          <p:cNvGrpSpPr/>
          <p:nvPr/>
        </p:nvGrpSpPr>
        <p:grpSpPr>
          <a:xfrm>
            <a:off x="4834874" y="1242120"/>
            <a:ext cx="3845423" cy="3378696"/>
            <a:chOff x="6619649" y="1656160"/>
            <a:chExt cx="5127231" cy="4504928"/>
          </a:xfrm>
        </p:grpSpPr>
        <p:sp>
          <p:nvSpPr>
            <p:cNvPr id="146" name="Rectangle 145">
              <a:extLst>
                <a:ext uri="{FF2B5EF4-FFF2-40B4-BE49-F238E27FC236}">
                  <a16:creationId xmlns:a16="http://schemas.microsoft.com/office/drawing/2014/main" id="{044021F2-9752-CEEF-FC41-E32D47E5E659}"/>
                </a:ext>
              </a:extLst>
            </p:cNvPr>
            <p:cNvSpPr/>
            <p:nvPr/>
          </p:nvSpPr>
          <p:spPr>
            <a:xfrm>
              <a:off x="6633782" y="2863315"/>
              <a:ext cx="5102720" cy="3001610"/>
            </a:xfrm>
            <a:prstGeom prst="rect">
              <a:avLst/>
            </a:prstGeom>
            <a:solidFill>
              <a:srgbClr val="7030A0">
                <a:alpha val="1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55" name="Rectangle 154">
              <a:extLst>
                <a:ext uri="{FF2B5EF4-FFF2-40B4-BE49-F238E27FC236}">
                  <a16:creationId xmlns:a16="http://schemas.microsoft.com/office/drawing/2014/main" id="{BCD04E4A-E428-D7C4-3BBF-A0652B4D328A}"/>
                </a:ext>
              </a:extLst>
            </p:cNvPr>
            <p:cNvSpPr/>
            <p:nvPr/>
          </p:nvSpPr>
          <p:spPr>
            <a:xfrm>
              <a:off x="6619649" y="1656160"/>
              <a:ext cx="5116854" cy="1208521"/>
            </a:xfrm>
            <a:prstGeom prst="rect">
              <a:avLst/>
            </a:prstGeom>
            <a:solidFill>
              <a:srgbClr val="7030A0">
                <a:alpha val="50000"/>
              </a:srgbClr>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52" name="ZoneTexte 51"/>
            <p:cNvSpPr txBox="1"/>
            <p:nvPr/>
          </p:nvSpPr>
          <p:spPr>
            <a:xfrm>
              <a:off x="6933345" y="3360199"/>
              <a:ext cx="4467493" cy="23130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lvl="1" indent="-2381" algn="ctr" defTabSz="457189">
                <a:lnSpc>
                  <a:spcPts val="825"/>
                </a:lnSpc>
                <a:buClr>
                  <a:srgbClr val="00B0F0"/>
                </a:buClr>
                <a:defRPr/>
              </a:pPr>
              <a:r>
                <a:rPr lang="fr-FR" sz="1050" kern="0" dirty="0">
                  <a:solidFill>
                    <a:prstClr val="black"/>
                  </a:solidFill>
                  <a:latin typeface="Arial"/>
                  <a:cs typeface="Arial" panose="020B0604020202020204" pitchFamily="34" charset="0"/>
                </a:rPr>
                <a:t>Using a ‘Engagement </a:t>
              </a:r>
              <a:r>
                <a:rPr lang="fr-FR" sz="1050" kern="0" dirty="0" err="1">
                  <a:solidFill>
                    <a:prstClr val="black"/>
                  </a:solidFill>
                  <a:latin typeface="Arial"/>
                  <a:cs typeface="Arial" panose="020B0604020202020204" pitchFamily="34" charset="0"/>
                </a:rPr>
                <a:t>comnany</a:t>
              </a:r>
              <a:r>
                <a:rPr lang="fr-FR" sz="1050" kern="0" dirty="0">
                  <a:solidFill>
                    <a:prstClr val="black"/>
                  </a:solidFill>
                  <a:latin typeface="Arial"/>
                  <a:cs typeface="Arial" panose="020B0604020202020204" pitchFamily="34" charset="0"/>
                </a:rPr>
                <a:t>’ </a:t>
              </a:r>
              <a:r>
                <a:rPr lang="fr-FR" sz="1050" kern="0" dirty="0" err="1">
                  <a:solidFill>
                    <a:prstClr val="black"/>
                  </a:solidFill>
                  <a:latin typeface="Arial"/>
                  <a:cs typeface="Arial" panose="020B0604020202020204" pitchFamily="34" charset="0"/>
                </a:rPr>
                <a:t>approach</a:t>
              </a:r>
              <a:r>
                <a:rPr lang="fr-FR" sz="1050" kern="0" dirty="0">
                  <a:solidFill>
                    <a:prstClr val="black"/>
                  </a:solidFill>
                  <a:latin typeface="Arial"/>
                  <a:cs typeface="Arial" panose="020B0604020202020204" pitchFamily="34" charset="0"/>
                </a:rPr>
                <a:t>, it is formulated as follows: </a:t>
              </a:r>
            </a:p>
            <a:p>
              <a:pPr marL="4763" lvl="1" algn="ctr" defTabSz="457189">
                <a:lnSpc>
                  <a:spcPts val="825"/>
                </a:lnSpc>
                <a:buClr>
                  <a:srgbClr val="7030A0"/>
                </a:buClr>
                <a:tabLst>
                  <a:tab pos="98819" algn="l"/>
                </a:tabLst>
                <a:defRPr/>
              </a:pPr>
              <a:endParaRPr lang="fr-FR" sz="825" b="1" kern="0" dirty="0">
                <a:solidFill>
                  <a:srgbClr val="7030A0"/>
                </a:solidFill>
                <a:latin typeface="Arial"/>
                <a:cs typeface="Arial" panose="020B0604020202020204" pitchFamily="34" charset="0"/>
              </a:endParaRPr>
            </a:p>
            <a:p>
              <a:pPr marL="133347" lvl="1" indent="-128585" defTabSz="457189">
                <a:lnSpc>
                  <a:spcPts val="825"/>
                </a:lnSpc>
                <a:buClr>
                  <a:srgbClr val="7030A0"/>
                </a:buClr>
                <a:buFont typeface="Arial" panose="020B0604020202020204" pitchFamily="34" charset="0"/>
                <a:buChar char="•"/>
                <a:tabLst>
                  <a:tab pos="98819" algn="l"/>
                </a:tabLst>
                <a:defRPr/>
              </a:pPr>
              <a:r>
                <a:rPr lang="fr-FR" sz="825" kern="0" dirty="0">
                  <a:solidFill>
                    <a:prstClr val="black"/>
                  </a:solidFill>
                  <a:latin typeface="Arial"/>
                  <a:cs typeface="Arial" panose="020B0604020202020204" pitchFamily="34" charset="0"/>
                </a:rPr>
                <a:t>Accompany all our customers in each of the moments of life in full transparency and ethics by observing their choices. </a:t>
              </a:r>
            </a:p>
            <a:p>
              <a:pPr marL="133347" lvl="1" indent="-128585" defTabSz="457189">
                <a:lnSpc>
                  <a:spcPts val="825"/>
                </a:lnSpc>
                <a:buClr>
                  <a:srgbClr val="7030A0"/>
                </a:buClr>
                <a:buFont typeface="Arial" panose="020B0604020202020204" pitchFamily="34" charset="0"/>
                <a:buChar char="•"/>
                <a:tabLst>
                  <a:tab pos="98819" algn="l"/>
                </a:tabLst>
                <a:defRPr/>
              </a:pPr>
              <a:endParaRPr lang="fr-FR" sz="825" b="1" kern="0" dirty="0">
                <a:solidFill>
                  <a:srgbClr val="7030A0"/>
                </a:solidFill>
                <a:latin typeface="Arial"/>
                <a:cs typeface="Arial" panose="020B0604020202020204" pitchFamily="34" charset="0"/>
              </a:endParaRPr>
            </a:p>
            <a:p>
              <a:pPr marL="133347" lvl="1" indent="-128585" defTabSz="457189">
                <a:lnSpc>
                  <a:spcPts val="825"/>
                </a:lnSpc>
                <a:buClr>
                  <a:srgbClr val="7030A0"/>
                </a:buClr>
                <a:buFont typeface="Arial" panose="020B0604020202020204" pitchFamily="34" charset="0"/>
                <a:buChar char="•"/>
                <a:tabLst>
                  <a:tab pos="98819" algn="l"/>
                </a:tabLst>
                <a:defRPr/>
              </a:pPr>
              <a:r>
                <a:rPr lang="fr-FR" sz="825" kern="0" dirty="0">
                  <a:solidFill>
                    <a:prstClr val="black"/>
                  </a:solidFill>
                  <a:latin typeface="Arial"/>
                  <a:cs typeface="Arial" panose="020B0604020202020204" pitchFamily="34" charset="0"/>
                </a:rPr>
                <a:t>Accelerate social and energy transitions by providing positive impact solutions.</a:t>
              </a:r>
            </a:p>
            <a:p>
              <a:pPr marL="133347" lvl="1" indent="-128585" defTabSz="457189">
                <a:lnSpc>
                  <a:spcPts val="825"/>
                </a:lnSpc>
                <a:buClr>
                  <a:srgbClr val="7030A0"/>
                </a:buClr>
                <a:buFont typeface="Arial" panose="020B0604020202020204" pitchFamily="34" charset="0"/>
                <a:buChar char="•"/>
                <a:tabLst>
                  <a:tab pos="98819" algn="l"/>
                </a:tabLst>
                <a:defRPr/>
              </a:pPr>
              <a:endParaRPr lang="fr-FR" sz="825" b="1" kern="0" dirty="0">
                <a:solidFill>
                  <a:srgbClr val="7030A0"/>
                </a:solidFill>
                <a:latin typeface="Arial"/>
                <a:cs typeface="Arial" panose="020B0604020202020204" pitchFamily="34" charset="0"/>
              </a:endParaRPr>
            </a:p>
            <a:p>
              <a:pPr marL="133347" lvl="1" indent="-128585" defTabSz="457189">
                <a:lnSpc>
                  <a:spcPts val="825"/>
                </a:lnSpc>
                <a:buClr>
                  <a:srgbClr val="7030A0"/>
                </a:buClr>
                <a:buFont typeface="Arial" panose="020B0604020202020204" pitchFamily="34" charset="0"/>
                <a:buChar char="•"/>
                <a:tabLst>
                  <a:tab pos="98819" algn="l"/>
                </a:tabLst>
                <a:defRPr/>
              </a:pPr>
              <a:r>
                <a:rPr lang="fr-FR" sz="825" kern="0" dirty="0">
                  <a:solidFill>
                    <a:prstClr val="black"/>
                  </a:solidFill>
                  <a:latin typeface="Arial"/>
                  <a:cs typeface="Arial" panose="020B0604020202020204" pitchFamily="34" charset="0"/>
                </a:rPr>
                <a:t> Offer each of our customers and partners modern solutions by innovating in our offers and tools and by remaining attentive to the society.</a:t>
              </a:r>
            </a:p>
            <a:p>
              <a:pPr marL="133347" lvl="1" indent="-128585" defTabSz="457189">
                <a:lnSpc>
                  <a:spcPts val="825"/>
                </a:lnSpc>
                <a:buClr>
                  <a:srgbClr val="7030A0"/>
                </a:buClr>
                <a:buFont typeface="Arial" panose="020B0604020202020204" pitchFamily="34" charset="0"/>
                <a:buChar char="•"/>
                <a:tabLst>
                  <a:tab pos="98819" algn="l"/>
                </a:tabLst>
                <a:defRPr/>
              </a:pPr>
              <a:endParaRPr lang="fr-FR" sz="825" b="1" kern="0" dirty="0">
                <a:solidFill>
                  <a:srgbClr val="7030A0"/>
                </a:solidFill>
                <a:latin typeface="Arial"/>
                <a:cs typeface="Arial" panose="020B0604020202020204" pitchFamily="34" charset="0"/>
              </a:endParaRPr>
            </a:p>
            <a:p>
              <a:pPr marL="133347" lvl="1" indent="-128585" defTabSz="457189">
                <a:lnSpc>
                  <a:spcPts val="825"/>
                </a:lnSpc>
                <a:buClr>
                  <a:srgbClr val="7030A0"/>
                </a:buClr>
                <a:buFont typeface="Arial" panose="020B0604020202020204" pitchFamily="34" charset="0"/>
                <a:buChar char="•"/>
                <a:tabLst>
                  <a:tab pos="98819" algn="l"/>
                </a:tabLst>
                <a:defRPr/>
              </a:pPr>
              <a:r>
                <a:rPr lang="fr-FR" sz="825" kern="0" dirty="0">
                  <a:solidFill>
                    <a:prstClr val="black"/>
                  </a:solidFill>
                  <a:latin typeface="Arial"/>
                  <a:cs typeface="Arial" panose="020B0604020202020204" pitchFamily="34" charset="0"/>
                </a:rPr>
                <a:t>To enable each of our </a:t>
              </a:r>
              <a:r>
                <a:rPr lang="fr-FR" sz="825" kern="0" dirty="0" err="1">
                  <a:solidFill>
                    <a:prstClr val="black"/>
                  </a:solidFill>
                  <a:latin typeface="Arial"/>
                  <a:cs typeface="Arial" panose="020B0604020202020204" pitchFamily="34" charset="0"/>
                </a:rPr>
                <a:t>employees</a:t>
              </a:r>
              <a:r>
                <a:rPr lang="fr-FR" sz="825" kern="0" dirty="0">
                  <a:solidFill>
                    <a:prstClr val="black"/>
                  </a:solidFill>
                  <a:latin typeface="Arial"/>
                  <a:cs typeface="Arial" panose="020B0604020202020204" pitchFamily="34" charset="0"/>
                </a:rPr>
                <a:t> to be professionally realized at the service of customers and society.</a:t>
              </a:r>
            </a:p>
            <a:p>
              <a:pPr marL="7144" lvl="1" indent="-2381" algn="ctr" defTabSz="457189">
                <a:lnSpc>
                  <a:spcPts val="825"/>
                </a:lnSpc>
                <a:buClr>
                  <a:srgbClr val="00B0F0"/>
                </a:buClr>
                <a:defRPr/>
              </a:pPr>
              <a:endParaRPr lang="fr-FR" sz="825" kern="0" dirty="0">
                <a:solidFill>
                  <a:prstClr val="black"/>
                </a:solidFill>
                <a:latin typeface="Arial"/>
                <a:cs typeface="Arial" panose="020B0604020202020204" pitchFamily="34" charset="0"/>
              </a:endParaRPr>
            </a:p>
          </p:txBody>
        </p:sp>
        <p:sp>
          <p:nvSpPr>
            <p:cNvPr id="147" name="Rectangle 146">
              <a:extLst>
                <a:ext uri="{FF2B5EF4-FFF2-40B4-BE49-F238E27FC236}">
                  <a16:creationId xmlns:a16="http://schemas.microsoft.com/office/drawing/2014/main" id="{1329029C-9760-B5F5-4884-8CA5D09CACE2}"/>
                </a:ext>
              </a:extLst>
            </p:cNvPr>
            <p:cNvSpPr/>
            <p:nvPr/>
          </p:nvSpPr>
          <p:spPr>
            <a:xfrm>
              <a:off x="6630027" y="5869128"/>
              <a:ext cx="5106475" cy="291960"/>
            </a:xfrm>
            <a:prstGeom prst="rect">
              <a:avLst/>
            </a:prstGeom>
            <a:solidFill>
              <a:srgbClr val="7030A0">
                <a:alpha val="50000"/>
              </a:srgbClr>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61" name="ZoneTexte 160">
              <a:extLst>
                <a:ext uri="{FF2B5EF4-FFF2-40B4-BE49-F238E27FC236}">
                  <a16:creationId xmlns:a16="http://schemas.microsoft.com/office/drawing/2014/main" id="{A8A18590-A57A-C072-62DE-E14AEC199A8F}"/>
                </a:ext>
              </a:extLst>
            </p:cNvPr>
            <p:cNvSpPr txBox="1"/>
            <p:nvPr/>
          </p:nvSpPr>
          <p:spPr>
            <a:xfrm>
              <a:off x="6630027" y="1657356"/>
              <a:ext cx="5116853" cy="11989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r>
                <a:rPr lang="fr-FR" sz="1350" b="1" dirty="0">
                  <a:solidFill>
                    <a:srgbClr val="F3F3F3"/>
                  </a:solidFill>
                  <a:latin typeface="Arial"/>
                </a:rPr>
                <a:t> Engaging in a process</a:t>
              </a:r>
            </a:p>
            <a:p>
              <a:pPr algn="ctr" defTabSz="685783">
                <a:defRPr/>
              </a:pPr>
              <a:r>
                <a:rPr lang="fr-FR" sz="1350" b="1" dirty="0">
                  <a:solidFill>
                    <a:srgbClr val="F3F3F3"/>
                  </a:solidFill>
                  <a:latin typeface="Arial"/>
                </a:rPr>
                <a:t>of progress shared by all </a:t>
              </a:r>
            </a:p>
          </p:txBody>
        </p:sp>
        <p:grpSp>
          <p:nvGrpSpPr>
            <p:cNvPr id="162" name="Groupe 161">
              <a:extLst>
                <a:ext uri="{FF2B5EF4-FFF2-40B4-BE49-F238E27FC236}">
                  <a16:creationId xmlns:a16="http://schemas.microsoft.com/office/drawing/2014/main" id="{68173FBD-DDB1-B0DA-07B8-BC9ECE050EFB}"/>
                </a:ext>
              </a:extLst>
            </p:cNvPr>
            <p:cNvGrpSpPr/>
            <p:nvPr/>
          </p:nvGrpSpPr>
          <p:grpSpPr>
            <a:xfrm rot="5400000">
              <a:off x="9024030" y="2953208"/>
              <a:ext cx="318468" cy="318468"/>
              <a:chOff x="3186873" y="-200431"/>
              <a:chExt cx="566849" cy="566849"/>
            </a:xfrm>
          </p:grpSpPr>
          <p:sp>
            <p:nvSpPr>
              <p:cNvPr id="170" name="Ellipse 169">
                <a:extLst>
                  <a:ext uri="{FF2B5EF4-FFF2-40B4-BE49-F238E27FC236}">
                    <a16:creationId xmlns:a16="http://schemas.microsoft.com/office/drawing/2014/main" id="{7F4555B3-FE55-F9FB-ED7F-59EC4941187C}"/>
                  </a:ext>
                </a:extLst>
              </p:cNvPr>
              <p:cNvSpPr/>
              <p:nvPr/>
            </p:nvSpPr>
            <p:spPr>
              <a:xfrm rot="16200000">
                <a:off x="3186873" y="-200431"/>
                <a:ext cx="566849" cy="566849"/>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71" name="Graphique 47">
                <a:extLst>
                  <a:ext uri="{FF2B5EF4-FFF2-40B4-BE49-F238E27FC236}">
                    <a16:creationId xmlns:a16="http://schemas.microsoft.com/office/drawing/2014/main" id="{EBCEF6F6-7EF7-D2E7-DB42-7AABBA8AB70F}"/>
                  </a:ext>
                </a:extLst>
              </p:cNvPr>
              <p:cNvSpPr/>
              <p:nvPr/>
            </p:nvSpPr>
            <p:spPr>
              <a:xfrm>
                <a:off x="3346866" y="1173"/>
                <a:ext cx="246851" cy="18191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grpSp>
      <p:grpSp>
        <p:nvGrpSpPr>
          <p:cNvPr id="49" name="Groupe 48">
            <a:extLst>
              <a:ext uri="{FF2B5EF4-FFF2-40B4-BE49-F238E27FC236}">
                <a16:creationId xmlns:a16="http://schemas.microsoft.com/office/drawing/2014/main" id="{ADCAF946-1BAB-192E-399F-0FFFEAF4FFDD}"/>
              </a:ext>
            </a:extLst>
          </p:cNvPr>
          <p:cNvGrpSpPr/>
          <p:nvPr/>
        </p:nvGrpSpPr>
        <p:grpSpPr>
          <a:xfrm>
            <a:off x="2929437" y="1239864"/>
            <a:ext cx="1888168" cy="3380952"/>
            <a:chOff x="3913991" y="1653152"/>
            <a:chExt cx="2517557" cy="4507936"/>
          </a:xfrm>
        </p:grpSpPr>
        <p:sp>
          <p:nvSpPr>
            <p:cNvPr id="143" name="Rectangle 142">
              <a:extLst>
                <a:ext uri="{FF2B5EF4-FFF2-40B4-BE49-F238E27FC236}">
                  <a16:creationId xmlns:a16="http://schemas.microsoft.com/office/drawing/2014/main" id="{261E29E1-E3AC-6B7A-C8F0-E2178D1BDBFE}"/>
                </a:ext>
              </a:extLst>
            </p:cNvPr>
            <p:cNvSpPr/>
            <p:nvPr/>
          </p:nvSpPr>
          <p:spPr>
            <a:xfrm>
              <a:off x="3916896" y="2860479"/>
              <a:ext cx="2514652" cy="3004446"/>
            </a:xfrm>
            <a:prstGeom prst="rect">
              <a:avLst/>
            </a:prstGeom>
            <a:solidFill>
              <a:srgbClr val="7030A0">
                <a:alpha val="1025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54" name="Rectangle 153">
              <a:extLst>
                <a:ext uri="{FF2B5EF4-FFF2-40B4-BE49-F238E27FC236}">
                  <a16:creationId xmlns:a16="http://schemas.microsoft.com/office/drawing/2014/main" id="{8DFCD6DD-E687-A63E-F42E-F4B6A677BD86}"/>
                </a:ext>
              </a:extLst>
            </p:cNvPr>
            <p:cNvSpPr/>
            <p:nvPr/>
          </p:nvSpPr>
          <p:spPr>
            <a:xfrm>
              <a:off x="3916895" y="1657356"/>
              <a:ext cx="2501318" cy="1205958"/>
            </a:xfrm>
            <a:prstGeom prst="rect">
              <a:avLst/>
            </a:prstGeom>
            <a:solidFill>
              <a:srgbClr val="7030A0">
                <a:alpha val="70000"/>
              </a:srgbClr>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59" name="ZoneTexte 158">
              <a:extLst>
                <a:ext uri="{FF2B5EF4-FFF2-40B4-BE49-F238E27FC236}">
                  <a16:creationId xmlns:a16="http://schemas.microsoft.com/office/drawing/2014/main" id="{99A75897-2D34-2ED7-0446-4AAA337AA097}"/>
                </a:ext>
              </a:extLst>
            </p:cNvPr>
            <p:cNvSpPr txBox="1"/>
            <p:nvPr/>
          </p:nvSpPr>
          <p:spPr>
            <a:xfrm>
              <a:off x="3916097" y="1653152"/>
              <a:ext cx="2514651" cy="12101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r>
                <a:rPr lang="fr-FR" sz="1350" b="1" dirty="0">
                  <a:solidFill>
                    <a:srgbClr val="F3F3F3"/>
                  </a:solidFill>
                  <a:latin typeface="Arial"/>
                </a:rPr>
                <a:t>CSR Make</a:t>
              </a:r>
            </a:p>
            <a:p>
              <a:pPr algn="ctr" defTabSz="685783">
                <a:defRPr/>
              </a:pPr>
              <a:r>
                <a:rPr lang="fr-FR" sz="1350" b="1" dirty="0">
                  <a:solidFill>
                    <a:srgbClr val="F3F3F3"/>
                  </a:solidFill>
                  <a:latin typeface="Arial"/>
                </a:rPr>
                <a:t>a source of Business</a:t>
              </a:r>
            </a:p>
          </p:txBody>
        </p:sp>
        <p:grpSp>
          <p:nvGrpSpPr>
            <p:cNvPr id="160" name="Groupe 159">
              <a:extLst>
                <a:ext uri="{FF2B5EF4-FFF2-40B4-BE49-F238E27FC236}">
                  <a16:creationId xmlns:a16="http://schemas.microsoft.com/office/drawing/2014/main" id="{3CE54642-2B5C-4199-B175-A87319A7101D}"/>
                </a:ext>
              </a:extLst>
            </p:cNvPr>
            <p:cNvGrpSpPr/>
            <p:nvPr/>
          </p:nvGrpSpPr>
          <p:grpSpPr>
            <a:xfrm rot="5400000">
              <a:off x="5024155" y="2953207"/>
              <a:ext cx="318468" cy="318468"/>
              <a:chOff x="3186875" y="475055"/>
              <a:chExt cx="566849" cy="566849"/>
            </a:xfrm>
          </p:grpSpPr>
          <p:sp>
            <p:nvSpPr>
              <p:cNvPr id="172" name="Ellipse 171">
                <a:extLst>
                  <a:ext uri="{FF2B5EF4-FFF2-40B4-BE49-F238E27FC236}">
                    <a16:creationId xmlns:a16="http://schemas.microsoft.com/office/drawing/2014/main" id="{1F5DF8BD-9993-E463-D672-3284F2D08A57}"/>
                  </a:ext>
                </a:extLst>
              </p:cNvPr>
              <p:cNvSpPr/>
              <p:nvPr/>
            </p:nvSpPr>
            <p:spPr>
              <a:xfrm rot="16200000">
                <a:off x="3186875" y="475055"/>
                <a:ext cx="566849" cy="566849"/>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73" name="Graphique 47">
                <a:extLst>
                  <a:ext uri="{FF2B5EF4-FFF2-40B4-BE49-F238E27FC236}">
                    <a16:creationId xmlns:a16="http://schemas.microsoft.com/office/drawing/2014/main" id="{0E69A490-64D8-E942-2A33-B7C08B9D8C51}"/>
                  </a:ext>
                </a:extLst>
              </p:cNvPr>
              <p:cNvSpPr/>
              <p:nvPr/>
            </p:nvSpPr>
            <p:spPr>
              <a:xfrm>
                <a:off x="3346869" y="676661"/>
                <a:ext cx="246851" cy="18191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sp>
          <p:nvSpPr>
            <p:cNvPr id="4" name="ZoneTexte 3">
              <a:extLst>
                <a:ext uri="{FF2B5EF4-FFF2-40B4-BE49-F238E27FC236}">
                  <a16:creationId xmlns:a16="http://schemas.microsoft.com/office/drawing/2014/main" id="{677F5325-6D2B-F096-8414-E796DCC06F3C}"/>
                </a:ext>
              </a:extLst>
            </p:cNvPr>
            <p:cNvSpPr txBox="1"/>
            <p:nvPr/>
          </p:nvSpPr>
          <p:spPr>
            <a:xfrm>
              <a:off x="4210426" y="3376593"/>
              <a:ext cx="1899126" cy="19269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indent="-7144" algn="ctr" defTabSz="457189">
                <a:lnSpc>
                  <a:spcPts val="975"/>
                </a:lnSpc>
                <a:buClr>
                  <a:srgbClr val="7030A0"/>
                </a:buClr>
                <a:defRPr/>
              </a:pPr>
              <a:r>
                <a:rPr lang="fr-FR" sz="1050" kern="0" dirty="0" err="1">
                  <a:solidFill>
                    <a:prstClr val="black"/>
                  </a:solidFill>
                  <a:latin typeface="Arial"/>
                  <a:cs typeface="Arial" panose="020B0604020202020204" pitchFamily="34" charset="0"/>
                </a:rPr>
                <a:t>Natively</a:t>
              </a:r>
              <a:r>
                <a:rPr lang="fr-FR" sz="1050" kern="0" dirty="0">
                  <a:solidFill>
                    <a:prstClr val="black"/>
                  </a:solidFill>
                  <a:latin typeface="Arial"/>
                  <a:cs typeface="Arial" panose="020B0604020202020204" pitchFamily="34" charset="0"/>
                </a:rPr>
                <a:t> </a:t>
              </a:r>
              <a:r>
                <a:rPr lang="fr-FR" sz="1050" kern="0" dirty="0" err="1">
                  <a:solidFill>
                    <a:prstClr val="black"/>
                  </a:solidFill>
                  <a:latin typeface="Arial"/>
                  <a:cs typeface="Arial" panose="020B0604020202020204" pitchFamily="34" charset="0"/>
                </a:rPr>
                <a:t>anchor</a:t>
              </a:r>
              <a:r>
                <a:rPr lang="fr-FR" sz="1050" kern="0" dirty="0">
                  <a:solidFill>
                    <a:prstClr val="black"/>
                  </a:solidFill>
                  <a:latin typeface="Arial"/>
                  <a:cs typeface="Arial" panose="020B0604020202020204" pitchFamily="34" charset="0"/>
                </a:rPr>
                <a:t> CSR in the business and</a:t>
              </a:r>
            </a:p>
            <a:p>
              <a:pPr marL="7144" indent="-7144" algn="ctr" defTabSz="685783">
                <a:lnSpc>
                  <a:spcPts val="975"/>
                </a:lnSpc>
                <a:buClr>
                  <a:srgbClr val="7030A0"/>
                </a:buClr>
                <a:defRPr/>
              </a:pPr>
              <a:r>
                <a:rPr lang="fr-FR" sz="1050" kern="0" dirty="0">
                  <a:solidFill>
                    <a:prstClr val="black"/>
                  </a:solidFill>
                  <a:latin typeface="Arial"/>
                  <a:cs typeface="Arial" panose="020B0604020202020204" pitchFamily="34" charset="0"/>
                </a:rPr>
                <a:t>In CACF Division</a:t>
              </a:r>
            </a:p>
          </p:txBody>
        </p:sp>
        <p:sp>
          <p:nvSpPr>
            <p:cNvPr id="6" name="Rectangle 5">
              <a:extLst>
                <a:ext uri="{FF2B5EF4-FFF2-40B4-BE49-F238E27FC236}">
                  <a16:creationId xmlns:a16="http://schemas.microsoft.com/office/drawing/2014/main" id="{09DF021A-FC54-D481-CE9F-5B4D387CD346}"/>
                </a:ext>
              </a:extLst>
            </p:cNvPr>
            <p:cNvSpPr/>
            <p:nvPr/>
          </p:nvSpPr>
          <p:spPr>
            <a:xfrm>
              <a:off x="3913991" y="5869128"/>
              <a:ext cx="2516757" cy="291960"/>
            </a:xfrm>
            <a:prstGeom prst="rect">
              <a:avLst/>
            </a:prstGeom>
            <a:solidFill>
              <a:srgbClr val="7030A0">
                <a:alpha val="70000"/>
              </a:srgbClr>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pSp>
        <p:nvGrpSpPr>
          <p:cNvPr id="48" name="Groupe 47">
            <a:extLst>
              <a:ext uri="{FF2B5EF4-FFF2-40B4-BE49-F238E27FC236}">
                <a16:creationId xmlns:a16="http://schemas.microsoft.com/office/drawing/2014/main" id="{AB816C16-4DA2-C6F3-9148-E3A69B192616}"/>
              </a:ext>
            </a:extLst>
          </p:cNvPr>
          <p:cNvGrpSpPr/>
          <p:nvPr/>
        </p:nvGrpSpPr>
        <p:grpSpPr>
          <a:xfrm>
            <a:off x="1035382" y="1228009"/>
            <a:ext cx="1876586" cy="3392809"/>
            <a:chOff x="1415577" y="1637343"/>
            <a:chExt cx="2502114" cy="4523745"/>
          </a:xfrm>
        </p:grpSpPr>
        <p:sp>
          <p:nvSpPr>
            <p:cNvPr id="140" name="Rectangle 139">
              <a:extLst>
                <a:ext uri="{FF2B5EF4-FFF2-40B4-BE49-F238E27FC236}">
                  <a16:creationId xmlns:a16="http://schemas.microsoft.com/office/drawing/2014/main" id="{9E2A51B7-99B9-80E6-B35D-B2161789A4A0}"/>
                </a:ext>
              </a:extLst>
            </p:cNvPr>
            <p:cNvSpPr/>
            <p:nvPr/>
          </p:nvSpPr>
          <p:spPr>
            <a:xfrm>
              <a:off x="1428912" y="2808430"/>
              <a:ext cx="2488779" cy="3056494"/>
            </a:xfrm>
            <a:prstGeom prst="rect">
              <a:avLst/>
            </a:prstGeom>
            <a:solidFill>
              <a:srgbClr val="7030A0">
                <a:alpha val="1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45" name="ZoneTexte 44">
              <a:extLst>
                <a:ext uri="{FF2B5EF4-FFF2-40B4-BE49-F238E27FC236}">
                  <a16:creationId xmlns:a16="http://schemas.microsoft.com/office/drawing/2014/main" id="{C846E9BC-AF61-5585-A6DA-61CC281D74F8}"/>
                </a:ext>
              </a:extLst>
            </p:cNvPr>
            <p:cNvSpPr txBox="1"/>
            <p:nvPr/>
          </p:nvSpPr>
          <p:spPr>
            <a:xfrm>
              <a:off x="2908018" y="16373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1350" dirty="0" err="1">
                <a:solidFill>
                  <a:prstClr val="black"/>
                </a:solidFill>
                <a:latin typeface="Arial"/>
              </a:endParaRPr>
            </a:p>
          </p:txBody>
        </p:sp>
        <p:sp>
          <p:nvSpPr>
            <p:cNvPr id="151" name="Rectangle 150">
              <a:extLst>
                <a:ext uri="{FF2B5EF4-FFF2-40B4-BE49-F238E27FC236}">
                  <a16:creationId xmlns:a16="http://schemas.microsoft.com/office/drawing/2014/main" id="{7050AF24-2B24-50C6-FE6B-A427ADF87DF5}"/>
                </a:ext>
              </a:extLst>
            </p:cNvPr>
            <p:cNvSpPr/>
            <p:nvPr/>
          </p:nvSpPr>
          <p:spPr>
            <a:xfrm>
              <a:off x="1415577" y="1658552"/>
              <a:ext cx="2501318" cy="1205958"/>
            </a:xfrm>
            <a:prstGeom prst="rect">
              <a:avLst/>
            </a:prstGeom>
            <a:solidFill>
              <a:srgbClr val="7030A0"/>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nvGrpSpPr>
            <p:cNvPr id="164" name="Groupe 163">
              <a:extLst>
                <a:ext uri="{FF2B5EF4-FFF2-40B4-BE49-F238E27FC236}">
                  <a16:creationId xmlns:a16="http://schemas.microsoft.com/office/drawing/2014/main" id="{DE689E17-43C1-9222-D3A6-8A91939BE9A7}"/>
                </a:ext>
              </a:extLst>
            </p:cNvPr>
            <p:cNvGrpSpPr/>
            <p:nvPr/>
          </p:nvGrpSpPr>
          <p:grpSpPr>
            <a:xfrm rot="5400000">
              <a:off x="2504062" y="2953204"/>
              <a:ext cx="318468" cy="318468"/>
              <a:chOff x="3186876" y="475055"/>
              <a:chExt cx="566850" cy="566849"/>
            </a:xfrm>
          </p:grpSpPr>
          <p:sp>
            <p:nvSpPr>
              <p:cNvPr id="166" name="Ellipse 165">
                <a:extLst>
                  <a:ext uri="{FF2B5EF4-FFF2-40B4-BE49-F238E27FC236}">
                    <a16:creationId xmlns:a16="http://schemas.microsoft.com/office/drawing/2014/main" id="{89D590D4-E3FB-B22C-DBA7-79F9E0120258}"/>
                  </a:ext>
                </a:extLst>
              </p:cNvPr>
              <p:cNvSpPr/>
              <p:nvPr/>
            </p:nvSpPr>
            <p:spPr>
              <a:xfrm rot="16200000">
                <a:off x="3186876" y="475055"/>
                <a:ext cx="566849" cy="566850"/>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67" name="Graphique 47">
                <a:extLst>
                  <a:ext uri="{FF2B5EF4-FFF2-40B4-BE49-F238E27FC236}">
                    <a16:creationId xmlns:a16="http://schemas.microsoft.com/office/drawing/2014/main" id="{3EB3D4A9-358A-DFEC-B7FB-E32C7D1B566C}"/>
                  </a:ext>
                </a:extLst>
              </p:cNvPr>
              <p:cNvSpPr/>
              <p:nvPr/>
            </p:nvSpPr>
            <p:spPr>
              <a:xfrm>
                <a:off x="3346874" y="676659"/>
                <a:ext cx="246851" cy="18191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sp>
          <p:nvSpPr>
            <p:cNvPr id="28" name="ZoneTexte 27"/>
            <p:cNvSpPr txBox="1"/>
            <p:nvPr/>
          </p:nvSpPr>
          <p:spPr>
            <a:xfrm>
              <a:off x="1421846" y="1653152"/>
              <a:ext cx="2494250" cy="12059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r>
                <a:rPr lang="fr-FR" sz="1350" b="1" dirty="0">
                  <a:solidFill>
                    <a:prstClr val="white"/>
                  </a:solidFill>
                  <a:latin typeface="Arial"/>
                </a:rPr>
                <a:t>Taking our fair share in the Group's societal Project</a:t>
              </a:r>
            </a:p>
          </p:txBody>
        </p:sp>
        <p:sp>
          <p:nvSpPr>
            <p:cNvPr id="5" name="ZoneTexte 4">
              <a:extLst>
                <a:ext uri="{FF2B5EF4-FFF2-40B4-BE49-F238E27FC236}">
                  <a16:creationId xmlns:a16="http://schemas.microsoft.com/office/drawing/2014/main" id="{40B7D357-1FAB-5CB9-5D35-1DD551FCF8DA}"/>
                </a:ext>
              </a:extLst>
            </p:cNvPr>
            <p:cNvSpPr txBox="1"/>
            <p:nvPr/>
          </p:nvSpPr>
          <p:spPr>
            <a:xfrm>
              <a:off x="1721647" y="3376593"/>
              <a:ext cx="1899920" cy="19980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lvl="1" algn="ctr" defTabSz="457189">
                <a:lnSpc>
                  <a:spcPts val="975"/>
                </a:lnSpc>
                <a:buClr>
                  <a:srgbClr val="007C54"/>
                </a:buClr>
                <a:defRPr/>
              </a:pPr>
              <a:r>
                <a:rPr lang="fr-FR" sz="1050" kern="0" dirty="0">
                  <a:solidFill>
                    <a:prstClr val="black"/>
                  </a:solidFill>
                  <a:latin typeface="Arial"/>
                  <a:cs typeface="Arial" panose="020B0604020202020204" pitchFamily="34" charset="0"/>
                </a:rPr>
                <a:t>And actively contribute to the common good</a:t>
              </a:r>
            </a:p>
          </p:txBody>
        </p:sp>
        <p:sp>
          <p:nvSpPr>
            <p:cNvPr id="7" name="Rectangle 6">
              <a:extLst>
                <a:ext uri="{FF2B5EF4-FFF2-40B4-BE49-F238E27FC236}">
                  <a16:creationId xmlns:a16="http://schemas.microsoft.com/office/drawing/2014/main" id="{EE04E1ED-EDAE-56F2-6D80-FEB8A45C882B}"/>
                </a:ext>
              </a:extLst>
            </p:cNvPr>
            <p:cNvSpPr/>
            <p:nvPr/>
          </p:nvSpPr>
          <p:spPr>
            <a:xfrm>
              <a:off x="1424791" y="5869128"/>
              <a:ext cx="2487603" cy="291960"/>
            </a:xfrm>
            <a:prstGeom prst="rect">
              <a:avLst/>
            </a:prstGeom>
            <a:solidFill>
              <a:srgbClr val="7030A0"/>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sp>
        <p:nvSpPr>
          <p:cNvPr id="32" name="ZoneTexte 31">
            <a:extLst>
              <a:ext uri="{FF2B5EF4-FFF2-40B4-BE49-F238E27FC236}">
                <a16:creationId xmlns:a16="http://schemas.microsoft.com/office/drawing/2014/main" id="{829DF9B7-CD24-405F-0A0B-F0945F06C614}"/>
              </a:ext>
            </a:extLst>
          </p:cNvPr>
          <p:cNvSpPr txBox="1"/>
          <p:nvPr/>
        </p:nvSpPr>
        <p:spPr>
          <a:xfrm>
            <a:off x="261158" y="435213"/>
            <a:ext cx="856858" cy="3032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defTabSz="457189">
              <a:lnSpc>
                <a:spcPts val="1050"/>
              </a:lnSpc>
              <a:buClr>
                <a:srgbClr val="007C54"/>
              </a:buClr>
              <a:defRPr/>
            </a:pPr>
            <a:r>
              <a:rPr lang="fr-FR" sz="3600" b="1" dirty="0">
                <a:solidFill>
                  <a:srgbClr val="7030A0"/>
                </a:solidFill>
                <a:latin typeface="Arial"/>
              </a:rPr>
              <a:t>2</a:t>
            </a:r>
          </a:p>
        </p:txBody>
      </p:sp>
      <p:grpSp>
        <p:nvGrpSpPr>
          <p:cNvPr id="34" name="Groupe 33">
            <a:extLst>
              <a:ext uri="{FF2B5EF4-FFF2-40B4-BE49-F238E27FC236}">
                <a16:creationId xmlns:a16="http://schemas.microsoft.com/office/drawing/2014/main" id="{AC59CF02-243D-CBD0-F4FC-03FC2234F1B2}"/>
              </a:ext>
            </a:extLst>
          </p:cNvPr>
          <p:cNvGrpSpPr/>
          <p:nvPr/>
        </p:nvGrpSpPr>
        <p:grpSpPr>
          <a:xfrm>
            <a:off x="7810502" y="84125"/>
            <a:ext cx="862013" cy="836049"/>
            <a:chOff x="8855597" y="299995"/>
            <a:chExt cx="826889" cy="856516"/>
          </a:xfrm>
          <a:solidFill>
            <a:srgbClr val="7030A0"/>
          </a:solidFill>
        </p:grpSpPr>
        <p:sp>
          <p:nvSpPr>
            <p:cNvPr id="35" name="Forme libre 34">
              <a:extLst>
                <a:ext uri="{FF2B5EF4-FFF2-40B4-BE49-F238E27FC236}">
                  <a16:creationId xmlns:a16="http://schemas.microsoft.com/office/drawing/2014/main" id="{21C304E7-450F-EFFA-70C8-02CA8E394923}"/>
                </a:ext>
              </a:extLst>
            </p:cNvPr>
            <p:cNvSpPr/>
            <p:nvPr/>
          </p:nvSpPr>
          <p:spPr>
            <a:xfrm>
              <a:off x="8855597" y="602890"/>
              <a:ext cx="826889" cy="553621"/>
            </a:xfrm>
            <a:custGeom>
              <a:avLst/>
              <a:gdLst>
                <a:gd name="connsiteX0" fmla="*/ 819588 w 826889"/>
                <a:gd name="connsiteY0" fmla="*/ 264157 h 553621"/>
                <a:gd name="connsiteX1" fmla="*/ 754266 w 826889"/>
                <a:gd name="connsiteY1" fmla="*/ 247879 h 553621"/>
                <a:gd name="connsiteX2" fmla="*/ 735530 w 826889"/>
                <a:gd name="connsiteY2" fmla="*/ 255613 h 553621"/>
                <a:gd name="connsiteX3" fmla="*/ 639613 w 826889"/>
                <a:gd name="connsiteY3" fmla="*/ 177489 h 553621"/>
                <a:gd name="connsiteX4" fmla="*/ 492795 w 826889"/>
                <a:gd name="connsiteY4" fmla="*/ 145028 h 553621"/>
                <a:gd name="connsiteX5" fmla="*/ 492795 w 826889"/>
                <a:gd name="connsiteY5" fmla="*/ 9373 h 553621"/>
                <a:gd name="connsiteX6" fmla="*/ 483432 w 826889"/>
                <a:gd name="connsiteY6" fmla="*/ 0 h 553621"/>
                <a:gd name="connsiteX7" fmla="*/ 474059 w 826889"/>
                <a:gd name="connsiteY7" fmla="*/ 9373 h 553621"/>
                <a:gd name="connsiteX8" fmla="*/ 474059 w 826889"/>
                <a:gd name="connsiteY8" fmla="*/ 145028 h 553621"/>
                <a:gd name="connsiteX9" fmla="*/ 234810 w 826889"/>
                <a:gd name="connsiteY9" fmla="*/ 250774 h 553621"/>
                <a:gd name="connsiteX10" fmla="*/ 179108 w 826889"/>
                <a:gd name="connsiteY10" fmla="*/ 250774 h 553621"/>
                <a:gd name="connsiteX11" fmla="*/ 179108 w 826889"/>
                <a:gd name="connsiteY11" fmla="*/ 234468 h 553621"/>
                <a:gd name="connsiteX12" fmla="*/ 147876 w 826889"/>
                <a:gd name="connsiteY12" fmla="*/ 203244 h 553621"/>
                <a:gd name="connsiteX13" fmla="*/ 115329 w 826889"/>
                <a:gd name="connsiteY13" fmla="*/ 203244 h 553621"/>
                <a:gd name="connsiteX14" fmla="*/ 115329 w 826889"/>
                <a:gd name="connsiteY14" fmla="*/ 188909 h 553621"/>
                <a:gd name="connsiteX15" fmla="*/ 105956 w 826889"/>
                <a:gd name="connsiteY15" fmla="*/ 179546 h 553621"/>
                <a:gd name="connsiteX16" fmla="*/ 9373 w 826889"/>
                <a:gd name="connsiteY16" fmla="*/ 179546 h 553621"/>
                <a:gd name="connsiteX17" fmla="*/ 0 w 826889"/>
                <a:gd name="connsiteY17" fmla="*/ 188909 h 553621"/>
                <a:gd name="connsiteX18" fmla="*/ 0 w 826889"/>
                <a:gd name="connsiteY18" fmla="*/ 544259 h 553621"/>
                <a:gd name="connsiteX19" fmla="*/ 9373 w 826889"/>
                <a:gd name="connsiteY19" fmla="*/ 553622 h 553621"/>
                <a:gd name="connsiteX20" fmla="*/ 105956 w 826889"/>
                <a:gd name="connsiteY20" fmla="*/ 553622 h 553621"/>
                <a:gd name="connsiteX21" fmla="*/ 115329 w 826889"/>
                <a:gd name="connsiteY21" fmla="*/ 544259 h 553621"/>
                <a:gd name="connsiteX22" fmla="*/ 115329 w 826889"/>
                <a:gd name="connsiteY22" fmla="*/ 525447 h 553621"/>
                <a:gd name="connsiteX23" fmla="*/ 147876 w 826889"/>
                <a:gd name="connsiteY23" fmla="*/ 525447 h 553621"/>
                <a:gd name="connsiteX24" fmla="*/ 179108 w 826889"/>
                <a:gd name="connsiteY24" fmla="*/ 494205 h 553621"/>
                <a:gd name="connsiteX25" fmla="*/ 179108 w 826889"/>
                <a:gd name="connsiteY25" fmla="*/ 473402 h 553621"/>
                <a:gd name="connsiteX26" fmla="*/ 435245 w 826889"/>
                <a:gd name="connsiteY26" fmla="*/ 532828 h 553621"/>
                <a:gd name="connsiteX27" fmla="*/ 452857 w 826889"/>
                <a:gd name="connsiteY27" fmla="*/ 534562 h 553621"/>
                <a:gd name="connsiteX28" fmla="*/ 510483 w 826889"/>
                <a:gd name="connsiteY28" fmla="*/ 519236 h 553621"/>
                <a:gd name="connsiteX29" fmla="*/ 805158 w 826889"/>
                <a:gd name="connsiteY29" fmla="*/ 325812 h 553621"/>
                <a:gd name="connsiteX30" fmla="*/ 826094 w 826889"/>
                <a:gd name="connsiteY30" fmla="*/ 295618 h 553621"/>
                <a:gd name="connsiteX31" fmla="*/ 819588 w 826889"/>
                <a:gd name="connsiteY31" fmla="*/ 264157 h 553621"/>
                <a:gd name="connsiteX32" fmla="*/ 483527 w 826889"/>
                <a:gd name="connsiteY32" fmla="*/ 163649 h 553621"/>
                <a:gd name="connsiteX33" fmla="*/ 717833 w 826889"/>
                <a:gd name="connsiteY33" fmla="*/ 262909 h 553621"/>
                <a:gd name="connsiteX34" fmla="*/ 598846 w 826889"/>
                <a:gd name="connsiteY34" fmla="*/ 312001 h 553621"/>
                <a:gd name="connsiteX35" fmla="*/ 552050 w 826889"/>
                <a:gd name="connsiteY35" fmla="*/ 278644 h 553621"/>
                <a:gd name="connsiteX36" fmla="*/ 414595 w 826889"/>
                <a:gd name="connsiteY36" fmla="*/ 278644 h 553621"/>
                <a:gd name="connsiteX37" fmla="*/ 375552 w 826889"/>
                <a:gd name="connsiteY37" fmla="*/ 274482 h 553621"/>
                <a:gd name="connsiteX38" fmla="*/ 340690 w 826889"/>
                <a:gd name="connsiteY38" fmla="*/ 265510 h 553621"/>
                <a:gd name="connsiteX39" fmla="*/ 339881 w 826889"/>
                <a:gd name="connsiteY39" fmla="*/ 265176 h 553621"/>
                <a:gd name="connsiteX40" fmla="*/ 339671 w 826889"/>
                <a:gd name="connsiteY40" fmla="*/ 265109 h 553621"/>
                <a:gd name="connsiteX41" fmla="*/ 258080 w 826889"/>
                <a:gd name="connsiteY41" fmla="*/ 251203 h 553621"/>
                <a:gd name="connsiteX42" fmla="*/ 483527 w 826889"/>
                <a:gd name="connsiteY42" fmla="*/ 163649 h 553621"/>
                <a:gd name="connsiteX43" fmla="*/ 96574 w 826889"/>
                <a:gd name="connsiteY43" fmla="*/ 534867 h 553621"/>
                <a:gd name="connsiteX44" fmla="*/ 18745 w 826889"/>
                <a:gd name="connsiteY44" fmla="*/ 534867 h 553621"/>
                <a:gd name="connsiteX45" fmla="*/ 18745 w 826889"/>
                <a:gd name="connsiteY45" fmla="*/ 198272 h 553621"/>
                <a:gd name="connsiteX46" fmla="*/ 96574 w 826889"/>
                <a:gd name="connsiteY46" fmla="*/ 198272 h 553621"/>
                <a:gd name="connsiteX47" fmla="*/ 96574 w 826889"/>
                <a:gd name="connsiteY47" fmla="*/ 534867 h 553621"/>
                <a:gd name="connsiteX48" fmla="*/ 147857 w 826889"/>
                <a:gd name="connsiteY48" fmla="*/ 506692 h 553621"/>
                <a:gd name="connsiteX49" fmla="*/ 115310 w 826889"/>
                <a:gd name="connsiteY49" fmla="*/ 506692 h 553621"/>
                <a:gd name="connsiteX50" fmla="*/ 115310 w 826889"/>
                <a:gd name="connsiteY50" fmla="*/ 221971 h 553621"/>
                <a:gd name="connsiteX51" fmla="*/ 147857 w 826889"/>
                <a:gd name="connsiteY51" fmla="*/ 221971 h 553621"/>
                <a:gd name="connsiteX52" fmla="*/ 160344 w 826889"/>
                <a:gd name="connsiteY52" fmla="*/ 234458 h 553621"/>
                <a:gd name="connsiteX53" fmla="*/ 160344 w 826889"/>
                <a:gd name="connsiteY53" fmla="*/ 461277 h 553621"/>
                <a:gd name="connsiteX54" fmla="*/ 160344 w 826889"/>
                <a:gd name="connsiteY54" fmla="*/ 461496 h 553621"/>
                <a:gd name="connsiteX55" fmla="*/ 160344 w 826889"/>
                <a:gd name="connsiteY55" fmla="*/ 494186 h 553621"/>
                <a:gd name="connsiteX56" fmla="*/ 147857 w 826889"/>
                <a:gd name="connsiteY56" fmla="*/ 506692 h 553621"/>
                <a:gd name="connsiteX57" fmla="*/ 807672 w 826889"/>
                <a:gd name="connsiteY57" fmla="*/ 291989 h 553621"/>
                <a:gd name="connsiteX58" fmla="*/ 794919 w 826889"/>
                <a:gd name="connsiteY58" fmla="*/ 310077 h 553621"/>
                <a:gd name="connsiteX59" fmla="*/ 500243 w 826889"/>
                <a:gd name="connsiteY59" fmla="*/ 503501 h 553621"/>
                <a:gd name="connsiteX60" fmla="*/ 439322 w 826889"/>
                <a:gd name="connsiteY60" fmla="*/ 514531 h 553621"/>
                <a:gd name="connsiteX61" fmla="*/ 179080 w 826889"/>
                <a:gd name="connsiteY61" fmla="*/ 454152 h 553621"/>
                <a:gd name="connsiteX62" fmla="*/ 179080 w 826889"/>
                <a:gd name="connsiteY62" fmla="*/ 269510 h 553621"/>
                <a:gd name="connsiteX63" fmla="*/ 239278 w 826889"/>
                <a:gd name="connsiteY63" fmla="*/ 269510 h 553621"/>
                <a:gd name="connsiteX64" fmla="*/ 333089 w 826889"/>
                <a:gd name="connsiteY64" fmla="*/ 282654 h 553621"/>
                <a:gd name="connsiteX65" fmla="*/ 333889 w 826889"/>
                <a:gd name="connsiteY65" fmla="*/ 282978 h 553621"/>
                <a:gd name="connsiteX66" fmla="*/ 334090 w 826889"/>
                <a:gd name="connsiteY66" fmla="*/ 283054 h 553621"/>
                <a:gd name="connsiteX67" fmla="*/ 372161 w 826889"/>
                <a:gd name="connsiteY67" fmla="*/ 292932 h 553621"/>
                <a:gd name="connsiteX68" fmla="*/ 414566 w 826889"/>
                <a:gd name="connsiteY68" fmla="*/ 297390 h 553621"/>
                <a:gd name="connsiteX69" fmla="*/ 552021 w 826889"/>
                <a:gd name="connsiteY69" fmla="*/ 297390 h 553621"/>
                <a:gd name="connsiteX70" fmla="*/ 582425 w 826889"/>
                <a:gd name="connsiteY70" fmla="*/ 325479 h 553621"/>
                <a:gd name="connsiteX71" fmla="*/ 582435 w 826889"/>
                <a:gd name="connsiteY71" fmla="*/ 325736 h 553621"/>
                <a:gd name="connsiteX72" fmla="*/ 582492 w 826889"/>
                <a:gd name="connsiteY72" fmla="*/ 326879 h 553621"/>
                <a:gd name="connsiteX73" fmla="*/ 581901 w 826889"/>
                <a:gd name="connsiteY73" fmla="*/ 332518 h 553621"/>
                <a:gd name="connsiteX74" fmla="*/ 552012 w 826889"/>
                <a:gd name="connsiteY74" fmla="*/ 356340 h 553621"/>
                <a:gd name="connsiteX75" fmla="*/ 414776 w 826889"/>
                <a:gd name="connsiteY75" fmla="*/ 356340 h 553621"/>
                <a:gd name="connsiteX76" fmla="*/ 343348 w 826889"/>
                <a:gd name="connsiteY76" fmla="*/ 381876 h 553621"/>
                <a:gd name="connsiteX77" fmla="*/ 342376 w 826889"/>
                <a:gd name="connsiteY77" fmla="*/ 395097 h 553621"/>
                <a:gd name="connsiteX78" fmla="*/ 349472 w 826889"/>
                <a:gd name="connsiteY78" fmla="*/ 398355 h 553621"/>
                <a:gd name="connsiteX79" fmla="*/ 355597 w 826889"/>
                <a:gd name="connsiteY79" fmla="*/ 396069 h 553621"/>
                <a:gd name="connsiteX80" fmla="*/ 414042 w 826889"/>
                <a:gd name="connsiteY80" fmla="*/ 375085 h 553621"/>
                <a:gd name="connsiteX81" fmla="*/ 414566 w 826889"/>
                <a:gd name="connsiteY81" fmla="*/ 375104 h 553621"/>
                <a:gd name="connsiteX82" fmla="*/ 552021 w 826889"/>
                <a:gd name="connsiteY82" fmla="*/ 375104 h 553621"/>
                <a:gd name="connsiteX83" fmla="*/ 600275 w 826889"/>
                <a:gd name="connsiteY83" fmla="*/ 336261 h 553621"/>
                <a:gd name="connsiteX84" fmla="*/ 600999 w 826889"/>
                <a:gd name="connsiteY84" fmla="*/ 331384 h 553621"/>
                <a:gd name="connsiteX85" fmla="*/ 761486 w 826889"/>
                <a:gd name="connsiteY85" fmla="*/ 265176 h 553621"/>
                <a:gd name="connsiteX86" fmla="*/ 761686 w 826889"/>
                <a:gd name="connsiteY86" fmla="*/ 265090 h 553621"/>
                <a:gd name="connsiteX87" fmla="*/ 804215 w 826889"/>
                <a:gd name="connsiteY87" fmla="*/ 274901 h 553621"/>
                <a:gd name="connsiteX88" fmla="*/ 807672 w 826889"/>
                <a:gd name="connsiteY88" fmla="*/ 291989 h 55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26889" h="553621">
                  <a:moveTo>
                    <a:pt x="819588" y="264157"/>
                  </a:moveTo>
                  <a:cubicBezTo>
                    <a:pt x="806329" y="245221"/>
                    <a:pt x="777050" y="237925"/>
                    <a:pt x="754266" y="247879"/>
                  </a:cubicBezTo>
                  <a:lnTo>
                    <a:pt x="735530" y="255613"/>
                  </a:lnTo>
                  <a:cubicBezTo>
                    <a:pt x="714975" y="224057"/>
                    <a:pt x="682009" y="197149"/>
                    <a:pt x="639613" y="177489"/>
                  </a:cubicBezTo>
                  <a:cubicBezTo>
                    <a:pt x="596170" y="157363"/>
                    <a:pt x="545602" y="146199"/>
                    <a:pt x="492795" y="145028"/>
                  </a:cubicBezTo>
                  <a:lnTo>
                    <a:pt x="492795" y="9373"/>
                  </a:lnTo>
                  <a:cubicBezTo>
                    <a:pt x="492795" y="4201"/>
                    <a:pt x="488614" y="0"/>
                    <a:pt x="483432" y="0"/>
                  </a:cubicBezTo>
                  <a:cubicBezTo>
                    <a:pt x="478260" y="0"/>
                    <a:pt x="474059" y="4201"/>
                    <a:pt x="474059" y="9373"/>
                  </a:cubicBezTo>
                  <a:lnTo>
                    <a:pt x="474059" y="145028"/>
                  </a:lnTo>
                  <a:cubicBezTo>
                    <a:pt x="371332" y="147399"/>
                    <a:pt x="278844" y="188243"/>
                    <a:pt x="234810" y="250774"/>
                  </a:cubicBezTo>
                  <a:lnTo>
                    <a:pt x="179108" y="250774"/>
                  </a:lnTo>
                  <a:lnTo>
                    <a:pt x="179108" y="234468"/>
                  </a:lnTo>
                  <a:cubicBezTo>
                    <a:pt x="179108" y="217246"/>
                    <a:pt x="165097" y="203244"/>
                    <a:pt x="147876" y="203244"/>
                  </a:cubicBezTo>
                  <a:lnTo>
                    <a:pt x="115329" y="203244"/>
                  </a:lnTo>
                  <a:lnTo>
                    <a:pt x="115329" y="188909"/>
                  </a:lnTo>
                  <a:cubicBezTo>
                    <a:pt x="115329" y="183737"/>
                    <a:pt x="111128" y="179546"/>
                    <a:pt x="105956" y="179546"/>
                  </a:cubicBezTo>
                  <a:lnTo>
                    <a:pt x="9373" y="179546"/>
                  </a:lnTo>
                  <a:cubicBezTo>
                    <a:pt x="4201" y="179546"/>
                    <a:pt x="0" y="183737"/>
                    <a:pt x="0" y="188909"/>
                  </a:cubicBezTo>
                  <a:lnTo>
                    <a:pt x="0" y="544259"/>
                  </a:lnTo>
                  <a:cubicBezTo>
                    <a:pt x="0" y="549431"/>
                    <a:pt x="4191" y="553622"/>
                    <a:pt x="9373" y="553622"/>
                  </a:cubicBezTo>
                  <a:lnTo>
                    <a:pt x="105956" y="553622"/>
                  </a:lnTo>
                  <a:cubicBezTo>
                    <a:pt x="111128" y="553622"/>
                    <a:pt x="115329" y="549431"/>
                    <a:pt x="115329" y="544259"/>
                  </a:cubicBezTo>
                  <a:lnTo>
                    <a:pt x="115329" y="525447"/>
                  </a:lnTo>
                  <a:lnTo>
                    <a:pt x="147876" y="525447"/>
                  </a:lnTo>
                  <a:cubicBezTo>
                    <a:pt x="165097" y="525447"/>
                    <a:pt x="179108" y="511426"/>
                    <a:pt x="179108" y="494205"/>
                  </a:cubicBezTo>
                  <a:lnTo>
                    <a:pt x="179108" y="473402"/>
                  </a:lnTo>
                  <a:lnTo>
                    <a:pt x="435245" y="532828"/>
                  </a:lnTo>
                  <a:cubicBezTo>
                    <a:pt x="440626" y="534000"/>
                    <a:pt x="446608" y="534562"/>
                    <a:pt x="452857" y="534562"/>
                  </a:cubicBezTo>
                  <a:cubicBezTo>
                    <a:pt x="472859" y="534562"/>
                    <a:pt x="495576" y="528818"/>
                    <a:pt x="510483" y="519236"/>
                  </a:cubicBezTo>
                  <a:lnTo>
                    <a:pt x="805158" y="325812"/>
                  </a:lnTo>
                  <a:cubicBezTo>
                    <a:pt x="816074" y="318773"/>
                    <a:pt x="823713" y="307772"/>
                    <a:pt x="826094" y="295618"/>
                  </a:cubicBezTo>
                  <a:cubicBezTo>
                    <a:pt x="828266" y="284436"/>
                    <a:pt x="825961" y="273272"/>
                    <a:pt x="819588" y="264157"/>
                  </a:cubicBezTo>
                  <a:close/>
                  <a:moveTo>
                    <a:pt x="483527" y="163649"/>
                  </a:moveTo>
                  <a:cubicBezTo>
                    <a:pt x="584444" y="163649"/>
                    <a:pt x="676732" y="203159"/>
                    <a:pt x="717833" y="262909"/>
                  </a:cubicBezTo>
                  <a:lnTo>
                    <a:pt x="598846" y="312001"/>
                  </a:lnTo>
                  <a:cubicBezTo>
                    <a:pt x="592455" y="292541"/>
                    <a:pt x="573891" y="278644"/>
                    <a:pt x="552050" y="278644"/>
                  </a:cubicBezTo>
                  <a:lnTo>
                    <a:pt x="414595" y="278644"/>
                  </a:lnTo>
                  <a:cubicBezTo>
                    <a:pt x="404327" y="278644"/>
                    <a:pt x="390087" y="277130"/>
                    <a:pt x="375552" y="274482"/>
                  </a:cubicBezTo>
                  <a:cubicBezTo>
                    <a:pt x="362179" y="272025"/>
                    <a:pt x="349796" y="268834"/>
                    <a:pt x="340690" y="265510"/>
                  </a:cubicBezTo>
                  <a:lnTo>
                    <a:pt x="339881" y="265176"/>
                  </a:lnTo>
                  <a:cubicBezTo>
                    <a:pt x="339814" y="265157"/>
                    <a:pt x="339738" y="265128"/>
                    <a:pt x="339671" y="265109"/>
                  </a:cubicBezTo>
                  <a:cubicBezTo>
                    <a:pt x="319230" y="257604"/>
                    <a:pt x="289655" y="252632"/>
                    <a:pt x="258080" y="251203"/>
                  </a:cubicBezTo>
                  <a:cubicBezTo>
                    <a:pt x="302838" y="197567"/>
                    <a:pt x="388906" y="163649"/>
                    <a:pt x="483527" y="163649"/>
                  </a:cubicBezTo>
                  <a:close/>
                  <a:moveTo>
                    <a:pt x="96574" y="534867"/>
                  </a:moveTo>
                  <a:lnTo>
                    <a:pt x="18745" y="534867"/>
                  </a:lnTo>
                  <a:lnTo>
                    <a:pt x="18745" y="198272"/>
                  </a:lnTo>
                  <a:lnTo>
                    <a:pt x="96574" y="198272"/>
                  </a:lnTo>
                  <a:lnTo>
                    <a:pt x="96574" y="534867"/>
                  </a:lnTo>
                  <a:close/>
                  <a:moveTo>
                    <a:pt x="147857" y="506692"/>
                  </a:moveTo>
                  <a:lnTo>
                    <a:pt x="115310" y="506692"/>
                  </a:lnTo>
                  <a:lnTo>
                    <a:pt x="115310" y="221971"/>
                  </a:lnTo>
                  <a:lnTo>
                    <a:pt x="147857" y="221971"/>
                  </a:lnTo>
                  <a:cubicBezTo>
                    <a:pt x="154743" y="221971"/>
                    <a:pt x="160344" y="227571"/>
                    <a:pt x="160344" y="234458"/>
                  </a:cubicBezTo>
                  <a:lnTo>
                    <a:pt x="160344" y="461277"/>
                  </a:lnTo>
                  <a:cubicBezTo>
                    <a:pt x="160344" y="461353"/>
                    <a:pt x="160344" y="461429"/>
                    <a:pt x="160344" y="461496"/>
                  </a:cubicBezTo>
                  <a:lnTo>
                    <a:pt x="160344" y="494186"/>
                  </a:lnTo>
                  <a:cubicBezTo>
                    <a:pt x="160344" y="501082"/>
                    <a:pt x="154743" y="506692"/>
                    <a:pt x="147857" y="506692"/>
                  </a:cubicBezTo>
                  <a:close/>
                  <a:moveTo>
                    <a:pt x="807672" y="291989"/>
                  </a:moveTo>
                  <a:cubicBezTo>
                    <a:pt x="806282" y="299171"/>
                    <a:pt x="801643" y="305743"/>
                    <a:pt x="794919" y="310077"/>
                  </a:cubicBezTo>
                  <a:lnTo>
                    <a:pt x="500243" y="503501"/>
                  </a:lnTo>
                  <a:cubicBezTo>
                    <a:pt x="484946" y="513350"/>
                    <a:pt x="457000" y="518389"/>
                    <a:pt x="439322" y="514531"/>
                  </a:cubicBezTo>
                  <a:lnTo>
                    <a:pt x="179080" y="454152"/>
                  </a:lnTo>
                  <a:lnTo>
                    <a:pt x="179080" y="269510"/>
                  </a:lnTo>
                  <a:lnTo>
                    <a:pt x="239278" y="269510"/>
                  </a:lnTo>
                  <a:cubicBezTo>
                    <a:pt x="275539" y="269510"/>
                    <a:pt x="310591" y="274425"/>
                    <a:pt x="333089" y="282654"/>
                  </a:cubicBezTo>
                  <a:lnTo>
                    <a:pt x="333889" y="282978"/>
                  </a:lnTo>
                  <a:cubicBezTo>
                    <a:pt x="333956" y="283007"/>
                    <a:pt x="334023" y="283036"/>
                    <a:pt x="334090" y="283054"/>
                  </a:cubicBezTo>
                  <a:cubicBezTo>
                    <a:pt x="344186" y="286769"/>
                    <a:pt x="357692" y="290274"/>
                    <a:pt x="372161" y="292932"/>
                  </a:cubicBezTo>
                  <a:cubicBezTo>
                    <a:pt x="387991" y="295809"/>
                    <a:pt x="403060" y="297390"/>
                    <a:pt x="414566" y="297390"/>
                  </a:cubicBezTo>
                  <a:lnTo>
                    <a:pt x="552021" y="297390"/>
                  </a:lnTo>
                  <a:cubicBezTo>
                    <a:pt x="568052" y="297390"/>
                    <a:pt x="581692" y="309991"/>
                    <a:pt x="582425" y="325479"/>
                  </a:cubicBezTo>
                  <a:cubicBezTo>
                    <a:pt x="582425" y="325574"/>
                    <a:pt x="582435" y="325660"/>
                    <a:pt x="582435" y="325736"/>
                  </a:cubicBezTo>
                  <a:cubicBezTo>
                    <a:pt x="582463" y="326117"/>
                    <a:pt x="582492" y="326488"/>
                    <a:pt x="582492" y="326879"/>
                  </a:cubicBezTo>
                  <a:cubicBezTo>
                    <a:pt x="582492" y="328746"/>
                    <a:pt x="582292" y="330622"/>
                    <a:pt x="581901" y="332518"/>
                  </a:cubicBezTo>
                  <a:cubicBezTo>
                    <a:pt x="579139" y="346319"/>
                    <a:pt x="566557" y="356340"/>
                    <a:pt x="552012" y="356340"/>
                  </a:cubicBezTo>
                  <a:lnTo>
                    <a:pt x="414776" y="356340"/>
                  </a:lnTo>
                  <a:cubicBezTo>
                    <a:pt x="410785" y="356178"/>
                    <a:pt x="373961" y="355435"/>
                    <a:pt x="343348" y="381876"/>
                  </a:cubicBezTo>
                  <a:cubicBezTo>
                    <a:pt x="339433" y="385248"/>
                    <a:pt x="338995" y="391182"/>
                    <a:pt x="342376" y="395097"/>
                  </a:cubicBezTo>
                  <a:cubicBezTo>
                    <a:pt x="344234" y="397250"/>
                    <a:pt x="346843" y="398355"/>
                    <a:pt x="349472" y="398355"/>
                  </a:cubicBezTo>
                  <a:cubicBezTo>
                    <a:pt x="351644" y="398355"/>
                    <a:pt x="353825" y="397602"/>
                    <a:pt x="355597" y="396069"/>
                  </a:cubicBezTo>
                  <a:cubicBezTo>
                    <a:pt x="381438" y="373751"/>
                    <a:pt x="413747" y="375066"/>
                    <a:pt x="414042" y="375085"/>
                  </a:cubicBezTo>
                  <a:cubicBezTo>
                    <a:pt x="414223" y="375085"/>
                    <a:pt x="414385" y="375104"/>
                    <a:pt x="414566" y="375104"/>
                  </a:cubicBezTo>
                  <a:lnTo>
                    <a:pt x="552021" y="375104"/>
                  </a:lnTo>
                  <a:cubicBezTo>
                    <a:pt x="575472" y="375104"/>
                    <a:pt x="595760" y="358750"/>
                    <a:pt x="600275" y="336261"/>
                  </a:cubicBezTo>
                  <a:cubicBezTo>
                    <a:pt x="600599" y="334651"/>
                    <a:pt x="600847" y="333013"/>
                    <a:pt x="600999" y="331384"/>
                  </a:cubicBezTo>
                  <a:lnTo>
                    <a:pt x="761486" y="265176"/>
                  </a:lnTo>
                  <a:cubicBezTo>
                    <a:pt x="761562" y="265147"/>
                    <a:pt x="761619" y="265119"/>
                    <a:pt x="761686" y="265090"/>
                  </a:cubicBezTo>
                  <a:cubicBezTo>
                    <a:pt x="776478" y="258594"/>
                    <a:pt x="795947" y="263100"/>
                    <a:pt x="804215" y="274901"/>
                  </a:cubicBezTo>
                  <a:cubicBezTo>
                    <a:pt x="807663" y="279806"/>
                    <a:pt x="808882" y="285874"/>
                    <a:pt x="807672" y="291989"/>
                  </a:cubicBezTo>
                  <a:close/>
                </a:path>
              </a:pathLst>
            </a:custGeom>
            <a:grpFill/>
            <a:ln w="9525" cap="flat">
              <a:solidFill>
                <a:srgbClr val="7030A0"/>
              </a:solidFill>
              <a:prstDash val="solid"/>
              <a:miter/>
            </a:ln>
          </p:spPr>
          <p:txBody>
            <a:bodyPr rtlCol="0" anchor="ctr"/>
            <a:lstStyle/>
            <a:p>
              <a:pPr defTabSz="685783">
                <a:defRPr/>
              </a:pPr>
              <a:endParaRPr lang="fr-FR" sz="1350" kern="0" dirty="0">
                <a:solidFill>
                  <a:prstClr val="black"/>
                </a:solidFill>
                <a:latin typeface="Arial"/>
              </a:endParaRPr>
            </a:p>
          </p:txBody>
        </p:sp>
        <p:sp>
          <p:nvSpPr>
            <p:cNvPr id="36" name="Forme libre 35">
              <a:extLst>
                <a:ext uri="{FF2B5EF4-FFF2-40B4-BE49-F238E27FC236}">
                  <a16:creationId xmlns:a16="http://schemas.microsoft.com/office/drawing/2014/main" id="{33DC47C7-2BB0-04AB-5017-39211AEE0C1F}"/>
                </a:ext>
              </a:extLst>
            </p:cNvPr>
            <p:cNvSpPr/>
            <p:nvPr/>
          </p:nvSpPr>
          <p:spPr>
            <a:xfrm>
              <a:off x="9057818" y="523027"/>
              <a:ext cx="245454" cy="179580"/>
            </a:xfrm>
            <a:custGeom>
              <a:avLst/>
              <a:gdLst>
                <a:gd name="connsiteX0" fmla="*/ 24 w 245454"/>
                <a:gd name="connsiteY0" fmla="*/ 23018 h 179580"/>
                <a:gd name="connsiteX1" fmla="*/ 34 w 245454"/>
                <a:gd name="connsiteY1" fmla="*/ 23685 h 179580"/>
                <a:gd name="connsiteX2" fmla="*/ 78663 w 245454"/>
                <a:gd name="connsiteY2" fmla="*/ 157082 h 179580"/>
                <a:gd name="connsiteX3" fmla="*/ 160235 w 245454"/>
                <a:gd name="connsiteY3" fmla="*/ 179581 h 179580"/>
                <a:gd name="connsiteX4" fmla="*/ 238997 w 245454"/>
                <a:gd name="connsiteY4" fmla="*/ 165712 h 179580"/>
                <a:gd name="connsiteX5" fmla="*/ 239187 w 245454"/>
                <a:gd name="connsiteY5" fmla="*/ 165636 h 179580"/>
                <a:gd name="connsiteX6" fmla="*/ 239616 w 245454"/>
                <a:gd name="connsiteY6" fmla="*/ 165483 h 179580"/>
                <a:gd name="connsiteX7" fmla="*/ 239778 w 245454"/>
                <a:gd name="connsiteY7" fmla="*/ 165407 h 179580"/>
                <a:gd name="connsiteX8" fmla="*/ 240711 w 245454"/>
                <a:gd name="connsiteY8" fmla="*/ 164960 h 179580"/>
                <a:gd name="connsiteX9" fmla="*/ 240873 w 245454"/>
                <a:gd name="connsiteY9" fmla="*/ 164864 h 179580"/>
                <a:gd name="connsiteX10" fmla="*/ 241073 w 245454"/>
                <a:gd name="connsiteY10" fmla="*/ 164721 h 179580"/>
                <a:gd name="connsiteX11" fmla="*/ 241426 w 245454"/>
                <a:gd name="connsiteY11" fmla="*/ 164502 h 179580"/>
                <a:gd name="connsiteX12" fmla="*/ 242055 w 245454"/>
                <a:gd name="connsiteY12" fmla="*/ 164017 h 179580"/>
                <a:gd name="connsiteX13" fmla="*/ 242378 w 245454"/>
                <a:gd name="connsiteY13" fmla="*/ 163750 h 179580"/>
                <a:gd name="connsiteX14" fmla="*/ 242654 w 245454"/>
                <a:gd name="connsiteY14" fmla="*/ 163502 h 179580"/>
                <a:gd name="connsiteX15" fmla="*/ 242788 w 245454"/>
                <a:gd name="connsiteY15" fmla="*/ 163359 h 179580"/>
                <a:gd name="connsiteX16" fmla="*/ 243464 w 245454"/>
                <a:gd name="connsiteY16" fmla="*/ 162588 h 179580"/>
                <a:gd name="connsiteX17" fmla="*/ 243588 w 245454"/>
                <a:gd name="connsiteY17" fmla="*/ 162416 h 179580"/>
                <a:gd name="connsiteX18" fmla="*/ 243683 w 245454"/>
                <a:gd name="connsiteY18" fmla="*/ 162274 h 179580"/>
                <a:gd name="connsiteX19" fmla="*/ 243950 w 245454"/>
                <a:gd name="connsiteY19" fmla="*/ 161883 h 179580"/>
                <a:gd name="connsiteX20" fmla="*/ 244159 w 245454"/>
                <a:gd name="connsiteY20" fmla="*/ 161578 h 179580"/>
                <a:gd name="connsiteX21" fmla="*/ 244283 w 245454"/>
                <a:gd name="connsiteY21" fmla="*/ 161321 h 179580"/>
                <a:gd name="connsiteX22" fmla="*/ 244560 w 245454"/>
                <a:gd name="connsiteY22" fmla="*/ 160778 h 179580"/>
                <a:gd name="connsiteX23" fmla="*/ 244807 w 245454"/>
                <a:gd name="connsiteY23" fmla="*/ 160159 h 179580"/>
                <a:gd name="connsiteX24" fmla="*/ 245007 w 245454"/>
                <a:gd name="connsiteY24" fmla="*/ 159616 h 179580"/>
                <a:gd name="connsiteX25" fmla="*/ 245169 w 245454"/>
                <a:gd name="connsiteY25" fmla="*/ 159092 h 179580"/>
                <a:gd name="connsiteX26" fmla="*/ 245302 w 245454"/>
                <a:gd name="connsiteY26" fmla="*/ 158406 h 179580"/>
                <a:gd name="connsiteX27" fmla="*/ 245407 w 245454"/>
                <a:gd name="connsiteY27" fmla="*/ 157844 h 179580"/>
                <a:gd name="connsiteX28" fmla="*/ 245436 w 245454"/>
                <a:gd name="connsiteY28" fmla="*/ 157282 h 179580"/>
                <a:gd name="connsiteX29" fmla="*/ 245455 w 245454"/>
                <a:gd name="connsiteY29" fmla="*/ 156606 h 179580"/>
                <a:gd name="connsiteX30" fmla="*/ 245426 w 245454"/>
                <a:gd name="connsiteY30" fmla="*/ 156025 h 179580"/>
                <a:gd name="connsiteX31" fmla="*/ 245341 w 245454"/>
                <a:gd name="connsiteY31" fmla="*/ 155416 h 179580"/>
                <a:gd name="connsiteX32" fmla="*/ 245312 w 245454"/>
                <a:gd name="connsiteY32" fmla="*/ 155082 h 179580"/>
                <a:gd name="connsiteX33" fmla="*/ 160644 w 245454"/>
                <a:gd name="connsiteY33" fmla="*/ 18656 h 179580"/>
                <a:gd name="connsiteX34" fmla="*/ 5863 w 245454"/>
                <a:gd name="connsiteY34" fmla="*/ 13874 h 179580"/>
                <a:gd name="connsiteX35" fmla="*/ 5244 w 245454"/>
                <a:gd name="connsiteY35" fmla="*/ 14198 h 179580"/>
                <a:gd name="connsiteX36" fmla="*/ 4472 w 245454"/>
                <a:gd name="connsiteY36" fmla="*/ 14598 h 179580"/>
                <a:gd name="connsiteX37" fmla="*/ 3634 w 245454"/>
                <a:gd name="connsiteY37" fmla="*/ 15198 h 179580"/>
                <a:gd name="connsiteX38" fmla="*/ 3034 w 245454"/>
                <a:gd name="connsiteY38" fmla="*/ 15693 h 179580"/>
                <a:gd name="connsiteX39" fmla="*/ 2320 w 245454"/>
                <a:gd name="connsiteY39" fmla="*/ 16436 h 179580"/>
                <a:gd name="connsiteX40" fmla="*/ 1824 w 245454"/>
                <a:gd name="connsiteY40" fmla="*/ 17036 h 179580"/>
                <a:gd name="connsiteX41" fmla="*/ 1300 w 245454"/>
                <a:gd name="connsiteY41" fmla="*/ 17856 h 179580"/>
                <a:gd name="connsiteX42" fmla="*/ 891 w 245454"/>
                <a:gd name="connsiteY42" fmla="*/ 18599 h 179580"/>
                <a:gd name="connsiteX43" fmla="*/ 557 w 245454"/>
                <a:gd name="connsiteY43" fmla="*/ 19437 h 179580"/>
                <a:gd name="connsiteX44" fmla="*/ 281 w 245454"/>
                <a:gd name="connsiteY44" fmla="*/ 20303 h 179580"/>
                <a:gd name="connsiteX45" fmla="*/ 119 w 245454"/>
                <a:gd name="connsiteY45" fmla="*/ 21170 h 179580"/>
                <a:gd name="connsiteX46" fmla="*/ 15 w 245454"/>
                <a:gd name="connsiteY46" fmla="*/ 22104 h 179580"/>
                <a:gd name="connsiteX47" fmla="*/ 24 w 245454"/>
                <a:gd name="connsiteY47" fmla="*/ 23018 h 179580"/>
                <a:gd name="connsiteX48" fmla="*/ 151729 w 245454"/>
                <a:gd name="connsiteY48" fmla="*/ 35143 h 179580"/>
                <a:gd name="connsiteX49" fmla="*/ 222204 w 245454"/>
                <a:gd name="connsiteY49" fmla="*/ 137690 h 179580"/>
                <a:gd name="connsiteX50" fmla="*/ 113200 w 245454"/>
                <a:gd name="connsiteY50" fmla="*/ 73148 h 179580"/>
                <a:gd name="connsiteX51" fmla="*/ 100361 w 245454"/>
                <a:gd name="connsiteY51" fmla="*/ 76444 h 179580"/>
                <a:gd name="connsiteX52" fmla="*/ 103656 w 245454"/>
                <a:gd name="connsiteY52" fmla="*/ 89283 h 179580"/>
                <a:gd name="connsiteX53" fmla="*/ 212670 w 245454"/>
                <a:gd name="connsiteY53" fmla="*/ 153825 h 179580"/>
                <a:gd name="connsiteX54" fmla="*/ 88854 w 245454"/>
                <a:gd name="connsiteY54" fmla="*/ 141347 h 179580"/>
                <a:gd name="connsiteX55" fmla="*/ 19922 w 245454"/>
                <a:gd name="connsiteY55" fmla="*/ 28819 h 179580"/>
                <a:gd name="connsiteX56" fmla="*/ 151729 w 245454"/>
                <a:gd name="connsiteY56" fmla="*/ 35143 h 17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45454" h="179580">
                  <a:moveTo>
                    <a:pt x="24" y="23018"/>
                  </a:moveTo>
                  <a:cubicBezTo>
                    <a:pt x="34" y="23237"/>
                    <a:pt x="15" y="23456"/>
                    <a:pt x="34" y="23685"/>
                  </a:cubicBezTo>
                  <a:cubicBezTo>
                    <a:pt x="481" y="27371"/>
                    <a:pt x="11730" y="114429"/>
                    <a:pt x="78663" y="157082"/>
                  </a:cubicBezTo>
                  <a:cubicBezTo>
                    <a:pt x="102199" y="172075"/>
                    <a:pt x="129469" y="179581"/>
                    <a:pt x="160235" y="179581"/>
                  </a:cubicBezTo>
                  <a:cubicBezTo>
                    <a:pt x="184381" y="179581"/>
                    <a:pt x="210679" y="174961"/>
                    <a:pt x="238997" y="165712"/>
                  </a:cubicBezTo>
                  <a:cubicBezTo>
                    <a:pt x="239073" y="165683"/>
                    <a:pt x="239121" y="165645"/>
                    <a:pt x="239187" y="165636"/>
                  </a:cubicBezTo>
                  <a:cubicBezTo>
                    <a:pt x="239330" y="165579"/>
                    <a:pt x="239473" y="165541"/>
                    <a:pt x="239616" y="165483"/>
                  </a:cubicBezTo>
                  <a:cubicBezTo>
                    <a:pt x="239673" y="165464"/>
                    <a:pt x="239721" y="165436"/>
                    <a:pt x="239778" y="165407"/>
                  </a:cubicBezTo>
                  <a:cubicBezTo>
                    <a:pt x="240092" y="165274"/>
                    <a:pt x="240407" y="165131"/>
                    <a:pt x="240711" y="164960"/>
                  </a:cubicBezTo>
                  <a:cubicBezTo>
                    <a:pt x="240769" y="164931"/>
                    <a:pt x="240816" y="164893"/>
                    <a:pt x="240873" y="164864"/>
                  </a:cubicBezTo>
                  <a:cubicBezTo>
                    <a:pt x="240949" y="164826"/>
                    <a:pt x="241016" y="164779"/>
                    <a:pt x="241073" y="164721"/>
                  </a:cubicBezTo>
                  <a:cubicBezTo>
                    <a:pt x="241197" y="164655"/>
                    <a:pt x="241312" y="164579"/>
                    <a:pt x="241426" y="164502"/>
                  </a:cubicBezTo>
                  <a:cubicBezTo>
                    <a:pt x="241635" y="164350"/>
                    <a:pt x="241854" y="164188"/>
                    <a:pt x="242055" y="164017"/>
                  </a:cubicBezTo>
                  <a:cubicBezTo>
                    <a:pt x="242159" y="163931"/>
                    <a:pt x="242264" y="163845"/>
                    <a:pt x="242378" y="163750"/>
                  </a:cubicBezTo>
                  <a:cubicBezTo>
                    <a:pt x="242464" y="163664"/>
                    <a:pt x="242569" y="163588"/>
                    <a:pt x="242654" y="163502"/>
                  </a:cubicBezTo>
                  <a:cubicBezTo>
                    <a:pt x="242702" y="163464"/>
                    <a:pt x="242740" y="163407"/>
                    <a:pt x="242788" y="163359"/>
                  </a:cubicBezTo>
                  <a:cubicBezTo>
                    <a:pt x="243016" y="163112"/>
                    <a:pt x="243264" y="162864"/>
                    <a:pt x="243464" y="162588"/>
                  </a:cubicBezTo>
                  <a:cubicBezTo>
                    <a:pt x="243512" y="162531"/>
                    <a:pt x="243531" y="162474"/>
                    <a:pt x="243588" y="162416"/>
                  </a:cubicBezTo>
                  <a:cubicBezTo>
                    <a:pt x="243617" y="162369"/>
                    <a:pt x="243645" y="162321"/>
                    <a:pt x="243683" y="162274"/>
                  </a:cubicBezTo>
                  <a:cubicBezTo>
                    <a:pt x="243779" y="162150"/>
                    <a:pt x="243864" y="162026"/>
                    <a:pt x="243950" y="161883"/>
                  </a:cubicBezTo>
                  <a:cubicBezTo>
                    <a:pt x="244017" y="161778"/>
                    <a:pt x="244093" y="161683"/>
                    <a:pt x="244159" y="161578"/>
                  </a:cubicBezTo>
                  <a:cubicBezTo>
                    <a:pt x="244207" y="161493"/>
                    <a:pt x="244235" y="161397"/>
                    <a:pt x="244283" y="161321"/>
                  </a:cubicBezTo>
                  <a:cubicBezTo>
                    <a:pt x="244378" y="161140"/>
                    <a:pt x="244464" y="160959"/>
                    <a:pt x="244560" y="160778"/>
                  </a:cubicBezTo>
                  <a:cubicBezTo>
                    <a:pt x="244655" y="160578"/>
                    <a:pt x="244740" y="160368"/>
                    <a:pt x="244807" y="160159"/>
                  </a:cubicBezTo>
                  <a:cubicBezTo>
                    <a:pt x="244883" y="159978"/>
                    <a:pt x="244960" y="159797"/>
                    <a:pt x="245007" y="159616"/>
                  </a:cubicBezTo>
                  <a:cubicBezTo>
                    <a:pt x="245064" y="159445"/>
                    <a:pt x="245121" y="159264"/>
                    <a:pt x="245169" y="159092"/>
                  </a:cubicBezTo>
                  <a:cubicBezTo>
                    <a:pt x="245217" y="158864"/>
                    <a:pt x="245264" y="158644"/>
                    <a:pt x="245302" y="158406"/>
                  </a:cubicBezTo>
                  <a:cubicBezTo>
                    <a:pt x="245341" y="158216"/>
                    <a:pt x="245379" y="158035"/>
                    <a:pt x="245407" y="157844"/>
                  </a:cubicBezTo>
                  <a:cubicBezTo>
                    <a:pt x="245417" y="157654"/>
                    <a:pt x="245426" y="157473"/>
                    <a:pt x="245436" y="157282"/>
                  </a:cubicBezTo>
                  <a:cubicBezTo>
                    <a:pt x="245455" y="157054"/>
                    <a:pt x="245455" y="156825"/>
                    <a:pt x="245455" y="156606"/>
                  </a:cubicBezTo>
                  <a:cubicBezTo>
                    <a:pt x="245436" y="156406"/>
                    <a:pt x="245436" y="156216"/>
                    <a:pt x="245426" y="156025"/>
                  </a:cubicBezTo>
                  <a:cubicBezTo>
                    <a:pt x="245407" y="155825"/>
                    <a:pt x="245379" y="155616"/>
                    <a:pt x="245341" y="155416"/>
                  </a:cubicBezTo>
                  <a:cubicBezTo>
                    <a:pt x="245331" y="155301"/>
                    <a:pt x="245331" y="155196"/>
                    <a:pt x="245312" y="155082"/>
                  </a:cubicBezTo>
                  <a:cubicBezTo>
                    <a:pt x="232786" y="88502"/>
                    <a:pt x="204297" y="42601"/>
                    <a:pt x="160644" y="18656"/>
                  </a:cubicBezTo>
                  <a:cubicBezTo>
                    <a:pt x="91055" y="-19521"/>
                    <a:pt x="9301" y="12493"/>
                    <a:pt x="5863" y="13874"/>
                  </a:cubicBezTo>
                  <a:cubicBezTo>
                    <a:pt x="5644" y="13969"/>
                    <a:pt x="5453" y="14093"/>
                    <a:pt x="5244" y="14198"/>
                  </a:cubicBezTo>
                  <a:cubicBezTo>
                    <a:pt x="4987" y="14331"/>
                    <a:pt x="4720" y="14446"/>
                    <a:pt x="4472" y="14598"/>
                  </a:cubicBezTo>
                  <a:cubicBezTo>
                    <a:pt x="4177" y="14779"/>
                    <a:pt x="3910" y="14979"/>
                    <a:pt x="3634" y="15198"/>
                  </a:cubicBezTo>
                  <a:cubicBezTo>
                    <a:pt x="3434" y="15360"/>
                    <a:pt x="3224" y="15512"/>
                    <a:pt x="3034" y="15693"/>
                  </a:cubicBezTo>
                  <a:cubicBezTo>
                    <a:pt x="2777" y="15932"/>
                    <a:pt x="2539" y="16179"/>
                    <a:pt x="2320" y="16436"/>
                  </a:cubicBezTo>
                  <a:cubicBezTo>
                    <a:pt x="2139" y="16636"/>
                    <a:pt x="1977" y="16827"/>
                    <a:pt x="1824" y="17036"/>
                  </a:cubicBezTo>
                  <a:cubicBezTo>
                    <a:pt x="1624" y="17294"/>
                    <a:pt x="1462" y="17570"/>
                    <a:pt x="1300" y="17856"/>
                  </a:cubicBezTo>
                  <a:cubicBezTo>
                    <a:pt x="1148" y="18094"/>
                    <a:pt x="1005" y="18341"/>
                    <a:pt x="891" y="18599"/>
                  </a:cubicBezTo>
                  <a:cubicBezTo>
                    <a:pt x="767" y="18875"/>
                    <a:pt x="662" y="19160"/>
                    <a:pt x="557" y="19437"/>
                  </a:cubicBezTo>
                  <a:cubicBezTo>
                    <a:pt x="453" y="19713"/>
                    <a:pt x="357" y="20008"/>
                    <a:pt x="281" y="20303"/>
                  </a:cubicBezTo>
                  <a:cubicBezTo>
                    <a:pt x="205" y="20589"/>
                    <a:pt x="167" y="20884"/>
                    <a:pt x="119" y="21170"/>
                  </a:cubicBezTo>
                  <a:cubicBezTo>
                    <a:pt x="72" y="21475"/>
                    <a:pt x="24" y="21789"/>
                    <a:pt x="15" y="22104"/>
                  </a:cubicBezTo>
                  <a:cubicBezTo>
                    <a:pt x="-14" y="22399"/>
                    <a:pt x="5" y="22694"/>
                    <a:pt x="24" y="23018"/>
                  </a:cubicBezTo>
                  <a:close/>
                  <a:moveTo>
                    <a:pt x="151729" y="35143"/>
                  </a:moveTo>
                  <a:cubicBezTo>
                    <a:pt x="185600" y="53765"/>
                    <a:pt x="209250" y="88217"/>
                    <a:pt x="222204" y="137690"/>
                  </a:cubicBezTo>
                  <a:lnTo>
                    <a:pt x="113200" y="73148"/>
                  </a:lnTo>
                  <a:cubicBezTo>
                    <a:pt x="108742" y="70519"/>
                    <a:pt x="102999" y="71986"/>
                    <a:pt x="100361" y="76444"/>
                  </a:cubicBezTo>
                  <a:cubicBezTo>
                    <a:pt x="97722" y="80902"/>
                    <a:pt x="99198" y="86645"/>
                    <a:pt x="103656" y="89283"/>
                  </a:cubicBezTo>
                  <a:lnTo>
                    <a:pt x="212670" y="153825"/>
                  </a:lnTo>
                  <a:cubicBezTo>
                    <a:pt x="163054" y="166255"/>
                    <a:pt x="121468" y="162093"/>
                    <a:pt x="88854" y="141347"/>
                  </a:cubicBezTo>
                  <a:cubicBezTo>
                    <a:pt x="39972" y="110277"/>
                    <a:pt x="24084" y="49812"/>
                    <a:pt x="19922" y="28819"/>
                  </a:cubicBezTo>
                  <a:cubicBezTo>
                    <a:pt x="40334" y="22370"/>
                    <a:pt x="100989" y="7226"/>
                    <a:pt x="151729" y="35143"/>
                  </a:cubicBezTo>
                  <a:close/>
                </a:path>
              </a:pathLst>
            </a:custGeom>
            <a:grpFill/>
            <a:ln w="9525" cap="flat">
              <a:solidFill>
                <a:srgbClr val="7030A0"/>
              </a:solidFill>
              <a:prstDash val="solid"/>
              <a:miter/>
            </a:ln>
          </p:spPr>
          <p:txBody>
            <a:bodyPr rtlCol="0" anchor="ctr"/>
            <a:lstStyle/>
            <a:p>
              <a:pPr defTabSz="685783">
                <a:defRPr/>
              </a:pPr>
              <a:endParaRPr lang="fr-FR" sz="1350" kern="0">
                <a:solidFill>
                  <a:prstClr val="black"/>
                </a:solidFill>
                <a:latin typeface="Arial"/>
              </a:endParaRPr>
            </a:p>
          </p:txBody>
        </p:sp>
        <p:sp>
          <p:nvSpPr>
            <p:cNvPr id="37" name="Forme libre 36">
              <a:extLst>
                <a:ext uri="{FF2B5EF4-FFF2-40B4-BE49-F238E27FC236}">
                  <a16:creationId xmlns:a16="http://schemas.microsoft.com/office/drawing/2014/main" id="{3715D474-E414-4852-DC9E-923BEF533CF2}"/>
                </a:ext>
              </a:extLst>
            </p:cNvPr>
            <p:cNvSpPr/>
            <p:nvPr/>
          </p:nvSpPr>
          <p:spPr>
            <a:xfrm>
              <a:off x="9368883" y="522984"/>
              <a:ext cx="245453" cy="179595"/>
            </a:xfrm>
            <a:custGeom>
              <a:avLst/>
              <a:gdLst>
                <a:gd name="connsiteX0" fmla="*/ 112 w 245453"/>
                <a:gd name="connsiteY0" fmla="*/ 155450 h 179595"/>
                <a:gd name="connsiteX1" fmla="*/ 26 w 245453"/>
                <a:gd name="connsiteY1" fmla="*/ 156107 h 179595"/>
                <a:gd name="connsiteX2" fmla="*/ 7 w 245453"/>
                <a:gd name="connsiteY2" fmla="*/ 156573 h 179595"/>
                <a:gd name="connsiteX3" fmla="*/ 7 w 245453"/>
                <a:gd name="connsiteY3" fmla="*/ 157316 h 179595"/>
                <a:gd name="connsiteX4" fmla="*/ 64 w 245453"/>
                <a:gd name="connsiteY4" fmla="*/ 157926 h 179595"/>
                <a:gd name="connsiteX5" fmla="*/ 131 w 245453"/>
                <a:gd name="connsiteY5" fmla="*/ 158383 h 179595"/>
                <a:gd name="connsiteX6" fmla="*/ 283 w 245453"/>
                <a:gd name="connsiteY6" fmla="*/ 159117 h 179595"/>
                <a:gd name="connsiteX7" fmla="*/ 455 w 245453"/>
                <a:gd name="connsiteY7" fmla="*/ 159698 h 179595"/>
                <a:gd name="connsiteX8" fmla="*/ 617 w 245453"/>
                <a:gd name="connsiteY8" fmla="*/ 160136 h 179595"/>
                <a:gd name="connsiteX9" fmla="*/ 893 w 245453"/>
                <a:gd name="connsiteY9" fmla="*/ 160803 h 179595"/>
                <a:gd name="connsiteX10" fmla="*/ 1207 w 245453"/>
                <a:gd name="connsiteY10" fmla="*/ 161393 h 179595"/>
                <a:gd name="connsiteX11" fmla="*/ 1303 w 245453"/>
                <a:gd name="connsiteY11" fmla="*/ 161612 h 179595"/>
                <a:gd name="connsiteX12" fmla="*/ 1493 w 245453"/>
                <a:gd name="connsiteY12" fmla="*/ 161860 h 179595"/>
                <a:gd name="connsiteX13" fmla="*/ 1798 w 245453"/>
                <a:gd name="connsiteY13" fmla="*/ 162336 h 179595"/>
                <a:gd name="connsiteX14" fmla="*/ 2017 w 245453"/>
                <a:gd name="connsiteY14" fmla="*/ 162650 h 179595"/>
                <a:gd name="connsiteX15" fmla="*/ 2598 w 245453"/>
                <a:gd name="connsiteY15" fmla="*/ 163289 h 179595"/>
                <a:gd name="connsiteX16" fmla="*/ 2827 w 245453"/>
                <a:gd name="connsiteY16" fmla="*/ 163546 h 179595"/>
                <a:gd name="connsiteX17" fmla="*/ 3055 w 245453"/>
                <a:gd name="connsiteY17" fmla="*/ 163736 h 179595"/>
                <a:gd name="connsiteX18" fmla="*/ 3436 w 245453"/>
                <a:gd name="connsiteY18" fmla="*/ 164070 h 179595"/>
                <a:gd name="connsiteX19" fmla="*/ 4008 w 245453"/>
                <a:gd name="connsiteY19" fmla="*/ 164498 h 179595"/>
                <a:gd name="connsiteX20" fmla="*/ 4417 w 245453"/>
                <a:gd name="connsiteY20" fmla="*/ 164755 h 179595"/>
                <a:gd name="connsiteX21" fmla="*/ 4522 w 245453"/>
                <a:gd name="connsiteY21" fmla="*/ 164822 h 179595"/>
                <a:gd name="connsiteX22" fmla="*/ 4769 w 245453"/>
                <a:gd name="connsiteY22" fmla="*/ 164984 h 179595"/>
                <a:gd name="connsiteX23" fmla="*/ 5617 w 245453"/>
                <a:gd name="connsiteY23" fmla="*/ 165394 h 179595"/>
                <a:gd name="connsiteX24" fmla="*/ 5855 w 245453"/>
                <a:gd name="connsiteY24" fmla="*/ 165498 h 179595"/>
                <a:gd name="connsiteX25" fmla="*/ 6246 w 245453"/>
                <a:gd name="connsiteY25" fmla="*/ 165632 h 179595"/>
                <a:gd name="connsiteX26" fmla="*/ 6446 w 245453"/>
                <a:gd name="connsiteY26" fmla="*/ 165727 h 179595"/>
                <a:gd name="connsiteX27" fmla="*/ 85218 w 245453"/>
                <a:gd name="connsiteY27" fmla="*/ 179595 h 179595"/>
                <a:gd name="connsiteX28" fmla="*/ 166780 w 245453"/>
                <a:gd name="connsiteY28" fmla="*/ 157097 h 179595"/>
                <a:gd name="connsiteX29" fmla="*/ 245409 w 245453"/>
                <a:gd name="connsiteY29" fmla="*/ 23700 h 179595"/>
                <a:gd name="connsiteX30" fmla="*/ 245428 w 245453"/>
                <a:gd name="connsiteY30" fmla="*/ 23100 h 179595"/>
                <a:gd name="connsiteX31" fmla="*/ 245447 w 245453"/>
                <a:gd name="connsiteY31" fmla="*/ 22090 h 179595"/>
                <a:gd name="connsiteX32" fmla="*/ 245343 w 245453"/>
                <a:gd name="connsiteY32" fmla="*/ 21233 h 179595"/>
                <a:gd name="connsiteX33" fmla="*/ 245161 w 245453"/>
                <a:gd name="connsiteY33" fmla="*/ 20299 h 179595"/>
                <a:gd name="connsiteX34" fmla="*/ 244905 w 245453"/>
                <a:gd name="connsiteY34" fmla="*/ 19471 h 179595"/>
                <a:gd name="connsiteX35" fmla="*/ 244562 w 245453"/>
                <a:gd name="connsiteY35" fmla="*/ 18604 h 179595"/>
                <a:gd name="connsiteX36" fmla="*/ 244171 w 245453"/>
                <a:gd name="connsiteY36" fmla="*/ 17870 h 179595"/>
                <a:gd name="connsiteX37" fmla="*/ 243628 w 245453"/>
                <a:gd name="connsiteY37" fmla="*/ 17042 h 179595"/>
                <a:gd name="connsiteX38" fmla="*/ 243133 w 245453"/>
                <a:gd name="connsiteY38" fmla="*/ 16442 h 179595"/>
                <a:gd name="connsiteX39" fmla="*/ 242418 w 245453"/>
                <a:gd name="connsiteY39" fmla="*/ 15689 h 179595"/>
                <a:gd name="connsiteX40" fmla="*/ 241809 w 245453"/>
                <a:gd name="connsiteY40" fmla="*/ 15184 h 179595"/>
                <a:gd name="connsiteX41" fmla="*/ 240990 w 245453"/>
                <a:gd name="connsiteY41" fmla="*/ 14594 h 179595"/>
                <a:gd name="connsiteX42" fmla="*/ 240218 w 245453"/>
                <a:gd name="connsiteY42" fmla="*/ 14194 h 179595"/>
                <a:gd name="connsiteX43" fmla="*/ 239589 w 245453"/>
                <a:gd name="connsiteY43" fmla="*/ 13870 h 179595"/>
                <a:gd name="connsiteX44" fmla="*/ 84827 w 245453"/>
                <a:gd name="connsiteY44" fmla="*/ 18651 h 179595"/>
                <a:gd name="connsiteX45" fmla="*/ 131 w 245453"/>
                <a:gd name="connsiteY45" fmla="*/ 155078 h 179595"/>
                <a:gd name="connsiteX46" fmla="*/ 112 w 245453"/>
                <a:gd name="connsiteY46" fmla="*/ 155450 h 179595"/>
                <a:gd name="connsiteX47" fmla="*/ 93714 w 245453"/>
                <a:gd name="connsiteY47" fmla="*/ 35177 h 179595"/>
                <a:gd name="connsiteX48" fmla="*/ 225540 w 245453"/>
                <a:gd name="connsiteY48" fmla="*/ 28872 h 179595"/>
                <a:gd name="connsiteX49" fmla="*/ 156703 w 245453"/>
                <a:gd name="connsiteY49" fmla="*/ 141324 h 179595"/>
                <a:gd name="connsiteX50" fmla="*/ 32783 w 245453"/>
                <a:gd name="connsiteY50" fmla="*/ 153859 h 179595"/>
                <a:gd name="connsiteX51" fmla="*/ 141787 w 245453"/>
                <a:gd name="connsiteY51" fmla="*/ 89318 h 179595"/>
                <a:gd name="connsiteX52" fmla="*/ 145082 w 245453"/>
                <a:gd name="connsiteY52" fmla="*/ 76478 h 179595"/>
                <a:gd name="connsiteX53" fmla="*/ 132243 w 245453"/>
                <a:gd name="connsiteY53" fmla="*/ 73182 h 179595"/>
                <a:gd name="connsiteX54" fmla="*/ 23229 w 245453"/>
                <a:gd name="connsiteY54" fmla="*/ 137733 h 179595"/>
                <a:gd name="connsiteX55" fmla="*/ 93714 w 245453"/>
                <a:gd name="connsiteY55" fmla="*/ 35177 h 17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5453" h="179595">
                  <a:moveTo>
                    <a:pt x="112" y="155450"/>
                  </a:moveTo>
                  <a:cubicBezTo>
                    <a:pt x="74" y="155669"/>
                    <a:pt x="45" y="155888"/>
                    <a:pt x="26" y="156107"/>
                  </a:cubicBezTo>
                  <a:cubicBezTo>
                    <a:pt x="7" y="156269"/>
                    <a:pt x="7" y="156421"/>
                    <a:pt x="7" y="156573"/>
                  </a:cubicBezTo>
                  <a:cubicBezTo>
                    <a:pt x="-2" y="156821"/>
                    <a:pt x="-2" y="157059"/>
                    <a:pt x="7" y="157316"/>
                  </a:cubicBezTo>
                  <a:cubicBezTo>
                    <a:pt x="26" y="157516"/>
                    <a:pt x="36" y="157717"/>
                    <a:pt x="64" y="157926"/>
                  </a:cubicBezTo>
                  <a:cubicBezTo>
                    <a:pt x="83" y="158088"/>
                    <a:pt x="112" y="158231"/>
                    <a:pt x="131" y="158383"/>
                  </a:cubicBezTo>
                  <a:cubicBezTo>
                    <a:pt x="188" y="158631"/>
                    <a:pt x="226" y="158879"/>
                    <a:pt x="283" y="159117"/>
                  </a:cubicBezTo>
                  <a:cubicBezTo>
                    <a:pt x="331" y="159317"/>
                    <a:pt x="398" y="159507"/>
                    <a:pt x="455" y="159698"/>
                  </a:cubicBezTo>
                  <a:cubicBezTo>
                    <a:pt x="502" y="159841"/>
                    <a:pt x="569" y="159983"/>
                    <a:pt x="617" y="160136"/>
                  </a:cubicBezTo>
                  <a:cubicBezTo>
                    <a:pt x="721" y="160355"/>
                    <a:pt x="807" y="160584"/>
                    <a:pt x="893" y="160803"/>
                  </a:cubicBezTo>
                  <a:cubicBezTo>
                    <a:pt x="988" y="161003"/>
                    <a:pt x="1093" y="161193"/>
                    <a:pt x="1207" y="161393"/>
                  </a:cubicBezTo>
                  <a:cubicBezTo>
                    <a:pt x="1245" y="161469"/>
                    <a:pt x="1264" y="161536"/>
                    <a:pt x="1303" y="161612"/>
                  </a:cubicBezTo>
                  <a:cubicBezTo>
                    <a:pt x="1350" y="161698"/>
                    <a:pt x="1426" y="161784"/>
                    <a:pt x="1493" y="161860"/>
                  </a:cubicBezTo>
                  <a:cubicBezTo>
                    <a:pt x="1588" y="162022"/>
                    <a:pt x="1693" y="162184"/>
                    <a:pt x="1798" y="162336"/>
                  </a:cubicBezTo>
                  <a:cubicBezTo>
                    <a:pt x="1893" y="162441"/>
                    <a:pt x="1950" y="162546"/>
                    <a:pt x="2017" y="162650"/>
                  </a:cubicBezTo>
                  <a:cubicBezTo>
                    <a:pt x="2198" y="162879"/>
                    <a:pt x="2388" y="163089"/>
                    <a:pt x="2598" y="163289"/>
                  </a:cubicBezTo>
                  <a:cubicBezTo>
                    <a:pt x="2684" y="163374"/>
                    <a:pt x="2750" y="163470"/>
                    <a:pt x="2827" y="163546"/>
                  </a:cubicBezTo>
                  <a:cubicBezTo>
                    <a:pt x="2903" y="163613"/>
                    <a:pt x="2988" y="163670"/>
                    <a:pt x="3055" y="163736"/>
                  </a:cubicBezTo>
                  <a:cubicBezTo>
                    <a:pt x="3179" y="163851"/>
                    <a:pt x="3303" y="163965"/>
                    <a:pt x="3436" y="164070"/>
                  </a:cubicBezTo>
                  <a:cubicBezTo>
                    <a:pt x="3627" y="164222"/>
                    <a:pt x="3808" y="164374"/>
                    <a:pt x="4008" y="164498"/>
                  </a:cubicBezTo>
                  <a:cubicBezTo>
                    <a:pt x="4151" y="164594"/>
                    <a:pt x="4274" y="164679"/>
                    <a:pt x="4417" y="164755"/>
                  </a:cubicBezTo>
                  <a:cubicBezTo>
                    <a:pt x="4446" y="164784"/>
                    <a:pt x="4484" y="164803"/>
                    <a:pt x="4522" y="164822"/>
                  </a:cubicBezTo>
                  <a:cubicBezTo>
                    <a:pt x="4608" y="164870"/>
                    <a:pt x="4693" y="164936"/>
                    <a:pt x="4769" y="164984"/>
                  </a:cubicBezTo>
                  <a:cubicBezTo>
                    <a:pt x="5046" y="165136"/>
                    <a:pt x="5332" y="165270"/>
                    <a:pt x="5617" y="165394"/>
                  </a:cubicBezTo>
                  <a:cubicBezTo>
                    <a:pt x="5703" y="165432"/>
                    <a:pt x="5779" y="165470"/>
                    <a:pt x="5855" y="165498"/>
                  </a:cubicBezTo>
                  <a:cubicBezTo>
                    <a:pt x="5979" y="165556"/>
                    <a:pt x="6103" y="165594"/>
                    <a:pt x="6246" y="165632"/>
                  </a:cubicBezTo>
                  <a:cubicBezTo>
                    <a:pt x="6313" y="165651"/>
                    <a:pt x="6379" y="165698"/>
                    <a:pt x="6446" y="165727"/>
                  </a:cubicBezTo>
                  <a:cubicBezTo>
                    <a:pt x="34764" y="174976"/>
                    <a:pt x="61053" y="179595"/>
                    <a:pt x="85218" y="179595"/>
                  </a:cubicBezTo>
                  <a:cubicBezTo>
                    <a:pt x="115974" y="179595"/>
                    <a:pt x="143263" y="172090"/>
                    <a:pt x="166780" y="157097"/>
                  </a:cubicBezTo>
                  <a:cubicBezTo>
                    <a:pt x="233722" y="114435"/>
                    <a:pt x="244962" y="27386"/>
                    <a:pt x="245409" y="23700"/>
                  </a:cubicBezTo>
                  <a:cubicBezTo>
                    <a:pt x="245438" y="23500"/>
                    <a:pt x="245409" y="23300"/>
                    <a:pt x="245428" y="23100"/>
                  </a:cubicBezTo>
                  <a:cubicBezTo>
                    <a:pt x="245438" y="22766"/>
                    <a:pt x="245466" y="22423"/>
                    <a:pt x="245447" y="22090"/>
                  </a:cubicBezTo>
                  <a:cubicBezTo>
                    <a:pt x="245428" y="21804"/>
                    <a:pt x="245390" y="21518"/>
                    <a:pt x="245343" y="21233"/>
                  </a:cubicBezTo>
                  <a:cubicBezTo>
                    <a:pt x="245285" y="20918"/>
                    <a:pt x="245238" y="20614"/>
                    <a:pt x="245161" y="20299"/>
                  </a:cubicBezTo>
                  <a:cubicBezTo>
                    <a:pt x="245095" y="20014"/>
                    <a:pt x="244990" y="19747"/>
                    <a:pt x="244905" y="19471"/>
                  </a:cubicBezTo>
                  <a:cubicBezTo>
                    <a:pt x="244800" y="19175"/>
                    <a:pt x="244704" y="18880"/>
                    <a:pt x="244562" y="18604"/>
                  </a:cubicBezTo>
                  <a:cubicBezTo>
                    <a:pt x="244438" y="18347"/>
                    <a:pt x="244304" y="18118"/>
                    <a:pt x="244171" y="17870"/>
                  </a:cubicBezTo>
                  <a:cubicBezTo>
                    <a:pt x="243990" y="17585"/>
                    <a:pt x="243828" y="17309"/>
                    <a:pt x="243628" y="17042"/>
                  </a:cubicBezTo>
                  <a:cubicBezTo>
                    <a:pt x="243466" y="16832"/>
                    <a:pt x="243304" y="16642"/>
                    <a:pt x="243133" y="16442"/>
                  </a:cubicBezTo>
                  <a:cubicBezTo>
                    <a:pt x="242904" y="16184"/>
                    <a:pt x="242676" y="15927"/>
                    <a:pt x="242418" y="15689"/>
                  </a:cubicBezTo>
                  <a:cubicBezTo>
                    <a:pt x="242228" y="15508"/>
                    <a:pt x="242028" y="15346"/>
                    <a:pt x="241809" y="15184"/>
                  </a:cubicBezTo>
                  <a:cubicBezTo>
                    <a:pt x="241552" y="14984"/>
                    <a:pt x="241275" y="14784"/>
                    <a:pt x="240990" y="14594"/>
                  </a:cubicBezTo>
                  <a:cubicBezTo>
                    <a:pt x="240732" y="14441"/>
                    <a:pt x="240475" y="14327"/>
                    <a:pt x="240218" y="14194"/>
                  </a:cubicBezTo>
                  <a:cubicBezTo>
                    <a:pt x="239999" y="14089"/>
                    <a:pt x="239818" y="13965"/>
                    <a:pt x="239589" y="13870"/>
                  </a:cubicBezTo>
                  <a:cubicBezTo>
                    <a:pt x="236151" y="12489"/>
                    <a:pt x="154407" y="-19515"/>
                    <a:pt x="84827" y="18651"/>
                  </a:cubicBezTo>
                  <a:cubicBezTo>
                    <a:pt x="41174" y="42597"/>
                    <a:pt x="12675" y="88498"/>
                    <a:pt x="131" y="155078"/>
                  </a:cubicBezTo>
                  <a:cubicBezTo>
                    <a:pt x="122" y="155221"/>
                    <a:pt x="122" y="155335"/>
                    <a:pt x="112" y="155450"/>
                  </a:cubicBezTo>
                  <a:close/>
                  <a:moveTo>
                    <a:pt x="93714" y="35177"/>
                  </a:moveTo>
                  <a:cubicBezTo>
                    <a:pt x="144482" y="7269"/>
                    <a:pt x="205137" y="22423"/>
                    <a:pt x="225540" y="28872"/>
                  </a:cubicBezTo>
                  <a:cubicBezTo>
                    <a:pt x="221416" y="49817"/>
                    <a:pt x="205642" y="110139"/>
                    <a:pt x="156703" y="141324"/>
                  </a:cubicBezTo>
                  <a:cubicBezTo>
                    <a:pt x="124070" y="162117"/>
                    <a:pt x="82446" y="166308"/>
                    <a:pt x="32783" y="153859"/>
                  </a:cubicBezTo>
                  <a:lnTo>
                    <a:pt x="141787" y="89318"/>
                  </a:lnTo>
                  <a:cubicBezTo>
                    <a:pt x="146235" y="86679"/>
                    <a:pt x="147711" y="80935"/>
                    <a:pt x="145082" y="76478"/>
                  </a:cubicBezTo>
                  <a:cubicBezTo>
                    <a:pt x="142444" y="72030"/>
                    <a:pt x="136691" y="70553"/>
                    <a:pt x="132243" y="73182"/>
                  </a:cubicBezTo>
                  <a:lnTo>
                    <a:pt x="23229" y="137733"/>
                  </a:lnTo>
                  <a:cubicBezTo>
                    <a:pt x="36202" y="88260"/>
                    <a:pt x="59853" y="53799"/>
                    <a:pt x="93714" y="35177"/>
                  </a:cubicBezTo>
                  <a:close/>
                </a:path>
              </a:pathLst>
            </a:custGeom>
            <a:grpFill/>
            <a:ln w="9525" cap="flat">
              <a:solidFill>
                <a:srgbClr val="7030A0"/>
              </a:solidFill>
              <a:prstDash val="solid"/>
              <a:miter/>
            </a:ln>
          </p:spPr>
          <p:txBody>
            <a:bodyPr rtlCol="0" anchor="ctr"/>
            <a:lstStyle/>
            <a:p>
              <a:pPr defTabSz="685783">
                <a:defRPr/>
              </a:pPr>
              <a:endParaRPr lang="fr-FR" sz="1350" kern="0">
                <a:solidFill>
                  <a:prstClr val="black"/>
                </a:solidFill>
                <a:latin typeface="Arial"/>
              </a:endParaRPr>
            </a:p>
          </p:txBody>
        </p:sp>
        <p:sp>
          <p:nvSpPr>
            <p:cNvPr id="38" name="Forme libre 37">
              <a:extLst>
                <a:ext uri="{FF2B5EF4-FFF2-40B4-BE49-F238E27FC236}">
                  <a16:creationId xmlns:a16="http://schemas.microsoft.com/office/drawing/2014/main" id="{384ACD1F-FD66-AA3D-775C-2FEC46777F94}"/>
                </a:ext>
              </a:extLst>
            </p:cNvPr>
            <p:cNvSpPr/>
            <p:nvPr/>
          </p:nvSpPr>
          <p:spPr>
            <a:xfrm>
              <a:off x="9255594" y="299995"/>
              <a:ext cx="161035" cy="282178"/>
            </a:xfrm>
            <a:custGeom>
              <a:avLst/>
              <a:gdLst>
                <a:gd name="connsiteX0" fmla="*/ 75843 w 161035"/>
                <a:gd name="connsiteY0" fmla="*/ 279921 h 282178"/>
                <a:gd name="connsiteX1" fmla="*/ 76224 w 161035"/>
                <a:gd name="connsiteY1" fmla="*/ 280197 h 282178"/>
                <a:gd name="connsiteX2" fmla="*/ 76625 w 161035"/>
                <a:gd name="connsiteY2" fmla="*/ 280511 h 282178"/>
                <a:gd name="connsiteX3" fmla="*/ 76948 w 161035"/>
                <a:gd name="connsiteY3" fmla="*/ 280711 h 282178"/>
                <a:gd name="connsiteX4" fmla="*/ 77834 w 161035"/>
                <a:gd name="connsiteY4" fmla="*/ 281197 h 282178"/>
                <a:gd name="connsiteX5" fmla="*/ 78272 w 161035"/>
                <a:gd name="connsiteY5" fmla="*/ 281426 h 282178"/>
                <a:gd name="connsiteX6" fmla="*/ 78482 w 161035"/>
                <a:gd name="connsiteY6" fmla="*/ 281492 h 282178"/>
                <a:gd name="connsiteX7" fmla="*/ 79653 w 161035"/>
                <a:gd name="connsiteY7" fmla="*/ 281854 h 282178"/>
                <a:gd name="connsiteX8" fmla="*/ 80053 w 161035"/>
                <a:gd name="connsiteY8" fmla="*/ 281988 h 282178"/>
                <a:gd name="connsiteX9" fmla="*/ 80149 w 161035"/>
                <a:gd name="connsiteY9" fmla="*/ 281988 h 282178"/>
                <a:gd name="connsiteX10" fmla="*/ 81939 w 161035"/>
                <a:gd name="connsiteY10" fmla="*/ 282178 h 282178"/>
                <a:gd name="connsiteX11" fmla="*/ 81997 w 161035"/>
                <a:gd name="connsiteY11" fmla="*/ 282178 h 282178"/>
                <a:gd name="connsiteX12" fmla="*/ 82044 w 161035"/>
                <a:gd name="connsiteY12" fmla="*/ 282178 h 282178"/>
                <a:gd name="connsiteX13" fmla="*/ 82235 w 161035"/>
                <a:gd name="connsiteY13" fmla="*/ 282159 h 282178"/>
                <a:gd name="connsiteX14" fmla="*/ 83768 w 161035"/>
                <a:gd name="connsiteY14" fmla="*/ 281997 h 282178"/>
                <a:gd name="connsiteX15" fmla="*/ 84178 w 161035"/>
                <a:gd name="connsiteY15" fmla="*/ 281892 h 282178"/>
                <a:gd name="connsiteX16" fmla="*/ 84378 w 161035"/>
                <a:gd name="connsiteY16" fmla="*/ 281826 h 282178"/>
                <a:gd name="connsiteX17" fmla="*/ 85502 w 161035"/>
                <a:gd name="connsiteY17" fmla="*/ 281473 h 282178"/>
                <a:gd name="connsiteX18" fmla="*/ 85711 w 161035"/>
                <a:gd name="connsiteY18" fmla="*/ 281397 h 282178"/>
                <a:gd name="connsiteX19" fmla="*/ 86197 w 161035"/>
                <a:gd name="connsiteY19" fmla="*/ 281130 h 282178"/>
                <a:gd name="connsiteX20" fmla="*/ 87045 w 161035"/>
                <a:gd name="connsiteY20" fmla="*/ 280664 h 282178"/>
                <a:gd name="connsiteX21" fmla="*/ 87378 w 161035"/>
                <a:gd name="connsiteY21" fmla="*/ 280445 h 282178"/>
                <a:gd name="connsiteX22" fmla="*/ 87816 w 161035"/>
                <a:gd name="connsiteY22" fmla="*/ 280083 h 282178"/>
                <a:gd name="connsiteX23" fmla="*/ 88207 w 161035"/>
                <a:gd name="connsiteY23" fmla="*/ 279797 h 282178"/>
                <a:gd name="connsiteX24" fmla="*/ 160902 w 161035"/>
                <a:gd name="connsiteY24" fmla="*/ 136627 h 282178"/>
                <a:gd name="connsiteX25" fmla="*/ 84692 w 161035"/>
                <a:gd name="connsiteY25" fmla="*/ 1838 h 282178"/>
                <a:gd name="connsiteX26" fmla="*/ 84187 w 161035"/>
                <a:gd name="connsiteY26" fmla="*/ 1534 h 282178"/>
                <a:gd name="connsiteX27" fmla="*/ 83292 w 161035"/>
                <a:gd name="connsiteY27" fmla="*/ 1000 h 282178"/>
                <a:gd name="connsiteX28" fmla="*/ 82530 w 161035"/>
                <a:gd name="connsiteY28" fmla="*/ 667 h 282178"/>
                <a:gd name="connsiteX29" fmla="*/ 81615 w 161035"/>
                <a:gd name="connsiteY29" fmla="*/ 343 h 282178"/>
                <a:gd name="connsiteX30" fmla="*/ 80777 w 161035"/>
                <a:gd name="connsiteY30" fmla="*/ 162 h 282178"/>
                <a:gd name="connsiteX31" fmla="*/ 79834 w 161035"/>
                <a:gd name="connsiteY31" fmla="*/ 19 h 282178"/>
                <a:gd name="connsiteX32" fmla="*/ 79015 w 161035"/>
                <a:gd name="connsiteY32" fmla="*/ 0 h 282178"/>
                <a:gd name="connsiteX33" fmla="*/ 78006 w 161035"/>
                <a:gd name="connsiteY33" fmla="*/ 48 h 282178"/>
                <a:gd name="connsiteX34" fmla="*/ 77272 w 161035"/>
                <a:gd name="connsiteY34" fmla="*/ 181 h 282178"/>
                <a:gd name="connsiteX35" fmla="*/ 76253 w 161035"/>
                <a:gd name="connsiteY35" fmla="*/ 429 h 282178"/>
                <a:gd name="connsiteX36" fmla="*/ 75548 w 161035"/>
                <a:gd name="connsiteY36" fmla="*/ 695 h 282178"/>
                <a:gd name="connsiteX37" fmla="*/ 74577 w 161035"/>
                <a:gd name="connsiteY37" fmla="*/ 1134 h 282178"/>
                <a:gd name="connsiteX38" fmla="*/ 73891 w 161035"/>
                <a:gd name="connsiteY38" fmla="*/ 1572 h 282178"/>
                <a:gd name="connsiteX39" fmla="*/ 73281 w 161035"/>
                <a:gd name="connsiteY39" fmla="*/ 1962 h 282178"/>
                <a:gd name="connsiteX40" fmla="*/ 34 w 161035"/>
                <a:gd name="connsiteY40" fmla="*/ 138389 h 282178"/>
                <a:gd name="connsiteX41" fmla="*/ 75843 w 161035"/>
                <a:gd name="connsiteY41" fmla="*/ 279921 h 282178"/>
                <a:gd name="connsiteX42" fmla="*/ 18760 w 161035"/>
                <a:gd name="connsiteY42" fmla="*/ 138913 h 282178"/>
                <a:gd name="connsiteX43" fmla="*/ 79206 w 161035"/>
                <a:gd name="connsiteY43" fmla="*/ 21612 h 282178"/>
                <a:gd name="connsiteX44" fmla="*/ 142185 w 161035"/>
                <a:gd name="connsiteY44" fmla="*/ 137570 h 282178"/>
                <a:gd name="connsiteX45" fmla="*/ 91084 w 161035"/>
                <a:gd name="connsiteY45" fmla="*/ 251041 h 282178"/>
                <a:gd name="connsiteX46" fmla="*/ 89693 w 161035"/>
                <a:gd name="connsiteY46" fmla="*/ 124358 h 282178"/>
                <a:gd name="connsiteX47" fmla="*/ 80215 w 161035"/>
                <a:gd name="connsiteY47" fmla="*/ 115081 h 282178"/>
                <a:gd name="connsiteX48" fmla="*/ 70938 w 161035"/>
                <a:gd name="connsiteY48" fmla="*/ 124559 h 282178"/>
                <a:gd name="connsiteX49" fmla="*/ 72329 w 161035"/>
                <a:gd name="connsiteY49" fmla="*/ 251241 h 282178"/>
                <a:gd name="connsiteX50" fmla="*/ 18760 w 161035"/>
                <a:gd name="connsiteY50" fmla="*/ 138913 h 28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61035" h="282178">
                  <a:moveTo>
                    <a:pt x="75843" y="279921"/>
                  </a:moveTo>
                  <a:cubicBezTo>
                    <a:pt x="75958" y="280026"/>
                    <a:pt x="76091" y="280102"/>
                    <a:pt x="76224" y="280197"/>
                  </a:cubicBezTo>
                  <a:cubicBezTo>
                    <a:pt x="76358" y="280302"/>
                    <a:pt x="76491" y="280407"/>
                    <a:pt x="76625" y="280511"/>
                  </a:cubicBezTo>
                  <a:cubicBezTo>
                    <a:pt x="76739" y="280588"/>
                    <a:pt x="76834" y="280654"/>
                    <a:pt x="76948" y="280711"/>
                  </a:cubicBezTo>
                  <a:cubicBezTo>
                    <a:pt x="77234" y="280892"/>
                    <a:pt x="77529" y="281045"/>
                    <a:pt x="77834" y="281197"/>
                  </a:cubicBezTo>
                  <a:cubicBezTo>
                    <a:pt x="77977" y="281273"/>
                    <a:pt x="78120" y="281359"/>
                    <a:pt x="78272" y="281426"/>
                  </a:cubicBezTo>
                  <a:cubicBezTo>
                    <a:pt x="78339" y="281445"/>
                    <a:pt x="78415" y="281473"/>
                    <a:pt x="78482" y="281492"/>
                  </a:cubicBezTo>
                  <a:cubicBezTo>
                    <a:pt x="78872" y="281654"/>
                    <a:pt x="79263" y="281759"/>
                    <a:pt x="79653" y="281854"/>
                  </a:cubicBezTo>
                  <a:cubicBezTo>
                    <a:pt x="79806" y="281892"/>
                    <a:pt x="79920" y="281950"/>
                    <a:pt x="80053" y="281988"/>
                  </a:cubicBezTo>
                  <a:cubicBezTo>
                    <a:pt x="80091" y="281988"/>
                    <a:pt x="80130" y="281988"/>
                    <a:pt x="80149" y="281988"/>
                  </a:cubicBezTo>
                  <a:cubicBezTo>
                    <a:pt x="80749" y="282102"/>
                    <a:pt x="81349" y="282178"/>
                    <a:pt x="81939" y="282178"/>
                  </a:cubicBezTo>
                  <a:cubicBezTo>
                    <a:pt x="81949" y="282178"/>
                    <a:pt x="81977" y="282178"/>
                    <a:pt x="81997" y="282178"/>
                  </a:cubicBezTo>
                  <a:cubicBezTo>
                    <a:pt x="82006" y="282178"/>
                    <a:pt x="82025" y="282178"/>
                    <a:pt x="82044" y="282178"/>
                  </a:cubicBezTo>
                  <a:cubicBezTo>
                    <a:pt x="82111" y="282178"/>
                    <a:pt x="82168" y="282159"/>
                    <a:pt x="82235" y="282159"/>
                  </a:cubicBezTo>
                  <a:cubicBezTo>
                    <a:pt x="82758" y="282150"/>
                    <a:pt x="83254" y="282102"/>
                    <a:pt x="83768" y="281997"/>
                  </a:cubicBezTo>
                  <a:cubicBezTo>
                    <a:pt x="83911" y="281969"/>
                    <a:pt x="84044" y="281921"/>
                    <a:pt x="84178" y="281892"/>
                  </a:cubicBezTo>
                  <a:cubicBezTo>
                    <a:pt x="84254" y="281883"/>
                    <a:pt x="84311" y="281845"/>
                    <a:pt x="84378" y="281826"/>
                  </a:cubicBezTo>
                  <a:cubicBezTo>
                    <a:pt x="84759" y="281730"/>
                    <a:pt x="85140" y="281626"/>
                    <a:pt x="85502" y="281473"/>
                  </a:cubicBezTo>
                  <a:cubicBezTo>
                    <a:pt x="85568" y="281445"/>
                    <a:pt x="85645" y="281426"/>
                    <a:pt x="85711" y="281397"/>
                  </a:cubicBezTo>
                  <a:cubicBezTo>
                    <a:pt x="85883" y="281321"/>
                    <a:pt x="86035" y="281216"/>
                    <a:pt x="86197" y="281130"/>
                  </a:cubicBezTo>
                  <a:cubicBezTo>
                    <a:pt x="86483" y="280988"/>
                    <a:pt x="86769" y="280835"/>
                    <a:pt x="87045" y="280664"/>
                  </a:cubicBezTo>
                  <a:cubicBezTo>
                    <a:pt x="87159" y="280588"/>
                    <a:pt x="87273" y="280521"/>
                    <a:pt x="87378" y="280445"/>
                  </a:cubicBezTo>
                  <a:cubicBezTo>
                    <a:pt x="87531" y="280330"/>
                    <a:pt x="87674" y="280206"/>
                    <a:pt x="87816" y="280083"/>
                  </a:cubicBezTo>
                  <a:cubicBezTo>
                    <a:pt x="87950" y="279978"/>
                    <a:pt x="88083" y="279911"/>
                    <a:pt x="88207" y="279797"/>
                  </a:cubicBezTo>
                  <a:cubicBezTo>
                    <a:pt x="138632" y="234544"/>
                    <a:pt x="163083" y="186366"/>
                    <a:pt x="160902" y="136627"/>
                  </a:cubicBezTo>
                  <a:cubicBezTo>
                    <a:pt x="157434" y="57331"/>
                    <a:pt x="87664" y="4067"/>
                    <a:pt x="84692" y="1838"/>
                  </a:cubicBezTo>
                  <a:cubicBezTo>
                    <a:pt x="84530" y="1715"/>
                    <a:pt x="84368" y="1648"/>
                    <a:pt x="84187" y="1534"/>
                  </a:cubicBezTo>
                  <a:cubicBezTo>
                    <a:pt x="83901" y="1343"/>
                    <a:pt x="83606" y="1153"/>
                    <a:pt x="83292" y="1000"/>
                  </a:cubicBezTo>
                  <a:cubicBezTo>
                    <a:pt x="83044" y="867"/>
                    <a:pt x="82787" y="772"/>
                    <a:pt x="82530" y="667"/>
                  </a:cubicBezTo>
                  <a:cubicBezTo>
                    <a:pt x="82235" y="543"/>
                    <a:pt x="81930" y="429"/>
                    <a:pt x="81615" y="343"/>
                  </a:cubicBezTo>
                  <a:cubicBezTo>
                    <a:pt x="81339" y="267"/>
                    <a:pt x="81054" y="210"/>
                    <a:pt x="80777" y="162"/>
                  </a:cubicBezTo>
                  <a:cubicBezTo>
                    <a:pt x="80463" y="105"/>
                    <a:pt x="80149" y="48"/>
                    <a:pt x="79834" y="19"/>
                  </a:cubicBezTo>
                  <a:cubicBezTo>
                    <a:pt x="79558" y="0"/>
                    <a:pt x="79282" y="0"/>
                    <a:pt x="79015" y="0"/>
                  </a:cubicBezTo>
                  <a:cubicBezTo>
                    <a:pt x="78682" y="0"/>
                    <a:pt x="78349" y="10"/>
                    <a:pt x="78006" y="48"/>
                  </a:cubicBezTo>
                  <a:cubicBezTo>
                    <a:pt x="77767" y="76"/>
                    <a:pt x="77520" y="124"/>
                    <a:pt x="77272" y="181"/>
                  </a:cubicBezTo>
                  <a:cubicBezTo>
                    <a:pt x="76920" y="248"/>
                    <a:pt x="76586" y="324"/>
                    <a:pt x="76253" y="429"/>
                  </a:cubicBezTo>
                  <a:cubicBezTo>
                    <a:pt x="76015" y="505"/>
                    <a:pt x="75777" y="610"/>
                    <a:pt x="75548" y="695"/>
                  </a:cubicBezTo>
                  <a:cubicBezTo>
                    <a:pt x="75224" y="829"/>
                    <a:pt x="74900" y="972"/>
                    <a:pt x="74577" y="1134"/>
                  </a:cubicBezTo>
                  <a:cubicBezTo>
                    <a:pt x="74357" y="1257"/>
                    <a:pt x="74119" y="1419"/>
                    <a:pt x="73891" y="1572"/>
                  </a:cubicBezTo>
                  <a:cubicBezTo>
                    <a:pt x="73691" y="1705"/>
                    <a:pt x="73471" y="1810"/>
                    <a:pt x="73281" y="1962"/>
                  </a:cubicBezTo>
                  <a:cubicBezTo>
                    <a:pt x="70357" y="4258"/>
                    <a:pt x="1767" y="59046"/>
                    <a:pt x="34" y="138389"/>
                  </a:cubicBezTo>
                  <a:cubicBezTo>
                    <a:pt x="-1061" y="188147"/>
                    <a:pt x="24447" y="235772"/>
                    <a:pt x="75843" y="279921"/>
                  </a:cubicBezTo>
                  <a:close/>
                  <a:moveTo>
                    <a:pt x="18760" y="138913"/>
                  </a:moveTo>
                  <a:cubicBezTo>
                    <a:pt x="19970" y="80991"/>
                    <a:pt x="63423" y="36052"/>
                    <a:pt x="79206" y="21612"/>
                  </a:cubicBezTo>
                  <a:cubicBezTo>
                    <a:pt x="95284" y="35700"/>
                    <a:pt x="139728" y="79686"/>
                    <a:pt x="142185" y="137570"/>
                  </a:cubicBezTo>
                  <a:cubicBezTo>
                    <a:pt x="143842" y="176184"/>
                    <a:pt x="126650" y="214284"/>
                    <a:pt x="91084" y="251041"/>
                  </a:cubicBezTo>
                  <a:lnTo>
                    <a:pt x="89693" y="124358"/>
                  </a:lnTo>
                  <a:cubicBezTo>
                    <a:pt x="89636" y="119186"/>
                    <a:pt x="85463" y="114995"/>
                    <a:pt x="80215" y="115081"/>
                  </a:cubicBezTo>
                  <a:cubicBezTo>
                    <a:pt x="75043" y="115138"/>
                    <a:pt x="70890" y="119386"/>
                    <a:pt x="70938" y="124559"/>
                  </a:cubicBezTo>
                  <a:lnTo>
                    <a:pt x="72329" y="251241"/>
                  </a:lnTo>
                  <a:cubicBezTo>
                    <a:pt x="35962" y="215265"/>
                    <a:pt x="17960" y="177556"/>
                    <a:pt x="18760" y="138913"/>
                  </a:cubicBezTo>
                  <a:close/>
                </a:path>
              </a:pathLst>
            </a:custGeom>
            <a:grpFill/>
            <a:ln w="9525" cap="flat">
              <a:solidFill>
                <a:srgbClr val="7030A0"/>
              </a:solidFill>
              <a:prstDash val="solid"/>
              <a:miter/>
            </a:ln>
          </p:spPr>
          <p:txBody>
            <a:bodyPr rtlCol="0" anchor="ctr"/>
            <a:lstStyle/>
            <a:p>
              <a:pPr defTabSz="685783">
                <a:defRPr/>
              </a:pPr>
              <a:endParaRPr lang="fr-FR" sz="1350" kern="0">
                <a:solidFill>
                  <a:prstClr val="black"/>
                </a:solidFill>
                <a:latin typeface="Arial"/>
              </a:endParaRPr>
            </a:p>
          </p:txBody>
        </p:sp>
      </p:grpSp>
      <p:cxnSp>
        <p:nvCxnSpPr>
          <p:cNvPr id="3" name="Connecteur droit 2">
            <a:extLst>
              <a:ext uri="{FF2B5EF4-FFF2-40B4-BE49-F238E27FC236}">
                <a16:creationId xmlns:a16="http://schemas.microsoft.com/office/drawing/2014/main" id="{17DE0D8C-B24D-5265-9143-35F410034620}"/>
              </a:ext>
            </a:extLst>
          </p:cNvPr>
          <p:cNvCxnSpPr>
            <a:cxnSpLocks/>
          </p:cNvCxnSpPr>
          <p:nvPr/>
        </p:nvCxnSpPr>
        <p:spPr>
          <a:xfrm flipV="1">
            <a:off x="642039" y="286499"/>
            <a:ext cx="0" cy="531113"/>
          </a:xfrm>
          <a:prstGeom prst="line">
            <a:avLst/>
          </a:prstGeom>
          <a:ln w="25400" cap="rnd">
            <a:solidFill>
              <a:srgbClr val="7030A0"/>
            </a:solidFill>
            <a:prstDash val="solid"/>
            <a:round/>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8736332" y="4815239"/>
            <a:ext cx="312906" cy="230832"/>
          </a:xfrm>
          <a:prstGeom prst="rect">
            <a:avLst/>
          </a:prstGeom>
        </p:spPr>
        <p:txBody>
          <a:bodyPr wrap="none">
            <a:spAutoFit/>
          </a:bodyPr>
          <a:lstStyle/>
          <a:p>
            <a:pPr defTabSz="457189"/>
            <a:r>
              <a:rPr lang="fr-FR" sz="900" b="1" dirty="0">
                <a:solidFill>
                  <a:prstClr val="white"/>
                </a:solidFill>
                <a:latin typeface="Arial"/>
              </a:rPr>
              <a:t>62</a:t>
            </a:r>
            <a:endParaRPr lang="fr-FR" sz="900" dirty="0">
              <a:solidFill>
                <a:prstClr val="black"/>
              </a:solidFill>
              <a:latin typeface="Arial"/>
            </a:endParaRPr>
          </a:p>
        </p:txBody>
      </p:sp>
    </p:spTree>
    <p:extLst>
      <p:ext uri="{BB962C8B-B14F-4D97-AF65-F5344CB8AC3E}">
        <p14:creationId xmlns:p14="http://schemas.microsoft.com/office/powerpoint/2010/main" val="3875908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5169" name="Diapositive think-cell" r:id="rId4" imgW="416" imgH="416" progId="TCLayout.ActiveDocument.1">
                  <p:embed/>
                </p:oleObj>
              </mc:Choice>
              <mc:Fallback>
                <p:oleObj name="Diapositive think-cell" r:id="rId4" imgW="416" imgH="416" progId="TCLayout.ActiveDocument.1">
                  <p:embed/>
                  <p:pic>
                    <p:nvPicPr>
                      <p:cNvPr id="4" name="Obje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8" name="ZoneTexte 7">
            <a:extLst>
              <a:ext uri="{FF2B5EF4-FFF2-40B4-BE49-F238E27FC236}">
                <a16:creationId xmlns:a16="http://schemas.microsoft.com/office/drawing/2014/main" id="{A8D7CF19-773A-E84F-54DF-5132438FAACA}"/>
              </a:ext>
            </a:extLst>
          </p:cNvPr>
          <p:cNvSpPr txBox="1"/>
          <p:nvPr/>
        </p:nvSpPr>
        <p:spPr>
          <a:xfrm>
            <a:off x="3879056" y="571142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1350" dirty="0" err="1">
              <a:solidFill>
                <a:prstClr val="black"/>
              </a:solidFill>
              <a:latin typeface="Arial"/>
            </a:endParaRPr>
          </a:p>
        </p:txBody>
      </p:sp>
      <p:sp>
        <p:nvSpPr>
          <p:cNvPr id="65" name="Rectangle 64">
            <a:extLst>
              <a:ext uri="{FF2B5EF4-FFF2-40B4-BE49-F238E27FC236}">
                <a16:creationId xmlns:a16="http://schemas.microsoft.com/office/drawing/2014/main" id="{13190185-0FA6-E850-A780-11D361FBF9EE}"/>
              </a:ext>
            </a:extLst>
          </p:cNvPr>
          <p:cNvSpPr/>
          <p:nvPr/>
        </p:nvSpPr>
        <p:spPr>
          <a:xfrm>
            <a:off x="883263" y="2086214"/>
            <a:ext cx="2160000" cy="2534603"/>
          </a:xfrm>
          <a:prstGeom prst="rect">
            <a:avLst/>
          </a:prstGeom>
          <a:solidFill>
            <a:schemeClr val="bg1">
              <a:alpha val="79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nvGrpSpPr>
          <p:cNvPr id="3" name="Groupe 2">
            <a:extLst>
              <a:ext uri="{FF2B5EF4-FFF2-40B4-BE49-F238E27FC236}">
                <a16:creationId xmlns:a16="http://schemas.microsoft.com/office/drawing/2014/main" id="{3765F9CF-C448-E624-D22A-E50C3B8F9B4C}"/>
              </a:ext>
            </a:extLst>
          </p:cNvPr>
          <p:cNvGrpSpPr/>
          <p:nvPr/>
        </p:nvGrpSpPr>
        <p:grpSpPr>
          <a:xfrm>
            <a:off x="1179811" y="1048156"/>
            <a:ext cx="1548410" cy="1548410"/>
            <a:chOff x="1573082" y="1317214"/>
            <a:chExt cx="2064546" cy="2064546"/>
          </a:xfrm>
        </p:grpSpPr>
        <p:sp>
          <p:nvSpPr>
            <p:cNvPr id="41" name="Ellipse 40">
              <a:extLst>
                <a:ext uri="{FF2B5EF4-FFF2-40B4-BE49-F238E27FC236}">
                  <a16:creationId xmlns:a16="http://schemas.microsoft.com/office/drawing/2014/main" id="{3FC8A407-84BC-CA57-44EF-1FF93D85189F}"/>
                </a:ext>
              </a:extLst>
            </p:cNvPr>
            <p:cNvSpPr/>
            <p:nvPr/>
          </p:nvSpPr>
          <p:spPr>
            <a:xfrm>
              <a:off x="1573082" y="1317214"/>
              <a:ext cx="2064546" cy="2064546"/>
            </a:xfrm>
            <a:prstGeom prst="ellipse">
              <a:avLst/>
            </a:prstGeom>
            <a:solidFill>
              <a:srgbClr val="0070C0"/>
            </a:solidFill>
            <a:ln w="9525" cap="rnd" cmpd="sng" algn="ctr">
              <a:noFill/>
              <a:prstDash val="solid"/>
              <a:round/>
              <a:headEnd type="none" w="med" len="med"/>
              <a:tailEnd type="none" w="med" len="me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6" name="Rectangle 15"/>
            <p:cNvSpPr/>
            <p:nvPr/>
          </p:nvSpPr>
          <p:spPr>
            <a:xfrm>
              <a:off x="1676869" y="1745167"/>
              <a:ext cx="1874605" cy="1248396"/>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783">
                <a:lnSpc>
                  <a:spcPts val="1395"/>
                </a:lnSpc>
                <a:defRPr/>
              </a:pPr>
              <a:r>
                <a:rPr lang="fr-FR" sz="1350" b="1" kern="0" dirty="0">
                  <a:solidFill>
                    <a:prstClr val="white"/>
                  </a:solidFill>
                  <a:latin typeface="Arial"/>
                  <a:cs typeface="Arial" panose="020B0604020202020204" pitchFamily="34" charset="0"/>
                </a:rPr>
                <a:t>Acting on climate and transition to a low-carbon economy </a:t>
              </a:r>
            </a:p>
          </p:txBody>
        </p:sp>
      </p:grpSp>
      <p:grpSp>
        <p:nvGrpSpPr>
          <p:cNvPr id="78" name="Groupe 77">
            <a:extLst>
              <a:ext uri="{FF2B5EF4-FFF2-40B4-BE49-F238E27FC236}">
                <a16:creationId xmlns:a16="http://schemas.microsoft.com/office/drawing/2014/main" id="{D00F54F2-28B7-A30C-FE44-555C251F03CD}"/>
              </a:ext>
            </a:extLst>
          </p:cNvPr>
          <p:cNvGrpSpPr/>
          <p:nvPr/>
        </p:nvGrpSpPr>
        <p:grpSpPr>
          <a:xfrm rot="5400000">
            <a:off x="1812979" y="2476101"/>
            <a:ext cx="300566" cy="300566"/>
            <a:chOff x="4112336" y="3491609"/>
            <a:chExt cx="768763" cy="768762"/>
          </a:xfrm>
        </p:grpSpPr>
        <p:sp>
          <p:nvSpPr>
            <p:cNvPr id="76" name="Ellipse 75">
              <a:extLst>
                <a:ext uri="{FF2B5EF4-FFF2-40B4-BE49-F238E27FC236}">
                  <a16:creationId xmlns:a16="http://schemas.microsoft.com/office/drawing/2014/main" id="{EA23CDFA-B8CA-9DD5-BDDA-9F8404ED60E0}"/>
                </a:ext>
              </a:extLst>
            </p:cNvPr>
            <p:cNvSpPr/>
            <p:nvPr/>
          </p:nvSpPr>
          <p:spPr>
            <a:xfrm rot="16200000">
              <a:off x="4112337" y="3491608"/>
              <a:ext cx="768762" cy="768763"/>
            </a:xfrm>
            <a:prstGeom prst="ellipse">
              <a:avLst/>
            </a:prstGeom>
            <a:solidFill>
              <a:srgbClr val="E3061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77" name="Graphique 47">
              <a:extLst>
                <a:ext uri="{FF2B5EF4-FFF2-40B4-BE49-F238E27FC236}">
                  <a16:creationId xmlns:a16="http://schemas.microsoft.com/office/drawing/2014/main" id="{56038CE3-A3A3-A509-663C-874E7570F73C}"/>
                </a:ext>
              </a:extLst>
            </p:cNvPr>
            <p:cNvSpPr/>
            <p:nvPr/>
          </p:nvSpPr>
          <p:spPr>
            <a:xfrm>
              <a:off x="4329328" y="3765027"/>
              <a:ext cx="334779" cy="246710"/>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sp>
        <p:nvSpPr>
          <p:cNvPr id="37" name="Rectangle 36"/>
          <p:cNvSpPr/>
          <p:nvPr/>
        </p:nvSpPr>
        <p:spPr>
          <a:xfrm>
            <a:off x="936691" y="2950586"/>
            <a:ext cx="2091021" cy="1274602"/>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33347" lvl="1" indent="-126203" defTabSz="457189">
              <a:lnSpc>
                <a:spcPts val="825"/>
              </a:lnSpc>
              <a:buClr>
                <a:srgbClr val="007C54"/>
              </a:buClr>
              <a:defRPr/>
            </a:pPr>
            <a:r>
              <a:rPr lang="fr-FR" sz="750" b="1" kern="0" dirty="0">
                <a:solidFill>
                  <a:srgbClr val="0070C0"/>
                </a:solidFill>
                <a:latin typeface="Arial"/>
                <a:cs typeface="Arial" panose="020B0604020202020204" pitchFamily="34" charset="0"/>
              </a:rPr>
              <a:t>1. </a:t>
            </a:r>
            <a:r>
              <a:rPr lang="fr-FR" sz="750" dirty="0">
                <a:solidFill>
                  <a:srgbClr val="000000"/>
                </a:solidFill>
                <a:latin typeface="Arial"/>
              </a:rPr>
              <a:t>Supporting the evolution of low-carbon mobility by offering green and inclusive offers and services</a:t>
            </a:r>
          </a:p>
          <a:p>
            <a:pPr marL="133347" lvl="1" indent="-126203" defTabSz="457189">
              <a:lnSpc>
                <a:spcPts val="825"/>
              </a:lnSpc>
              <a:buClr>
                <a:srgbClr val="007C54"/>
              </a:buClr>
              <a:defRPr/>
            </a:pPr>
            <a:endParaRPr lang="fr-FR" sz="750" dirty="0">
              <a:solidFill>
                <a:srgbClr val="000000"/>
              </a:solidFill>
              <a:latin typeface="Arial"/>
            </a:endParaRPr>
          </a:p>
          <a:p>
            <a:pPr marL="133347" lvl="1" indent="-126203" defTabSz="457189">
              <a:lnSpc>
                <a:spcPts val="825"/>
              </a:lnSpc>
              <a:buClr>
                <a:srgbClr val="007C54"/>
              </a:buClr>
              <a:defRPr/>
            </a:pPr>
            <a:r>
              <a:rPr lang="fr-FR" sz="750" b="1" kern="0" dirty="0">
                <a:solidFill>
                  <a:srgbClr val="0070C0"/>
                </a:solidFill>
                <a:latin typeface="Arial"/>
                <a:cs typeface="Arial" panose="020B0604020202020204" pitchFamily="34" charset="0"/>
              </a:rPr>
              <a:t>2. </a:t>
            </a:r>
            <a:r>
              <a:rPr lang="fr-FR" sz="750" dirty="0">
                <a:solidFill>
                  <a:srgbClr val="000000"/>
                </a:solidFill>
                <a:latin typeface="Arial"/>
              </a:rPr>
              <a:t>Making energy </a:t>
            </a:r>
            <a:r>
              <a:rPr lang="fr-FR" sz="750" dirty="0" err="1">
                <a:solidFill>
                  <a:srgbClr val="000000"/>
                </a:solidFill>
                <a:latin typeface="Arial"/>
              </a:rPr>
              <a:t>renovation</a:t>
            </a:r>
            <a:r>
              <a:rPr lang="fr-FR" sz="750" dirty="0">
                <a:solidFill>
                  <a:srgbClr val="000000"/>
                </a:solidFill>
                <a:latin typeface="Arial"/>
              </a:rPr>
              <a:t> of </a:t>
            </a:r>
            <a:r>
              <a:rPr lang="fr-FR" sz="750" dirty="0" err="1">
                <a:solidFill>
                  <a:srgbClr val="000000"/>
                </a:solidFill>
                <a:latin typeface="Arial"/>
              </a:rPr>
              <a:t>housing</a:t>
            </a:r>
            <a:r>
              <a:rPr lang="fr-FR" sz="750" dirty="0">
                <a:solidFill>
                  <a:srgbClr val="000000"/>
                </a:solidFill>
                <a:latin typeface="Arial"/>
              </a:rPr>
              <a:t> accessible to the greatest number of people</a:t>
            </a:r>
          </a:p>
          <a:p>
            <a:pPr marL="133347" lvl="1" indent="-126203" defTabSz="457189">
              <a:lnSpc>
                <a:spcPts val="825"/>
              </a:lnSpc>
              <a:buClr>
                <a:srgbClr val="007C54"/>
              </a:buClr>
              <a:defRPr/>
            </a:pPr>
            <a:endParaRPr lang="fr-FR" sz="750" dirty="0">
              <a:solidFill>
                <a:srgbClr val="000000"/>
              </a:solidFill>
              <a:latin typeface="Arial"/>
            </a:endParaRPr>
          </a:p>
          <a:p>
            <a:pPr marL="133347" lvl="1" indent="-126203" defTabSz="457189">
              <a:lnSpc>
                <a:spcPts val="825"/>
              </a:lnSpc>
              <a:buClr>
                <a:srgbClr val="007C54"/>
              </a:buClr>
              <a:defRPr/>
            </a:pPr>
            <a:r>
              <a:rPr lang="fr-FR" sz="750" b="1" kern="0" dirty="0">
                <a:solidFill>
                  <a:srgbClr val="0070C0"/>
                </a:solidFill>
                <a:latin typeface="Arial"/>
                <a:cs typeface="Arial" panose="020B0604020202020204" pitchFamily="34" charset="0"/>
              </a:rPr>
              <a:t>3. </a:t>
            </a:r>
            <a:r>
              <a:rPr lang="fr-FR" sz="750" dirty="0">
                <a:solidFill>
                  <a:srgbClr val="000000"/>
                </a:solidFill>
                <a:latin typeface="Arial"/>
              </a:rPr>
              <a:t>Promoting access to sustainable and second-hand products </a:t>
            </a:r>
          </a:p>
          <a:p>
            <a:pPr marL="133347" lvl="1" indent="-126203" defTabSz="457189">
              <a:lnSpc>
                <a:spcPts val="825"/>
              </a:lnSpc>
              <a:buClr>
                <a:srgbClr val="007C54"/>
              </a:buClr>
              <a:defRPr/>
            </a:pPr>
            <a:endParaRPr lang="fr-FR" sz="750" dirty="0">
              <a:solidFill>
                <a:srgbClr val="000000"/>
              </a:solidFill>
              <a:latin typeface="Arial"/>
            </a:endParaRPr>
          </a:p>
          <a:p>
            <a:pPr marL="133347" lvl="1" indent="-126203" defTabSz="457189">
              <a:lnSpc>
                <a:spcPts val="825"/>
              </a:lnSpc>
              <a:buClr>
                <a:srgbClr val="007C54"/>
              </a:buClr>
              <a:defRPr/>
            </a:pPr>
            <a:r>
              <a:rPr lang="fr-FR" sz="750" b="1" kern="0" dirty="0">
                <a:solidFill>
                  <a:srgbClr val="0070C0"/>
                </a:solidFill>
                <a:latin typeface="Arial"/>
                <a:cs typeface="Arial" panose="020B0604020202020204" pitchFamily="34" charset="0"/>
              </a:rPr>
              <a:t>4. </a:t>
            </a:r>
            <a:r>
              <a:rPr lang="fr-FR" sz="750" dirty="0">
                <a:solidFill>
                  <a:srgbClr val="000000"/>
                </a:solidFill>
                <a:latin typeface="Arial"/>
              </a:rPr>
              <a:t>Reduce the direct carbon footprint of our activities (-25% by 2025; -50% by 2030)</a:t>
            </a:r>
          </a:p>
        </p:txBody>
      </p:sp>
      <p:sp>
        <p:nvSpPr>
          <p:cNvPr id="67" name="Rectangle 66">
            <a:extLst>
              <a:ext uri="{FF2B5EF4-FFF2-40B4-BE49-F238E27FC236}">
                <a16:creationId xmlns:a16="http://schemas.microsoft.com/office/drawing/2014/main" id="{16BA1619-10D2-FB0C-CFE7-8A0F23E6355C}"/>
              </a:ext>
            </a:extLst>
          </p:cNvPr>
          <p:cNvSpPr/>
          <p:nvPr/>
        </p:nvSpPr>
        <p:spPr>
          <a:xfrm>
            <a:off x="3492000" y="2086214"/>
            <a:ext cx="2160000" cy="2534603"/>
          </a:xfrm>
          <a:prstGeom prst="rect">
            <a:avLst/>
          </a:prstGeom>
          <a:solidFill>
            <a:schemeClr val="bg1">
              <a:alpha val="79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66" name="Ellipse 65">
            <a:extLst>
              <a:ext uri="{FF2B5EF4-FFF2-40B4-BE49-F238E27FC236}">
                <a16:creationId xmlns:a16="http://schemas.microsoft.com/office/drawing/2014/main" id="{C65167D3-D225-232B-6AF2-77B7137CF6E4}"/>
              </a:ext>
            </a:extLst>
          </p:cNvPr>
          <p:cNvSpPr/>
          <p:nvPr/>
        </p:nvSpPr>
        <p:spPr>
          <a:xfrm>
            <a:off x="3791848" y="1048156"/>
            <a:ext cx="1548410" cy="1548410"/>
          </a:xfrm>
          <a:prstGeom prst="ellipse">
            <a:avLst/>
          </a:prstGeom>
          <a:solidFill>
            <a:schemeClr val="accent6">
              <a:lumMod val="60000"/>
              <a:lumOff val="40000"/>
            </a:schemeClr>
          </a:solidFill>
          <a:ln w="9525" cap="rnd" cmpd="sng" algn="ctr">
            <a:noFill/>
            <a:prstDash val="solid"/>
            <a:round/>
            <a:headEnd type="none" w="med" len="med"/>
            <a:tailEnd type="none" w="med" len="me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9" name="Rectangle 18"/>
          <p:cNvSpPr/>
          <p:nvPr/>
        </p:nvSpPr>
        <p:spPr>
          <a:xfrm>
            <a:off x="3873258" y="1458575"/>
            <a:ext cx="1385593" cy="727575"/>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783">
              <a:lnSpc>
                <a:spcPts val="1395"/>
              </a:lnSpc>
              <a:defRPr/>
            </a:pPr>
            <a:r>
              <a:rPr lang="fr-FR" sz="1350" b="1" kern="0" dirty="0" err="1">
                <a:solidFill>
                  <a:prstClr val="white"/>
                </a:solidFill>
                <a:latin typeface="Arial"/>
                <a:cs typeface="Arial" panose="020B0604020202020204" pitchFamily="34" charset="0"/>
              </a:rPr>
              <a:t>reinforcing</a:t>
            </a:r>
            <a:r>
              <a:rPr lang="fr-FR" sz="1350" b="1" kern="0" dirty="0">
                <a:solidFill>
                  <a:prstClr val="white"/>
                </a:solidFill>
                <a:latin typeface="Arial"/>
                <a:cs typeface="Arial" panose="020B0604020202020204" pitchFamily="34" charset="0"/>
              </a:rPr>
              <a:t> cohesion and social inclusion</a:t>
            </a:r>
          </a:p>
        </p:txBody>
      </p:sp>
      <p:sp>
        <p:nvSpPr>
          <p:cNvPr id="38" name="Rectangle 37"/>
          <p:cNvSpPr/>
          <p:nvPr/>
        </p:nvSpPr>
        <p:spPr>
          <a:xfrm>
            <a:off x="3606110" y="2950586"/>
            <a:ext cx="1960947" cy="1485071"/>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33347" indent="-133347" defTabSz="685783">
              <a:lnSpc>
                <a:spcPts val="825"/>
              </a:lnSpc>
              <a:buClr>
                <a:srgbClr val="7030A0"/>
              </a:buClr>
              <a:defRPr/>
            </a:pPr>
            <a:r>
              <a:rPr lang="fr-FR" sz="750" b="1" kern="0" dirty="0">
                <a:solidFill>
                  <a:srgbClr val="00B0F0"/>
                </a:solidFill>
                <a:latin typeface="Arial"/>
                <a:cs typeface="Arial" panose="020B0604020202020204" pitchFamily="34" charset="0"/>
              </a:rPr>
              <a:t>1.</a:t>
            </a:r>
            <a:r>
              <a:rPr lang="fr-FR" sz="750" kern="0" dirty="0">
                <a:solidFill>
                  <a:prstClr val="black"/>
                </a:solidFill>
                <a:latin typeface="Arial"/>
                <a:cs typeface="Arial" panose="020B0604020202020204" pitchFamily="34" charset="0"/>
              </a:rPr>
              <a:t> Make the credit accessible to as many people as possible and offer solutions to all our customers</a:t>
            </a:r>
          </a:p>
          <a:p>
            <a:pPr marL="133347" indent="-133347" defTabSz="685783">
              <a:lnSpc>
                <a:spcPts val="825"/>
              </a:lnSpc>
              <a:buClr>
                <a:srgbClr val="7030A0"/>
              </a:buClr>
              <a:defRPr/>
            </a:pPr>
            <a:endParaRPr lang="fr-FR" sz="750" kern="0" dirty="0">
              <a:solidFill>
                <a:prstClr val="black"/>
              </a:solidFill>
              <a:latin typeface="Arial"/>
              <a:cs typeface="Arial" panose="020B0604020202020204" pitchFamily="34" charset="0"/>
            </a:endParaRPr>
          </a:p>
          <a:p>
            <a:pPr marL="133347" indent="-133347" defTabSz="685783">
              <a:lnSpc>
                <a:spcPts val="825"/>
              </a:lnSpc>
              <a:buClr>
                <a:srgbClr val="7030A0"/>
              </a:buClr>
              <a:defRPr/>
            </a:pPr>
            <a:r>
              <a:rPr lang="fr-FR" sz="750" b="1" kern="0" dirty="0">
                <a:solidFill>
                  <a:srgbClr val="00B0F0"/>
                </a:solidFill>
                <a:latin typeface="Arial"/>
                <a:cs typeface="Arial" panose="020B0604020202020204" pitchFamily="34" charset="0"/>
              </a:rPr>
              <a:t>2.	</a:t>
            </a:r>
            <a:r>
              <a:rPr lang="fr-FR" sz="750" kern="0" dirty="0">
                <a:solidFill>
                  <a:prstClr val="black"/>
                </a:solidFill>
                <a:latin typeface="Arial"/>
                <a:cs typeface="Arial" panose="020B0604020202020204" pitchFamily="34" charset="0"/>
              </a:rPr>
              <a:t>· Prevent and support our most</a:t>
            </a:r>
            <a:br>
              <a:rPr lang="fr-FR" sz="750" kern="0" dirty="0">
                <a:solidFill>
                  <a:prstClr val="black"/>
                </a:solidFill>
                <a:latin typeface="Arial"/>
                <a:cs typeface="Arial" panose="020B0604020202020204" pitchFamily="34" charset="0"/>
              </a:rPr>
            </a:br>
            <a:r>
              <a:rPr lang="fr-FR" sz="750" kern="0" dirty="0">
                <a:solidFill>
                  <a:prstClr val="black"/>
                </a:solidFill>
                <a:latin typeface="Arial"/>
                <a:cs typeface="Arial" panose="020B0604020202020204" pitchFamily="34" charset="0"/>
              </a:rPr>
              <a:t> fragile customers</a:t>
            </a:r>
          </a:p>
          <a:p>
            <a:pPr marL="133347" indent="-133347" defTabSz="685783">
              <a:lnSpc>
                <a:spcPts val="825"/>
              </a:lnSpc>
              <a:buClr>
                <a:srgbClr val="7030A0"/>
              </a:buClr>
              <a:defRPr/>
            </a:pPr>
            <a:r>
              <a:rPr lang="fr-FR" sz="750" kern="0" dirty="0">
                <a:solidFill>
                  <a:prstClr val="black"/>
                </a:solidFill>
                <a:latin typeface="Arial"/>
                <a:cs typeface="Arial" panose="020B0604020202020204" pitchFamily="34" charset="0"/>
              </a:rPr>
              <a:t>	· Raise awareness of budget education, </a:t>
            </a:r>
          </a:p>
          <a:p>
            <a:pPr marL="133347" indent="-133347" defTabSz="685783">
              <a:lnSpc>
                <a:spcPts val="825"/>
              </a:lnSpc>
              <a:buClr>
                <a:srgbClr val="7030A0"/>
              </a:buClr>
              <a:defRPr/>
            </a:pPr>
            <a:endParaRPr lang="fr-FR" sz="750" kern="0" dirty="0">
              <a:solidFill>
                <a:prstClr val="black"/>
              </a:solidFill>
              <a:latin typeface="Arial"/>
              <a:cs typeface="Arial" panose="020B0604020202020204" pitchFamily="34" charset="0"/>
            </a:endParaRPr>
          </a:p>
          <a:p>
            <a:pPr marL="133347" indent="-133347" defTabSz="685783">
              <a:lnSpc>
                <a:spcPts val="825"/>
              </a:lnSpc>
              <a:buClr>
                <a:srgbClr val="7030A0"/>
              </a:buClr>
              <a:defRPr/>
            </a:pPr>
            <a:r>
              <a:rPr lang="fr-FR" sz="750" b="1" kern="0" dirty="0">
                <a:solidFill>
                  <a:srgbClr val="00B0F0"/>
                </a:solidFill>
                <a:latin typeface="Arial"/>
                <a:cs typeface="Arial" panose="020B0604020202020204" pitchFamily="34" charset="0"/>
              </a:rPr>
              <a:t>3.</a:t>
            </a:r>
            <a:r>
              <a:rPr lang="fr-FR" sz="750" kern="0" dirty="0">
                <a:solidFill>
                  <a:prstClr val="black"/>
                </a:solidFill>
                <a:latin typeface="Arial"/>
                <a:cs typeface="Arial" panose="020B0604020202020204" pitchFamily="34" charset="0"/>
              </a:rPr>
              <a:t> Acting for equal opportunities: fostering the integration of young people and </a:t>
            </a:r>
            <a:r>
              <a:rPr lang="fr-FR" sz="750" kern="0" dirty="0" err="1">
                <a:solidFill>
                  <a:prstClr val="black"/>
                </a:solidFill>
                <a:latin typeface="Arial"/>
                <a:cs typeface="Arial" panose="020B0604020202020204" pitchFamily="34" charset="0"/>
              </a:rPr>
              <a:t>increasing</a:t>
            </a:r>
            <a:r>
              <a:rPr lang="fr-FR" sz="750" kern="0" dirty="0">
                <a:solidFill>
                  <a:prstClr val="black"/>
                </a:solidFill>
                <a:latin typeface="Arial"/>
                <a:cs typeface="Arial" panose="020B0604020202020204" pitchFamily="34" charset="0"/>
              </a:rPr>
              <a:t>  the </a:t>
            </a:r>
            <a:r>
              <a:rPr lang="fr-FR" sz="750" kern="0" dirty="0" err="1">
                <a:solidFill>
                  <a:prstClr val="black"/>
                </a:solidFill>
                <a:latin typeface="Arial"/>
                <a:cs typeface="Arial" panose="020B0604020202020204" pitchFamily="34" charset="0"/>
              </a:rPr>
              <a:t>diversities</a:t>
            </a:r>
            <a:r>
              <a:rPr lang="fr-FR" sz="750" kern="0" dirty="0">
                <a:solidFill>
                  <a:prstClr val="black"/>
                </a:solidFill>
                <a:latin typeface="Arial"/>
                <a:cs typeface="Arial" panose="020B0604020202020204" pitchFamily="34" charset="0"/>
              </a:rPr>
              <a:t> </a:t>
            </a:r>
          </a:p>
          <a:p>
            <a:pPr marL="133347" indent="-133347" defTabSz="685783">
              <a:lnSpc>
                <a:spcPts val="825"/>
              </a:lnSpc>
              <a:buClr>
                <a:srgbClr val="7030A0"/>
              </a:buClr>
              <a:defRPr/>
            </a:pPr>
            <a:endParaRPr lang="fr-FR" sz="750" kern="0" dirty="0">
              <a:solidFill>
                <a:prstClr val="black"/>
              </a:solidFill>
              <a:latin typeface="Arial"/>
              <a:cs typeface="Arial" panose="020B0604020202020204" pitchFamily="34" charset="0"/>
            </a:endParaRPr>
          </a:p>
          <a:p>
            <a:pPr marL="133347" indent="-133347" defTabSz="685783">
              <a:lnSpc>
                <a:spcPts val="825"/>
              </a:lnSpc>
              <a:buClr>
                <a:srgbClr val="7030A0"/>
              </a:buClr>
              <a:defRPr/>
            </a:pPr>
            <a:r>
              <a:rPr lang="fr-FR" sz="750" b="1" kern="0" dirty="0">
                <a:solidFill>
                  <a:srgbClr val="00B0F0"/>
                </a:solidFill>
                <a:latin typeface="Arial"/>
                <a:cs typeface="Arial" panose="020B0604020202020204" pitchFamily="34" charset="0"/>
              </a:rPr>
              <a:t>4. </a:t>
            </a:r>
            <a:r>
              <a:rPr lang="fr-FR" sz="750" kern="0" dirty="0">
                <a:solidFill>
                  <a:prstClr val="black"/>
                </a:solidFill>
                <a:latin typeface="Arial"/>
                <a:cs typeface="Arial" panose="020B0604020202020204" pitchFamily="34" charset="0"/>
              </a:rPr>
              <a:t>To be a reference actor of solidarity in our territories</a:t>
            </a:r>
          </a:p>
          <a:p>
            <a:pPr marL="100010" indent="-100010" defTabSz="685783">
              <a:lnSpc>
                <a:spcPts val="825"/>
              </a:lnSpc>
              <a:defRPr/>
            </a:pPr>
            <a:endParaRPr lang="fr-FR" sz="750" kern="0" dirty="0">
              <a:solidFill>
                <a:prstClr val="black"/>
              </a:solidFill>
              <a:latin typeface="Arial"/>
              <a:cs typeface="Arial" panose="020B0604020202020204" pitchFamily="34" charset="0"/>
            </a:endParaRPr>
          </a:p>
        </p:txBody>
      </p:sp>
      <p:grpSp>
        <p:nvGrpSpPr>
          <p:cNvPr id="79" name="Groupe 78">
            <a:extLst>
              <a:ext uri="{FF2B5EF4-FFF2-40B4-BE49-F238E27FC236}">
                <a16:creationId xmlns:a16="http://schemas.microsoft.com/office/drawing/2014/main" id="{A6828F6B-E970-B2BE-16E6-CCA4FA97C6BB}"/>
              </a:ext>
            </a:extLst>
          </p:cNvPr>
          <p:cNvGrpSpPr/>
          <p:nvPr/>
        </p:nvGrpSpPr>
        <p:grpSpPr>
          <a:xfrm rot="5400000">
            <a:off x="4415770" y="2465413"/>
            <a:ext cx="300566" cy="300566"/>
            <a:chOff x="4112336" y="3491610"/>
            <a:chExt cx="768763" cy="768763"/>
          </a:xfrm>
        </p:grpSpPr>
        <p:sp>
          <p:nvSpPr>
            <p:cNvPr id="80" name="Ellipse 79">
              <a:extLst>
                <a:ext uri="{FF2B5EF4-FFF2-40B4-BE49-F238E27FC236}">
                  <a16:creationId xmlns:a16="http://schemas.microsoft.com/office/drawing/2014/main" id="{3AC7710E-6636-57AF-0839-FA5A31D6087A}"/>
                </a:ext>
              </a:extLst>
            </p:cNvPr>
            <p:cNvSpPr/>
            <p:nvPr/>
          </p:nvSpPr>
          <p:spPr>
            <a:xfrm rot="16200000">
              <a:off x="4112336" y="3491610"/>
              <a:ext cx="768763" cy="768763"/>
            </a:xfrm>
            <a:prstGeom prst="ellipse">
              <a:avLst/>
            </a:prstGeom>
            <a:solidFill>
              <a:srgbClr val="E3061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81" name="Graphique 47">
              <a:extLst>
                <a:ext uri="{FF2B5EF4-FFF2-40B4-BE49-F238E27FC236}">
                  <a16:creationId xmlns:a16="http://schemas.microsoft.com/office/drawing/2014/main" id="{8A46BC49-7C76-10BE-170D-6BBAA4C71C52}"/>
                </a:ext>
              </a:extLst>
            </p:cNvPr>
            <p:cNvSpPr/>
            <p:nvPr/>
          </p:nvSpPr>
          <p:spPr>
            <a:xfrm>
              <a:off x="4329328" y="3765027"/>
              <a:ext cx="334779" cy="246710"/>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sp>
        <p:nvSpPr>
          <p:cNvPr id="68" name="Rectangle 67">
            <a:extLst>
              <a:ext uri="{FF2B5EF4-FFF2-40B4-BE49-F238E27FC236}">
                <a16:creationId xmlns:a16="http://schemas.microsoft.com/office/drawing/2014/main" id="{9B506DB2-C736-790A-B9F1-1BE29CFE03F3}"/>
              </a:ext>
            </a:extLst>
          </p:cNvPr>
          <p:cNvSpPr/>
          <p:nvPr/>
        </p:nvSpPr>
        <p:spPr>
          <a:xfrm>
            <a:off x="6057159" y="2086214"/>
            <a:ext cx="2160000" cy="2534603"/>
          </a:xfrm>
          <a:prstGeom prst="rect">
            <a:avLst/>
          </a:prstGeom>
          <a:solidFill>
            <a:schemeClr val="bg1">
              <a:alpha val="79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69" name="Ellipse 68">
            <a:extLst>
              <a:ext uri="{FF2B5EF4-FFF2-40B4-BE49-F238E27FC236}">
                <a16:creationId xmlns:a16="http://schemas.microsoft.com/office/drawing/2014/main" id="{17108616-BEA6-6259-99C6-6E69CA14E08B}"/>
              </a:ext>
            </a:extLst>
          </p:cNvPr>
          <p:cNvSpPr/>
          <p:nvPr/>
        </p:nvSpPr>
        <p:spPr>
          <a:xfrm>
            <a:off x="6362955" y="1048156"/>
            <a:ext cx="1548410" cy="1548410"/>
          </a:xfrm>
          <a:prstGeom prst="ellipse">
            <a:avLst/>
          </a:prstGeom>
          <a:solidFill>
            <a:schemeClr val="accent6">
              <a:lumMod val="40000"/>
              <a:lumOff val="60000"/>
            </a:schemeClr>
          </a:solidFill>
          <a:ln w="9525" cap="rnd" cmpd="sng" algn="ctr">
            <a:noFill/>
            <a:prstDash val="solid"/>
            <a:round/>
            <a:headEnd type="none" w="med" len="med"/>
            <a:tailEnd type="none" w="med" len="me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62" name="Rectangle 61">
            <a:extLst>
              <a:ext uri="{FF2B5EF4-FFF2-40B4-BE49-F238E27FC236}">
                <a16:creationId xmlns:a16="http://schemas.microsoft.com/office/drawing/2014/main" id="{13C106E7-20F9-F654-5B32-366C17F83A46}"/>
              </a:ext>
            </a:extLst>
          </p:cNvPr>
          <p:cNvSpPr/>
          <p:nvPr/>
        </p:nvSpPr>
        <p:spPr>
          <a:xfrm>
            <a:off x="6544206" y="1405021"/>
            <a:ext cx="1287466" cy="787897"/>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783">
              <a:lnSpc>
                <a:spcPts val="1395"/>
              </a:lnSpc>
              <a:defRPr/>
            </a:pPr>
            <a:r>
              <a:rPr lang="fr-FR" sz="1350" b="1" kern="0" dirty="0">
                <a:solidFill>
                  <a:prstClr val="white"/>
                </a:solidFill>
                <a:latin typeface="Arial"/>
                <a:cs typeface="Arial" panose="020B0604020202020204" pitchFamily="34" charset="0"/>
              </a:rPr>
              <a:t>Successful transitions</a:t>
            </a:r>
          </a:p>
          <a:p>
            <a:pPr algn="ctr" defTabSz="685783">
              <a:lnSpc>
                <a:spcPts val="1395"/>
              </a:lnSpc>
              <a:defRPr/>
            </a:pPr>
            <a:r>
              <a:rPr lang="fr-FR" sz="1350" b="1" kern="0" dirty="0" err="1">
                <a:solidFill>
                  <a:prstClr val="white"/>
                </a:solidFill>
                <a:latin typeface="Arial"/>
                <a:cs typeface="Arial" panose="020B0604020202020204" pitchFamily="34" charset="0"/>
              </a:rPr>
              <a:t>agricultural</a:t>
            </a:r>
            <a:r>
              <a:rPr lang="fr-FR" sz="1350" b="1" kern="0" dirty="0">
                <a:solidFill>
                  <a:prstClr val="white"/>
                </a:solidFill>
                <a:latin typeface="Arial"/>
                <a:cs typeface="Arial" panose="020B0604020202020204" pitchFamily="34" charset="0"/>
              </a:rPr>
              <a:t> and</a:t>
            </a:r>
          </a:p>
          <a:p>
            <a:pPr algn="ctr" defTabSz="685783">
              <a:lnSpc>
                <a:spcPts val="1395"/>
              </a:lnSpc>
              <a:defRPr/>
            </a:pPr>
            <a:r>
              <a:rPr lang="fr-FR" sz="1350" b="1" kern="0" dirty="0" err="1">
                <a:solidFill>
                  <a:prstClr val="white"/>
                </a:solidFill>
                <a:latin typeface="Arial"/>
                <a:cs typeface="Arial" panose="020B0604020202020204" pitchFamily="34" charset="0"/>
              </a:rPr>
              <a:t>agro-alimentary</a:t>
            </a:r>
            <a:endParaRPr lang="fr-FR" sz="1350" b="1" kern="0" dirty="0">
              <a:solidFill>
                <a:prstClr val="white"/>
              </a:solidFill>
              <a:latin typeface="Arial"/>
              <a:cs typeface="Arial" panose="020B0604020202020204" pitchFamily="34" charset="0"/>
            </a:endParaRPr>
          </a:p>
          <a:p>
            <a:pPr algn="ctr" defTabSz="685783">
              <a:lnSpc>
                <a:spcPts val="1395"/>
              </a:lnSpc>
              <a:defRPr/>
            </a:pPr>
            <a:endParaRPr lang="fr-FR" sz="1350" b="1" kern="0" dirty="0">
              <a:solidFill>
                <a:prstClr val="white"/>
              </a:solidFill>
              <a:latin typeface="Arial"/>
              <a:cs typeface="Arial" panose="020B0604020202020204" pitchFamily="34" charset="0"/>
            </a:endParaRPr>
          </a:p>
        </p:txBody>
      </p:sp>
      <p:sp>
        <p:nvSpPr>
          <p:cNvPr id="39" name="Rectangle 38"/>
          <p:cNvSpPr/>
          <p:nvPr/>
        </p:nvSpPr>
        <p:spPr>
          <a:xfrm>
            <a:off x="6173917" y="2950586"/>
            <a:ext cx="1966230" cy="411748"/>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33347" lvl="1" indent="-128585" defTabSz="457189">
              <a:lnSpc>
                <a:spcPts val="825"/>
              </a:lnSpc>
              <a:buClr>
                <a:srgbClr val="00B0F0"/>
              </a:buClr>
              <a:defRPr/>
            </a:pPr>
            <a:r>
              <a:rPr lang="fr-FR" sz="750" b="1" kern="0" dirty="0">
                <a:solidFill>
                  <a:srgbClr val="00B0F0"/>
                </a:solidFill>
                <a:latin typeface="Arial"/>
                <a:cs typeface="Arial" panose="020B0604020202020204" pitchFamily="34" charset="0"/>
              </a:rPr>
              <a:t>1.</a:t>
            </a:r>
            <a:r>
              <a:rPr lang="fr-FR" sz="750" dirty="0">
                <a:solidFill>
                  <a:srgbClr val="000000"/>
                </a:solidFill>
                <a:latin typeface="Arial"/>
              </a:rPr>
              <a:t>Support low-carbon agricultural initiatives that enable the carbon compensation of CACF</a:t>
            </a:r>
          </a:p>
        </p:txBody>
      </p:sp>
      <p:grpSp>
        <p:nvGrpSpPr>
          <p:cNvPr id="82" name="Groupe 81">
            <a:extLst>
              <a:ext uri="{FF2B5EF4-FFF2-40B4-BE49-F238E27FC236}">
                <a16:creationId xmlns:a16="http://schemas.microsoft.com/office/drawing/2014/main" id="{FC9364C5-2FA3-A444-4B3C-8C272ACAE7EA}"/>
              </a:ext>
            </a:extLst>
          </p:cNvPr>
          <p:cNvGrpSpPr/>
          <p:nvPr/>
        </p:nvGrpSpPr>
        <p:grpSpPr>
          <a:xfrm rot="5400000">
            <a:off x="7010722" y="2465412"/>
            <a:ext cx="300566" cy="300566"/>
            <a:chOff x="4112336" y="3491610"/>
            <a:chExt cx="768763" cy="768763"/>
          </a:xfrm>
        </p:grpSpPr>
        <p:sp>
          <p:nvSpPr>
            <p:cNvPr id="83" name="Ellipse 82">
              <a:extLst>
                <a:ext uri="{FF2B5EF4-FFF2-40B4-BE49-F238E27FC236}">
                  <a16:creationId xmlns:a16="http://schemas.microsoft.com/office/drawing/2014/main" id="{39285669-3603-0C81-A894-AD1037901841}"/>
                </a:ext>
              </a:extLst>
            </p:cNvPr>
            <p:cNvSpPr/>
            <p:nvPr/>
          </p:nvSpPr>
          <p:spPr>
            <a:xfrm rot="16200000">
              <a:off x="4112336" y="3491610"/>
              <a:ext cx="768763" cy="768763"/>
            </a:xfrm>
            <a:prstGeom prst="ellipse">
              <a:avLst/>
            </a:prstGeom>
            <a:solidFill>
              <a:srgbClr val="E3061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84" name="Graphique 47">
              <a:extLst>
                <a:ext uri="{FF2B5EF4-FFF2-40B4-BE49-F238E27FC236}">
                  <a16:creationId xmlns:a16="http://schemas.microsoft.com/office/drawing/2014/main" id="{D4820077-7C5B-E60C-B8AC-4292D31229C4}"/>
                </a:ext>
              </a:extLst>
            </p:cNvPr>
            <p:cNvSpPr/>
            <p:nvPr/>
          </p:nvSpPr>
          <p:spPr>
            <a:xfrm>
              <a:off x="4329328" y="3765027"/>
              <a:ext cx="334779" cy="246710"/>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sp>
        <p:nvSpPr>
          <p:cNvPr id="12" name="Titre 1">
            <a:extLst>
              <a:ext uri="{FF2B5EF4-FFF2-40B4-BE49-F238E27FC236}">
                <a16:creationId xmlns:a16="http://schemas.microsoft.com/office/drawing/2014/main" id="{A70F9FD2-0DA0-5B24-7466-654F08F130F4}"/>
              </a:ext>
            </a:extLst>
          </p:cNvPr>
          <p:cNvSpPr txBox="1">
            <a:spLocks/>
          </p:cNvSpPr>
          <p:nvPr/>
        </p:nvSpPr>
        <p:spPr>
          <a:xfrm>
            <a:off x="898851" y="266971"/>
            <a:ext cx="7804252" cy="5816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7E93A5"/>
                </a:solidFill>
                <a:latin typeface="+mj-lt"/>
                <a:ea typeface="+mj-ea"/>
                <a:cs typeface="+mj-cs"/>
                <a:sym typeface="+mj-lt"/>
              </a:defRPr>
            </a:lvl1pPr>
          </a:lstStyle>
          <a:p>
            <a:pPr defTabSz="914378"/>
            <a:r>
              <a:rPr lang="fr-FR" sz="2100" dirty="0">
                <a:solidFill>
                  <a:prstClr val="black"/>
                </a:solidFill>
                <a:latin typeface="Avenir Next LT Pro"/>
              </a:rPr>
              <a:t>We want to put all our </a:t>
            </a:r>
            <a:r>
              <a:rPr lang="fr-FR" sz="2100" dirty="0">
                <a:solidFill>
                  <a:srgbClr val="0070C0"/>
                </a:solidFill>
                <a:latin typeface="Avenir Next LT Pro"/>
              </a:rPr>
              <a:t>CSR</a:t>
            </a:r>
            <a:r>
              <a:rPr lang="fr-FR" sz="2100" dirty="0">
                <a:solidFill>
                  <a:prstClr val="black"/>
                </a:solidFill>
                <a:latin typeface="Avenir Next LT Pro"/>
              </a:rPr>
              <a:t> action</a:t>
            </a:r>
            <a:r>
              <a:rPr lang="fr-FR" sz="2100" dirty="0">
                <a:solidFill>
                  <a:srgbClr val="0070C0"/>
                </a:solidFill>
                <a:latin typeface="Avenir Next LT Pro"/>
              </a:rPr>
              <a:t> at the heart of the business and of the </a:t>
            </a:r>
            <a:r>
              <a:rPr lang="fr-FR" sz="2100" dirty="0" err="1">
                <a:solidFill>
                  <a:srgbClr val="0070C0"/>
                </a:solidFill>
                <a:latin typeface="Avenir Next LT Pro"/>
              </a:rPr>
              <a:t>Group's</a:t>
            </a:r>
            <a:r>
              <a:rPr lang="fr-FR" sz="2100" dirty="0">
                <a:solidFill>
                  <a:srgbClr val="0070C0"/>
                </a:solidFill>
                <a:latin typeface="Avenir Next LT Pro"/>
              </a:rPr>
              <a:t> </a:t>
            </a:r>
            <a:r>
              <a:rPr lang="fr-FR" sz="2100" dirty="0" err="1">
                <a:solidFill>
                  <a:srgbClr val="0070C0"/>
                </a:solidFill>
                <a:latin typeface="Avenir Next LT Pro"/>
              </a:rPr>
              <a:t>societal</a:t>
            </a:r>
            <a:r>
              <a:rPr lang="fr-FR" sz="2100" dirty="0">
                <a:solidFill>
                  <a:srgbClr val="0070C0"/>
                </a:solidFill>
                <a:latin typeface="Avenir Next LT Pro"/>
              </a:rPr>
              <a:t> Project</a:t>
            </a:r>
          </a:p>
        </p:txBody>
      </p:sp>
      <p:grpSp>
        <p:nvGrpSpPr>
          <p:cNvPr id="20" name="Groupe 19">
            <a:extLst>
              <a:ext uri="{FF2B5EF4-FFF2-40B4-BE49-F238E27FC236}">
                <a16:creationId xmlns:a16="http://schemas.microsoft.com/office/drawing/2014/main" id="{BA6B5853-98F3-7F25-7C7D-88ECA061B014}"/>
              </a:ext>
            </a:extLst>
          </p:cNvPr>
          <p:cNvGrpSpPr/>
          <p:nvPr/>
        </p:nvGrpSpPr>
        <p:grpSpPr>
          <a:xfrm>
            <a:off x="1017400" y="998604"/>
            <a:ext cx="453434" cy="453433"/>
            <a:chOff x="869553" y="4445740"/>
            <a:chExt cx="1427725" cy="1427724"/>
          </a:xfrm>
        </p:grpSpPr>
        <p:grpSp>
          <p:nvGrpSpPr>
            <p:cNvPr id="21" name="Groupe 20">
              <a:extLst>
                <a:ext uri="{FF2B5EF4-FFF2-40B4-BE49-F238E27FC236}">
                  <a16:creationId xmlns:a16="http://schemas.microsoft.com/office/drawing/2014/main" id="{FAC107B4-B469-DBA9-24AB-599A5D9311E0}"/>
                </a:ext>
              </a:extLst>
            </p:cNvPr>
            <p:cNvGrpSpPr/>
            <p:nvPr/>
          </p:nvGrpSpPr>
          <p:grpSpPr>
            <a:xfrm>
              <a:off x="869553" y="4445740"/>
              <a:ext cx="1427724" cy="1427724"/>
              <a:chOff x="1551775" y="4785912"/>
              <a:chExt cx="780288" cy="780288"/>
            </a:xfrm>
          </p:grpSpPr>
          <p:sp>
            <p:nvSpPr>
              <p:cNvPr id="23" name="Ellipse 22">
                <a:extLst>
                  <a:ext uri="{FF2B5EF4-FFF2-40B4-BE49-F238E27FC236}">
                    <a16:creationId xmlns:a16="http://schemas.microsoft.com/office/drawing/2014/main" id="{40E4F97C-B7B7-7C75-58D4-421637F76C35}"/>
                  </a:ext>
                </a:extLst>
              </p:cNvPr>
              <p:cNvSpPr/>
              <p:nvPr/>
            </p:nvSpPr>
            <p:spPr>
              <a:xfrm>
                <a:off x="1551775" y="4785912"/>
                <a:ext cx="780288" cy="780288"/>
              </a:xfrm>
              <a:prstGeom prst="ellipse">
                <a:avLst/>
              </a:prstGeom>
              <a:solidFill>
                <a:schemeClr val="bg1"/>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24" name="Ellipse 23">
                <a:extLst>
                  <a:ext uri="{FF2B5EF4-FFF2-40B4-BE49-F238E27FC236}">
                    <a16:creationId xmlns:a16="http://schemas.microsoft.com/office/drawing/2014/main" id="{C2B83DE9-5684-A075-E522-0825DBD7B6D1}"/>
                  </a:ext>
                </a:extLst>
              </p:cNvPr>
              <p:cNvSpPr/>
              <p:nvPr/>
            </p:nvSpPr>
            <p:spPr>
              <a:xfrm>
                <a:off x="1698473" y="4932564"/>
                <a:ext cx="486891" cy="486892"/>
              </a:xfrm>
              <a:prstGeom prst="ellips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sp>
          <p:nvSpPr>
            <p:cNvPr id="22" name="ZoneTexte 21">
              <a:extLst>
                <a:ext uri="{FF2B5EF4-FFF2-40B4-BE49-F238E27FC236}">
                  <a16:creationId xmlns:a16="http://schemas.microsoft.com/office/drawing/2014/main" id="{31317EB9-DF1E-89D0-7E49-615B772D1215}"/>
                </a:ext>
              </a:extLst>
            </p:cNvPr>
            <p:cNvSpPr txBox="1"/>
            <p:nvPr/>
          </p:nvSpPr>
          <p:spPr>
            <a:xfrm>
              <a:off x="869553" y="4911133"/>
              <a:ext cx="1427725" cy="7478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lvl="1" algn="ctr" defTabSz="457189">
                <a:lnSpc>
                  <a:spcPts val="1050"/>
                </a:lnSpc>
                <a:buClr>
                  <a:srgbClr val="007C54"/>
                </a:buClr>
                <a:defRPr/>
              </a:pPr>
              <a:r>
                <a:rPr lang="fr-FR" sz="1350" b="1" dirty="0">
                  <a:solidFill>
                    <a:prstClr val="white"/>
                  </a:solidFill>
                  <a:latin typeface="Arial"/>
                </a:rPr>
                <a:t>A</a:t>
              </a:r>
            </a:p>
          </p:txBody>
        </p:sp>
      </p:grpSp>
      <p:grpSp>
        <p:nvGrpSpPr>
          <p:cNvPr id="25" name="Groupe 24">
            <a:extLst>
              <a:ext uri="{FF2B5EF4-FFF2-40B4-BE49-F238E27FC236}">
                <a16:creationId xmlns:a16="http://schemas.microsoft.com/office/drawing/2014/main" id="{FDA03384-A01C-7889-1CA0-A9E16363D998}"/>
              </a:ext>
            </a:extLst>
          </p:cNvPr>
          <p:cNvGrpSpPr/>
          <p:nvPr/>
        </p:nvGrpSpPr>
        <p:grpSpPr>
          <a:xfrm>
            <a:off x="6232465" y="998604"/>
            <a:ext cx="453434" cy="453433"/>
            <a:chOff x="869553" y="4445740"/>
            <a:chExt cx="1427725" cy="1427724"/>
          </a:xfrm>
        </p:grpSpPr>
        <p:grpSp>
          <p:nvGrpSpPr>
            <p:cNvPr id="26" name="Groupe 25">
              <a:extLst>
                <a:ext uri="{FF2B5EF4-FFF2-40B4-BE49-F238E27FC236}">
                  <a16:creationId xmlns:a16="http://schemas.microsoft.com/office/drawing/2014/main" id="{9422A349-8179-A5BE-DE00-425DC0FEDCFD}"/>
                </a:ext>
              </a:extLst>
            </p:cNvPr>
            <p:cNvGrpSpPr/>
            <p:nvPr/>
          </p:nvGrpSpPr>
          <p:grpSpPr>
            <a:xfrm>
              <a:off x="869553" y="4445740"/>
              <a:ext cx="1427724" cy="1427724"/>
              <a:chOff x="1551775" y="4785912"/>
              <a:chExt cx="780288" cy="780288"/>
            </a:xfrm>
          </p:grpSpPr>
          <p:sp>
            <p:nvSpPr>
              <p:cNvPr id="28" name="Ellipse 27">
                <a:extLst>
                  <a:ext uri="{FF2B5EF4-FFF2-40B4-BE49-F238E27FC236}">
                    <a16:creationId xmlns:a16="http://schemas.microsoft.com/office/drawing/2014/main" id="{3F0C56D1-69E5-4927-B57B-B15B0832A1CC}"/>
                  </a:ext>
                </a:extLst>
              </p:cNvPr>
              <p:cNvSpPr/>
              <p:nvPr/>
            </p:nvSpPr>
            <p:spPr>
              <a:xfrm>
                <a:off x="1551775" y="4785912"/>
                <a:ext cx="780288" cy="780288"/>
              </a:xfrm>
              <a:prstGeom prst="ellipse">
                <a:avLst/>
              </a:prstGeom>
              <a:solidFill>
                <a:schemeClr val="bg1"/>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29" name="Ellipse 28">
                <a:extLst>
                  <a:ext uri="{FF2B5EF4-FFF2-40B4-BE49-F238E27FC236}">
                    <a16:creationId xmlns:a16="http://schemas.microsoft.com/office/drawing/2014/main" id="{A3811A0E-682A-93D0-4B52-95C318A94DA5}"/>
                  </a:ext>
                </a:extLst>
              </p:cNvPr>
              <p:cNvSpPr/>
              <p:nvPr/>
            </p:nvSpPr>
            <p:spPr>
              <a:xfrm>
                <a:off x="1698473" y="4932564"/>
                <a:ext cx="486891" cy="486892"/>
              </a:xfrm>
              <a:prstGeom prst="ellipse">
                <a:avLst/>
              </a:prstGeom>
              <a:solidFill>
                <a:schemeClr val="accent6">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sp>
          <p:nvSpPr>
            <p:cNvPr id="27" name="ZoneTexte 26">
              <a:extLst>
                <a:ext uri="{FF2B5EF4-FFF2-40B4-BE49-F238E27FC236}">
                  <a16:creationId xmlns:a16="http://schemas.microsoft.com/office/drawing/2014/main" id="{4F7F8119-9666-B98C-06C0-1B8BBA8EAC01}"/>
                </a:ext>
              </a:extLst>
            </p:cNvPr>
            <p:cNvSpPr txBox="1"/>
            <p:nvPr/>
          </p:nvSpPr>
          <p:spPr>
            <a:xfrm>
              <a:off x="869553" y="4911133"/>
              <a:ext cx="1427725" cy="7478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lvl="1" algn="ctr" defTabSz="457189">
                <a:lnSpc>
                  <a:spcPts val="1050"/>
                </a:lnSpc>
                <a:buClr>
                  <a:srgbClr val="007C54"/>
                </a:buClr>
                <a:defRPr/>
              </a:pPr>
              <a:r>
                <a:rPr lang="fr-FR" sz="1350" b="1" dirty="0">
                  <a:solidFill>
                    <a:prstClr val="white"/>
                  </a:solidFill>
                  <a:latin typeface="Arial"/>
                </a:rPr>
                <a:t>C</a:t>
              </a:r>
            </a:p>
          </p:txBody>
        </p:sp>
      </p:grpSp>
      <p:grpSp>
        <p:nvGrpSpPr>
          <p:cNvPr id="31" name="Groupe 30">
            <a:extLst>
              <a:ext uri="{FF2B5EF4-FFF2-40B4-BE49-F238E27FC236}">
                <a16:creationId xmlns:a16="http://schemas.microsoft.com/office/drawing/2014/main" id="{60001BF4-EDE7-B8C1-85E8-BF331CF7B886}"/>
              </a:ext>
            </a:extLst>
          </p:cNvPr>
          <p:cNvGrpSpPr/>
          <p:nvPr/>
        </p:nvGrpSpPr>
        <p:grpSpPr>
          <a:xfrm>
            <a:off x="3650506" y="998604"/>
            <a:ext cx="453434" cy="453433"/>
            <a:chOff x="869553" y="4445740"/>
            <a:chExt cx="1427725" cy="1427724"/>
          </a:xfrm>
        </p:grpSpPr>
        <p:grpSp>
          <p:nvGrpSpPr>
            <p:cNvPr id="40" name="Groupe 39">
              <a:extLst>
                <a:ext uri="{FF2B5EF4-FFF2-40B4-BE49-F238E27FC236}">
                  <a16:creationId xmlns:a16="http://schemas.microsoft.com/office/drawing/2014/main" id="{2FABECC2-31A4-82C7-7C17-8FC66F772079}"/>
                </a:ext>
              </a:extLst>
            </p:cNvPr>
            <p:cNvGrpSpPr/>
            <p:nvPr/>
          </p:nvGrpSpPr>
          <p:grpSpPr>
            <a:xfrm>
              <a:off x="869553" y="4445740"/>
              <a:ext cx="1427724" cy="1427724"/>
              <a:chOff x="1551775" y="4785912"/>
              <a:chExt cx="780288" cy="780288"/>
            </a:xfrm>
          </p:grpSpPr>
          <p:sp>
            <p:nvSpPr>
              <p:cNvPr id="43" name="Ellipse 42">
                <a:extLst>
                  <a:ext uri="{FF2B5EF4-FFF2-40B4-BE49-F238E27FC236}">
                    <a16:creationId xmlns:a16="http://schemas.microsoft.com/office/drawing/2014/main" id="{CD10D1B1-C23E-7BF2-DB68-E0E6B1FF7BE2}"/>
                  </a:ext>
                </a:extLst>
              </p:cNvPr>
              <p:cNvSpPr/>
              <p:nvPr/>
            </p:nvSpPr>
            <p:spPr>
              <a:xfrm>
                <a:off x="1551775" y="4785912"/>
                <a:ext cx="780288" cy="780288"/>
              </a:xfrm>
              <a:prstGeom prst="ellipse">
                <a:avLst/>
              </a:prstGeom>
              <a:solidFill>
                <a:schemeClr val="bg1"/>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44" name="Ellipse 43">
                <a:extLst>
                  <a:ext uri="{FF2B5EF4-FFF2-40B4-BE49-F238E27FC236}">
                    <a16:creationId xmlns:a16="http://schemas.microsoft.com/office/drawing/2014/main" id="{16BA59BB-8A53-096C-06BC-D1CA2240E1C9}"/>
                  </a:ext>
                </a:extLst>
              </p:cNvPr>
              <p:cNvSpPr/>
              <p:nvPr/>
            </p:nvSpPr>
            <p:spPr>
              <a:xfrm>
                <a:off x="1698473" y="4932564"/>
                <a:ext cx="486891" cy="486892"/>
              </a:xfrm>
              <a:prstGeom prst="ellipse">
                <a:avLst/>
              </a:prstGeom>
              <a:solidFill>
                <a:schemeClr val="accent6">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sp>
          <p:nvSpPr>
            <p:cNvPr id="42" name="ZoneTexte 41">
              <a:extLst>
                <a:ext uri="{FF2B5EF4-FFF2-40B4-BE49-F238E27FC236}">
                  <a16:creationId xmlns:a16="http://schemas.microsoft.com/office/drawing/2014/main" id="{1B2CB537-6208-A2AC-A0CA-C88EC814005F}"/>
                </a:ext>
              </a:extLst>
            </p:cNvPr>
            <p:cNvSpPr txBox="1"/>
            <p:nvPr/>
          </p:nvSpPr>
          <p:spPr>
            <a:xfrm>
              <a:off x="869553" y="4911133"/>
              <a:ext cx="1427725" cy="7478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lvl="1" algn="ctr" defTabSz="457189">
                <a:lnSpc>
                  <a:spcPts val="1050"/>
                </a:lnSpc>
                <a:buClr>
                  <a:srgbClr val="007C54"/>
                </a:buClr>
                <a:defRPr/>
              </a:pPr>
              <a:r>
                <a:rPr lang="fr-FR" sz="1350" b="1" dirty="0">
                  <a:solidFill>
                    <a:prstClr val="white"/>
                  </a:solidFill>
                  <a:latin typeface="Arial"/>
                </a:rPr>
                <a:t>B</a:t>
              </a:r>
            </a:p>
          </p:txBody>
        </p:sp>
      </p:grpSp>
      <p:sp>
        <p:nvSpPr>
          <p:cNvPr id="46" name="ZoneTexte 45">
            <a:extLst>
              <a:ext uri="{FF2B5EF4-FFF2-40B4-BE49-F238E27FC236}">
                <a16:creationId xmlns:a16="http://schemas.microsoft.com/office/drawing/2014/main" id="{A35E5B6A-28F0-3872-B046-8E4DDCF98D0D}"/>
              </a:ext>
            </a:extLst>
          </p:cNvPr>
          <p:cNvSpPr txBox="1"/>
          <p:nvPr/>
        </p:nvSpPr>
        <p:spPr>
          <a:xfrm>
            <a:off x="-133080" y="423165"/>
            <a:ext cx="1518665" cy="3032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algn="ctr" defTabSz="457189">
              <a:lnSpc>
                <a:spcPts val="1050"/>
              </a:lnSpc>
              <a:buClr>
                <a:srgbClr val="007C54"/>
              </a:buClr>
              <a:defRPr/>
            </a:pPr>
            <a:endParaRPr lang="fr-FR" sz="3600" b="1" dirty="0">
              <a:solidFill>
                <a:srgbClr val="0070C0"/>
              </a:solidFill>
              <a:latin typeface="Arial"/>
            </a:endParaRPr>
          </a:p>
        </p:txBody>
      </p:sp>
      <p:grpSp>
        <p:nvGrpSpPr>
          <p:cNvPr id="9" name="Groupe 8">
            <a:extLst>
              <a:ext uri="{FF2B5EF4-FFF2-40B4-BE49-F238E27FC236}">
                <a16:creationId xmlns:a16="http://schemas.microsoft.com/office/drawing/2014/main" id="{2161C122-A37A-E2CF-D699-30E4434A832E}"/>
              </a:ext>
            </a:extLst>
          </p:cNvPr>
          <p:cNvGrpSpPr/>
          <p:nvPr/>
        </p:nvGrpSpPr>
        <p:grpSpPr>
          <a:xfrm>
            <a:off x="7873343" y="228108"/>
            <a:ext cx="837532" cy="650638"/>
            <a:chOff x="4369056" y="2253046"/>
            <a:chExt cx="3314930" cy="2575206"/>
          </a:xfrm>
          <a:solidFill>
            <a:srgbClr val="0070C0"/>
          </a:solidFill>
        </p:grpSpPr>
        <p:sp>
          <p:nvSpPr>
            <p:cNvPr id="10" name="Forme libre 9">
              <a:extLst>
                <a:ext uri="{FF2B5EF4-FFF2-40B4-BE49-F238E27FC236}">
                  <a16:creationId xmlns:a16="http://schemas.microsoft.com/office/drawing/2014/main" id="{E4A6297A-E43C-B373-7B3F-F46DFFC9A4DF}"/>
                </a:ext>
              </a:extLst>
            </p:cNvPr>
            <p:cNvSpPr/>
            <p:nvPr/>
          </p:nvSpPr>
          <p:spPr>
            <a:xfrm>
              <a:off x="5583723" y="3910857"/>
              <a:ext cx="886285" cy="67750"/>
            </a:xfrm>
            <a:custGeom>
              <a:avLst/>
              <a:gdLst>
                <a:gd name="connsiteX0" fmla="*/ 886286 w 886285"/>
                <a:gd name="connsiteY0" fmla="*/ 0 h 67750"/>
                <a:gd name="connsiteX1" fmla="*/ 880755 w 886285"/>
                <a:gd name="connsiteY1" fmla="*/ 67750 h 67750"/>
                <a:gd name="connsiteX2" fmla="*/ 0 w 886285"/>
                <a:gd name="connsiteY2" fmla="*/ 67750 h 67750"/>
                <a:gd name="connsiteX3" fmla="*/ 0 w 886285"/>
                <a:gd name="connsiteY3" fmla="*/ 0 h 67750"/>
              </a:gdLst>
              <a:ahLst/>
              <a:cxnLst>
                <a:cxn ang="0">
                  <a:pos x="connsiteX0" y="connsiteY0"/>
                </a:cxn>
                <a:cxn ang="0">
                  <a:pos x="connsiteX1" y="connsiteY1"/>
                </a:cxn>
                <a:cxn ang="0">
                  <a:pos x="connsiteX2" y="connsiteY2"/>
                </a:cxn>
                <a:cxn ang="0">
                  <a:pos x="connsiteX3" y="connsiteY3"/>
                </a:cxn>
              </a:cxnLst>
              <a:rect l="l" t="t" r="r" b="b"/>
              <a:pathLst>
                <a:path w="886285" h="67750">
                  <a:moveTo>
                    <a:pt x="886286" y="0"/>
                  </a:moveTo>
                  <a:lnTo>
                    <a:pt x="880755" y="67750"/>
                  </a:lnTo>
                  <a:lnTo>
                    <a:pt x="0" y="67750"/>
                  </a:lnTo>
                  <a:lnTo>
                    <a:pt x="0" y="0"/>
                  </a:lnTo>
                  <a:close/>
                </a:path>
              </a:pathLst>
            </a:custGeom>
            <a:grpFill/>
            <a:ln w="6913" cap="flat">
              <a:noFill/>
              <a:prstDash val="solid"/>
              <a:miter/>
            </a:ln>
          </p:spPr>
          <p:txBody>
            <a:bodyPr rtlCol="0" anchor="ctr"/>
            <a:lstStyle/>
            <a:p>
              <a:pPr defTabSz="457189"/>
              <a:endParaRPr lang="fr-FR" sz="1350">
                <a:solidFill>
                  <a:prstClr val="black"/>
                </a:solidFill>
                <a:latin typeface="Arial"/>
              </a:endParaRPr>
            </a:p>
          </p:txBody>
        </p:sp>
        <p:sp>
          <p:nvSpPr>
            <p:cNvPr id="11" name="Forme libre 10">
              <a:extLst>
                <a:ext uri="{FF2B5EF4-FFF2-40B4-BE49-F238E27FC236}">
                  <a16:creationId xmlns:a16="http://schemas.microsoft.com/office/drawing/2014/main" id="{FD309671-28E0-490F-5E34-0A130AED8D3E}"/>
                </a:ext>
              </a:extLst>
            </p:cNvPr>
            <p:cNvSpPr/>
            <p:nvPr/>
          </p:nvSpPr>
          <p:spPr>
            <a:xfrm>
              <a:off x="6502502" y="2253046"/>
              <a:ext cx="1181484" cy="1727635"/>
            </a:xfrm>
            <a:custGeom>
              <a:avLst/>
              <a:gdLst>
                <a:gd name="connsiteX0" fmla="*/ 630494 w 1181484"/>
                <a:gd name="connsiteY0" fmla="*/ 0 h 1727635"/>
                <a:gd name="connsiteX1" fmla="*/ 62220 w 1181484"/>
                <a:gd name="connsiteY1" fmla="*/ 983764 h 1727635"/>
                <a:gd name="connsiteX2" fmla="*/ 0 w 1181484"/>
                <a:gd name="connsiteY2" fmla="*/ 1727635 h 1727635"/>
                <a:gd name="connsiteX3" fmla="*/ 613210 w 1181484"/>
                <a:gd name="connsiteY3" fmla="*/ 1301776 h 1727635"/>
                <a:gd name="connsiteX4" fmla="*/ 1181484 w 1181484"/>
                <a:gd name="connsiteY4" fmla="*/ 318012 h 1727635"/>
                <a:gd name="connsiteX5" fmla="*/ 630494 w 1181484"/>
                <a:gd name="connsiteY5" fmla="*/ 0 h 1727635"/>
                <a:gd name="connsiteX6" fmla="*/ 79503 w 1181484"/>
                <a:gd name="connsiteY6" fmla="*/ 1590061 h 1727635"/>
                <a:gd name="connsiteX7" fmla="*/ 124440 w 1181484"/>
                <a:gd name="connsiteY7" fmla="*/ 1049440 h 1727635"/>
                <a:gd name="connsiteX8" fmla="*/ 524720 w 1181484"/>
                <a:gd name="connsiteY8" fmla="*/ 1280345 h 1727635"/>
                <a:gd name="connsiteX9" fmla="*/ 79503 w 1181484"/>
                <a:gd name="connsiteY9" fmla="*/ 1590061 h 1727635"/>
                <a:gd name="connsiteX10" fmla="*/ 575187 w 1181484"/>
                <a:gd name="connsiteY10" fmla="*/ 1231951 h 1727635"/>
                <a:gd name="connsiteX11" fmla="*/ 141032 w 1181484"/>
                <a:gd name="connsiteY11" fmla="*/ 981690 h 1727635"/>
                <a:gd name="connsiteX12" fmla="*/ 654690 w 1181484"/>
                <a:gd name="connsiteY12" fmla="*/ 91947 h 1727635"/>
                <a:gd name="connsiteX13" fmla="*/ 660221 w 1181484"/>
                <a:gd name="connsiteY13" fmla="*/ 95404 h 1727635"/>
                <a:gd name="connsiteX14" fmla="*/ 1088155 w 1181484"/>
                <a:gd name="connsiteY14" fmla="*/ 342900 h 1727635"/>
                <a:gd name="connsiteX15" fmla="*/ 575187 w 1181484"/>
                <a:gd name="connsiteY15" fmla="*/ 1231951 h 172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1484" h="1727635">
                  <a:moveTo>
                    <a:pt x="630494" y="0"/>
                  </a:moveTo>
                  <a:lnTo>
                    <a:pt x="62220" y="983764"/>
                  </a:lnTo>
                  <a:lnTo>
                    <a:pt x="0" y="1727635"/>
                  </a:lnTo>
                  <a:lnTo>
                    <a:pt x="613210" y="1301776"/>
                  </a:lnTo>
                  <a:lnTo>
                    <a:pt x="1181484" y="318012"/>
                  </a:lnTo>
                  <a:lnTo>
                    <a:pt x="630494" y="0"/>
                  </a:lnTo>
                  <a:close/>
                  <a:moveTo>
                    <a:pt x="79503" y="1590061"/>
                  </a:moveTo>
                  <a:lnTo>
                    <a:pt x="124440" y="1049440"/>
                  </a:lnTo>
                  <a:lnTo>
                    <a:pt x="524720" y="1280345"/>
                  </a:lnTo>
                  <a:lnTo>
                    <a:pt x="79503" y="1590061"/>
                  </a:lnTo>
                  <a:close/>
                  <a:moveTo>
                    <a:pt x="575187" y="1231951"/>
                  </a:moveTo>
                  <a:lnTo>
                    <a:pt x="141032" y="981690"/>
                  </a:lnTo>
                  <a:lnTo>
                    <a:pt x="654690" y="91947"/>
                  </a:lnTo>
                  <a:lnTo>
                    <a:pt x="660221" y="95404"/>
                  </a:lnTo>
                  <a:lnTo>
                    <a:pt x="1088155" y="342900"/>
                  </a:lnTo>
                  <a:lnTo>
                    <a:pt x="575187" y="1231951"/>
                  </a:lnTo>
                  <a:close/>
                </a:path>
              </a:pathLst>
            </a:custGeom>
            <a:grpFill/>
            <a:ln w="6913" cap="flat">
              <a:noFill/>
              <a:prstDash val="solid"/>
              <a:miter/>
            </a:ln>
          </p:spPr>
          <p:txBody>
            <a:bodyPr rtlCol="0" anchor="ctr"/>
            <a:lstStyle/>
            <a:p>
              <a:pPr defTabSz="457189"/>
              <a:endParaRPr lang="fr-FR" sz="1350">
                <a:solidFill>
                  <a:prstClr val="black"/>
                </a:solidFill>
                <a:latin typeface="Arial"/>
              </a:endParaRPr>
            </a:p>
          </p:txBody>
        </p:sp>
        <p:sp>
          <p:nvSpPr>
            <p:cNvPr id="13" name="Forme libre 12">
              <a:extLst>
                <a:ext uri="{FF2B5EF4-FFF2-40B4-BE49-F238E27FC236}">
                  <a16:creationId xmlns:a16="http://schemas.microsoft.com/office/drawing/2014/main" id="{826A38F6-ADB5-3BB4-81AD-5442A31A743F}"/>
                </a:ext>
              </a:extLst>
            </p:cNvPr>
            <p:cNvSpPr/>
            <p:nvPr/>
          </p:nvSpPr>
          <p:spPr>
            <a:xfrm>
              <a:off x="4369056" y="3066742"/>
              <a:ext cx="1760819" cy="1761510"/>
            </a:xfrm>
            <a:custGeom>
              <a:avLst/>
              <a:gdLst>
                <a:gd name="connsiteX0" fmla="*/ 1691686 w 1760819"/>
                <a:gd name="connsiteY0" fmla="*/ 537855 h 1761510"/>
                <a:gd name="connsiteX1" fmla="*/ 1502953 w 1760819"/>
                <a:gd name="connsiteY1" fmla="*/ 257866 h 1761510"/>
                <a:gd name="connsiteX2" fmla="*/ 1222964 w 1760819"/>
                <a:gd name="connsiteY2" fmla="*/ 69133 h 1761510"/>
                <a:gd name="connsiteX3" fmla="*/ 880755 w 1760819"/>
                <a:gd name="connsiteY3" fmla="*/ 0 h 1761510"/>
                <a:gd name="connsiteX4" fmla="*/ 880755 w 1760819"/>
                <a:gd name="connsiteY4" fmla="*/ 0 h 1761510"/>
                <a:gd name="connsiteX5" fmla="*/ 880755 w 1760819"/>
                <a:gd name="connsiteY5" fmla="*/ 0 h 1761510"/>
                <a:gd name="connsiteX6" fmla="*/ 880755 w 1760819"/>
                <a:gd name="connsiteY6" fmla="*/ 0 h 1761510"/>
                <a:gd name="connsiteX7" fmla="*/ 538547 w 1760819"/>
                <a:gd name="connsiteY7" fmla="*/ 69133 h 1761510"/>
                <a:gd name="connsiteX8" fmla="*/ 258558 w 1760819"/>
                <a:gd name="connsiteY8" fmla="*/ 257866 h 1761510"/>
                <a:gd name="connsiteX9" fmla="*/ 69824 w 1760819"/>
                <a:gd name="connsiteY9" fmla="*/ 537855 h 1761510"/>
                <a:gd name="connsiteX10" fmla="*/ 691 w 1760819"/>
                <a:gd name="connsiteY10" fmla="*/ 871768 h 1761510"/>
                <a:gd name="connsiteX11" fmla="*/ 0 w 1760819"/>
                <a:gd name="connsiteY11" fmla="*/ 880755 h 1761510"/>
                <a:gd name="connsiteX12" fmla="*/ 691 w 1760819"/>
                <a:gd name="connsiteY12" fmla="*/ 889742 h 1761510"/>
                <a:gd name="connsiteX13" fmla="*/ 69824 w 1760819"/>
                <a:gd name="connsiteY13" fmla="*/ 1222964 h 1761510"/>
                <a:gd name="connsiteX14" fmla="*/ 206708 w 1760819"/>
                <a:gd name="connsiteY14" fmla="*/ 1446264 h 1761510"/>
                <a:gd name="connsiteX15" fmla="*/ 218460 w 1760819"/>
                <a:gd name="connsiteY15" fmla="*/ 1460090 h 1761510"/>
                <a:gd name="connsiteX16" fmla="*/ 258558 w 1760819"/>
                <a:gd name="connsiteY16" fmla="*/ 1503644 h 1761510"/>
                <a:gd name="connsiteX17" fmla="*/ 538547 w 1760819"/>
                <a:gd name="connsiteY17" fmla="*/ 1692378 h 1761510"/>
                <a:gd name="connsiteX18" fmla="*/ 880755 w 1760819"/>
                <a:gd name="connsiteY18" fmla="*/ 1761511 h 1761510"/>
                <a:gd name="connsiteX19" fmla="*/ 880755 w 1760819"/>
                <a:gd name="connsiteY19" fmla="*/ 1761511 h 1761510"/>
                <a:gd name="connsiteX20" fmla="*/ 880755 w 1760819"/>
                <a:gd name="connsiteY20" fmla="*/ 1761511 h 1761510"/>
                <a:gd name="connsiteX21" fmla="*/ 880755 w 1760819"/>
                <a:gd name="connsiteY21" fmla="*/ 1761511 h 1761510"/>
                <a:gd name="connsiteX22" fmla="*/ 1222964 w 1760819"/>
                <a:gd name="connsiteY22" fmla="*/ 1692378 h 1761510"/>
                <a:gd name="connsiteX23" fmla="*/ 1502953 w 1760819"/>
                <a:gd name="connsiteY23" fmla="*/ 1503644 h 1761510"/>
                <a:gd name="connsiteX24" fmla="*/ 1691686 w 1760819"/>
                <a:gd name="connsiteY24" fmla="*/ 1223655 h 1761510"/>
                <a:gd name="connsiteX25" fmla="*/ 1760819 w 1760819"/>
                <a:gd name="connsiteY25" fmla="*/ 881446 h 1761510"/>
                <a:gd name="connsiteX26" fmla="*/ 1691686 w 1760819"/>
                <a:gd name="connsiteY26" fmla="*/ 537855 h 1761510"/>
                <a:gd name="connsiteX27" fmla="*/ 1506410 w 1760819"/>
                <a:gd name="connsiteY27" fmla="*/ 1372983 h 1761510"/>
                <a:gd name="connsiteX28" fmla="*/ 1471843 w 1760819"/>
                <a:gd name="connsiteY28" fmla="*/ 1357773 h 1761510"/>
                <a:gd name="connsiteX29" fmla="*/ 1470460 w 1760819"/>
                <a:gd name="connsiteY29" fmla="*/ 1357082 h 1761510"/>
                <a:gd name="connsiteX30" fmla="*/ 1406167 w 1760819"/>
                <a:gd name="connsiteY30" fmla="*/ 1331503 h 1761510"/>
                <a:gd name="connsiteX31" fmla="*/ 1404093 w 1760819"/>
                <a:gd name="connsiteY31" fmla="*/ 1330811 h 1761510"/>
                <a:gd name="connsiteX32" fmla="*/ 1337725 w 1760819"/>
                <a:gd name="connsiteY32" fmla="*/ 1308689 h 1761510"/>
                <a:gd name="connsiteX33" fmla="*/ 1335651 w 1760819"/>
                <a:gd name="connsiteY33" fmla="*/ 1307998 h 1761510"/>
                <a:gd name="connsiteX34" fmla="*/ 1294171 w 1760819"/>
                <a:gd name="connsiteY34" fmla="*/ 1296245 h 1761510"/>
                <a:gd name="connsiteX35" fmla="*/ 1348095 w 1760819"/>
                <a:gd name="connsiteY35" fmla="*/ 922235 h 1761510"/>
                <a:gd name="connsiteX36" fmla="*/ 1676477 w 1760819"/>
                <a:gd name="connsiteY36" fmla="*/ 922235 h 1761510"/>
                <a:gd name="connsiteX37" fmla="*/ 1506410 w 1760819"/>
                <a:gd name="connsiteY37" fmla="*/ 1372983 h 1761510"/>
                <a:gd name="connsiteX38" fmla="*/ 922235 w 1760819"/>
                <a:gd name="connsiteY38" fmla="*/ 1675786 h 1761510"/>
                <a:gd name="connsiteX39" fmla="*/ 922235 w 1760819"/>
                <a:gd name="connsiteY39" fmla="*/ 1323207 h 1761510"/>
                <a:gd name="connsiteX40" fmla="*/ 981690 w 1760819"/>
                <a:gd name="connsiteY40" fmla="*/ 1325281 h 1761510"/>
                <a:gd name="connsiteX41" fmla="*/ 1048749 w 1760819"/>
                <a:gd name="connsiteY41" fmla="*/ 1331503 h 1761510"/>
                <a:gd name="connsiteX42" fmla="*/ 1115808 w 1760819"/>
                <a:gd name="connsiteY42" fmla="*/ 1341181 h 1761510"/>
                <a:gd name="connsiteX43" fmla="*/ 1181484 w 1760819"/>
                <a:gd name="connsiteY43" fmla="*/ 1352934 h 1761510"/>
                <a:gd name="connsiteX44" fmla="*/ 1189089 w 1760819"/>
                <a:gd name="connsiteY44" fmla="*/ 1355008 h 1761510"/>
                <a:gd name="connsiteX45" fmla="*/ 1055662 w 1760819"/>
                <a:gd name="connsiteY45" fmla="*/ 1657119 h 1761510"/>
                <a:gd name="connsiteX46" fmla="*/ 922235 w 1760819"/>
                <a:gd name="connsiteY46" fmla="*/ 1675786 h 1761510"/>
                <a:gd name="connsiteX47" fmla="*/ 708614 w 1760819"/>
                <a:gd name="connsiteY47" fmla="*/ 1657811 h 1761510"/>
                <a:gd name="connsiteX48" fmla="*/ 573805 w 1760819"/>
                <a:gd name="connsiteY48" fmla="*/ 1355699 h 1761510"/>
                <a:gd name="connsiteX49" fmla="*/ 580718 w 1760819"/>
                <a:gd name="connsiteY49" fmla="*/ 1354317 h 1761510"/>
                <a:gd name="connsiteX50" fmla="*/ 646394 w 1760819"/>
                <a:gd name="connsiteY50" fmla="*/ 1342564 h 1761510"/>
                <a:gd name="connsiteX51" fmla="*/ 713453 w 1760819"/>
                <a:gd name="connsiteY51" fmla="*/ 1332886 h 1761510"/>
                <a:gd name="connsiteX52" fmla="*/ 781204 w 1760819"/>
                <a:gd name="connsiteY52" fmla="*/ 1326664 h 1761510"/>
                <a:gd name="connsiteX53" fmla="*/ 839967 w 1760819"/>
                <a:gd name="connsiteY53" fmla="*/ 1323898 h 1761510"/>
                <a:gd name="connsiteX54" fmla="*/ 839967 w 1760819"/>
                <a:gd name="connsiteY54" fmla="*/ 1675786 h 1761510"/>
                <a:gd name="connsiteX55" fmla="*/ 708614 w 1760819"/>
                <a:gd name="connsiteY55" fmla="*/ 1657811 h 1761510"/>
                <a:gd name="connsiteX56" fmla="*/ 290359 w 1760819"/>
                <a:gd name="connsiteY56" fmla="*/ 1359156 h 1761510"/>
                <a:gd name="connsiteX57" fmla="*/ 257175 w 1760819"/>
                <a:gd name="connsiteY57" fmla="*/ 1374366 h 1761510"/>
                <a:gd name="connsiteX58" fmla="*/ 86416 w 1760819"/>
                <a:gd name="connsiteY58" fmla="*/ 922235 h 1761510"/>
                <a:gd name="connsiteX59" fmla="*/ 414799 w 1760819"/>
                <a:gd name="connsiteY59" fmla="*/ 922235 h 1761510"/>
                <a:gd name="connsiteX60" fmla="*/ 469414 w 1760819"/>
                <a:gd name="connsiteY60" fmla="*/ 1296245 h 1761510"/>
                <a:gd name="connsiteX61" fmla="*/ 425860 w 1760819"/>
                <a:gd name="connsiteY61" fmla="*/ 1308689 h 1761510"/>
                <a:gd name="connsiteX62" fmla="*/ 423786 w 1760819"/>
                <a:gd name="connsiteY62" fmla="*/ 1309380 h 1761510"/>
                <a:gd name="connsiteX63" fmla="*/ 358801 w 1760819"/>
                <a:gd name="connsiteY63" fmla="*/ 1331503 h 1761510"/>
                <a:gd name="connsiteX64" fmla="*/ 356727 w 1760819"/>
                <a:gd name="connsiteY64" fmla="*/ 1332194 h 1761510"/>
                <a:gd name="connsiteX65" fmla="*/ 292433 w 1760819"/>
                <a:gd name="connsiteY65" fmla="*/ 1357773 h 1761510"/>
                <a:gd name="connsiteX66" fmla="*/ 290359 w 1760819"/>
                <a:gd name="connsiteY66" fmla="*/ 1359156 h 1761510"/>
                <a:gd name="connsiteX67" fmla="*/ 256484 w 1760819"/>
                <a:gd name="connsiteY67" fmla="*/ 386454 h 1761510"/>
                <a:gd name="connsiteX68" fmla="*/ 290359 w 1760819"/>
                <a:gd name="connsiteY68" fmla="*/ 401663 h 1761510"/>
                <a:gd name="connsiteX69" fmla="*/ 291742 w 1760819"/>
                <a:gd name="connsiteY69" fmla="*/ 402354 h 1761510"/>
                <a:gd name="connsiteX70" fmla="*/ 356035 w 1760819"/>
                <a:gd name="connsiteY70" fmla="*/ 427934 h 1761510"/>
                <a:gd name="connsiteX71" fmla="*/ 358109 w 1760819"/>
                <a:gd name="connsiteY71" fmla="*/ 428625 h 1761510"/>
                <a:gd name="connsiteX72" fmla="*/ 423094 w 1760819"/>
                <a:gd name="connsiteY72" fmla="*/ 450747 h 1761510"/>
                <a:gd name="connsiteX73" fmla="*/ 424477 w 1760819"/>
                <a:gd name="connsiteY73" fmla="*/ 451439 h 1761510"/>
                <a:gd name="connsiteX74" fmla="*/ 464574 w 1760819"/>
                <a:gd name="connsiteY74" fmla="*/ 463192 h 1761510"/>
                <a:gd name="connsiteX75" fmla="*/ 413416 w 1760819"/>
                <a:gd name="connsiteY75" fmla="*/ 838584 h 1761510"/>
                <a:gd name="connsiteX76" fmla="*/ 85034 w 1760819"/>
                <a:gd name="connsiteY76" fmla="*/ 838584 h 1761510"/>
                <a:gd name="connsiteX77" fmla="*/ 256484 w 1760819"/>
                <a:gd name="connsiteY77" fmla="*/ 386454 h 1761510"/>
                <a:gd name="connsiteX78" fmla="*/ 839275 w 1760819"/>
                <a:gd name="connsiteY78" fmla="*/ 84342 h 1761510"/>
                <a:gd name="connsiteX79" fmla="*/ 839275 w 1760819"/>
                <a:gd name="connsiteY79" fmla="*/ 437612 h 1761510"/>
                <a:gd name="connsiteX80" fmla="*/ 780512 w 1760819"/>
                <a:gd name="connsiteY80" fmla="*/ 434847 h 1761510"/>
                <a:gd name="connsiteX81" fmla="*/ 712762 w 1760819"/>
                <a:gd name="connsiteY81" fmla="*/ 428625 h 1761510"/>
                <a:gd name="connsiteX82" fmla="*/ 646394 w 1760819"/>
                <a:gd name="connsiteY82" fmla="*/ 418946 h 1761510"/>
                <a:gd name="connsiteX83" fmla="*/ 580027 w 1760819"/>
                <a:gd name="connsiteY83" fmla="*/ 405811 h 1761510"/>
                <a:gd name="connsiteX84" fmla="*/ 568965 w 1760819"/>
                <a:gd name="connsiteY84" fmla="*/ 403046 h 1761510"/>
                <a:gd name="connsiteX85" fmla="*/ 698244 w 1760819"/>
                <a:gd name="connsiteY85" fmla="*/ 104391 h 1761510"/>
                <a:gd name="connsiteX86" fmla="*/ 839275 w 1760819"/>
                <a:gd name="connsiteY86" fmla="*/ 84342 h 1761510"/>
                <a:gd name="connsiteX87" fmla="*/ 1061193 w 1760819"/>
                <a:gd name="connsiteY87" fmla="*/ 104391 h 1761510"/>
                <a:gd name="connsiteX88" fmla="*/ 1191854 w 1760819"/>
                <a:gd name="connsiteY88" fmla="*/ 404428 h 1761510"/>
                <a:gd name="connsiteX89" fmla="*/ 1181484 w 1760819"/>
                <a:gd name="connsiteY89" fmla="*/ 406502 h 1761510"/>
                <a:gd name="connsiteX90" fmla="*/ 1115808 w 1760819"/>
                <a:gd name="connsiteY90" fmla="*/ 419638 h 1761510"/>
                <a:gd name="connsiteX91" fmla="*/ 1049440 w 1760819"/>
                <a:gd name="connsiteY91" fmla="*/ 428625 h 1761510"/>
                <a:gd name="connsiteX92" fmla="*/ 981690 w 1760819"/>
                <a:gd name="connsiteY92" fmla="*/ 434847 h 1761510"/>
                <a:gd name="connsiteX93" fmla="*/ 922235 w 1760819"/>
                <a:gd name="connsiteY93" fmla="*/ 437612 h 1761510"/>
                <a:gd name="connsiteX94" fmla="*/ 922235 w 1760819"/>
                <a:gd name="connsiteY94" fmla="*/ 84342 h 1761510"/>
                <a:gd name="connsiteX95" fmla="*/ 1061193 w 1760819"/>
                <a:gd name="connsiteY95" fmla="*/ 104391 h 1761510"/>
                <a:gd name="connsiteX96" fmla="*/ 1213285 w 1760819"/>
                <a:gd name="connsiteY96" fmla="*/ 1275505 h 1761510"/>
                <a:gd name="connsiteX97" fmla="*/ 1200841 w 1760819"/>
                <a:gd name="connsiteY97" fmla="*/ 1272740 h 1761510"/>
                <a:gd name="connsiteX98" fmla="*/ 1198767 w 1760819"/>
                <a:gd name="connsiteY98" fmla="*/ 1272048 h 1761510"/>
                <a:gd name="connsiteX99" fmla="*/ 1131017 w 1760819"/>
                <a:gd name="connsiteY99" fmla="*/ 1259604 h 1761510"/>
                <a:gd name="connsiteX100" fmla="*/ 1129634 w 1760819"/>
                <a:gd name="connsiteY100" fmla="*/ 1259604 h 1761510"/>
                <a:gd name="connsiteX101" fmla="*/ 1061193 w 1760819"/>
                <a:gd name="connsiteY101" fmla="*/ 1249926 h 1761510"/>
                <a:gd name="connsiteX102" fmla="*/ 1059119 w 1760819"/>
                <a:gd name="connsiteY102" fmla="*/ 1249926 h 1761510"/>
                <a:gd name="connsiteX103" fmla="*/ 989985 w 1760819"/>
                <a:gd name="connsiteY103" fmla="*/ 1243013 h 1761510"/>
                <a:gd name="connsiteX104" fmla="*/ 987220 w 1760819"/>
                <a:gd name="connsiteY104" fmla="*/ 1243013 h 1761510"/>
                <a:gd name="connsiteX105" fmla="*/ 923618 w 1760819"/>
                <a:gd name="connsiteY105" fmla="*/ 1240938 h 1761510"/>
                <a:gd name="connsiteX106" fmla="*/ 923618 w 1760819"/>
                <a:gd name="connsiteY106" fmla="*/ 922235 h 1761510"/>
                <a:gd name="connsiteX107" fmla="*/ 1265135 w 1760819"/>
                <a:gd name="connsiteY107" fmla="*/ 922235 h 1761510"/>
                <a:gd name="connsiteX108" fmla="*/ 1213285 w 1760819"/>
                <a:gd name="connsiteY108" fmla="*/ 1275505 h 1761510"/>
                <a:gd name="connsiteX109" fmla="*/ 562052 w 1760819"/>
                <a:gd name="connsiteY109" fmla="*/ 1272740 h 1761510"/>
                <a:gd name="connsiteX110" fmla="*/ 550299 w 1760819"/>
                <a:gd name="connsiteY110" fmla="*/ 1275505 h 1761510"/>
                <a:gd name="connsiteX111" fmla="*/ 498449 w 1760819"/>
                <a:gd name="connsiteY111" fmla="*/ 922235 h 1761510"/>
                <a:gd name="connsiteX112" fmla="*/ 839275 w 1760819"/>
                <a:gd name="connsiteY112" fmla="*/ 922235 h 1761510"/>
                <a:gd name="connsiteX113" fmla="*/ 839275 w 1760819"/>
                <a:gd name="connsiteY113" fmla="*/ 1239556 h 1761510"/>
                <a:gd name="connsiteX114" fmla="*/ 775673 w 1760819"/>
                <a:gd name="connsiteY114" fmla="*/ 1242321 h 1761510"/>
                <a:gd name="connsiteX115" fmla="*/ 773599 w 1760819"/>
                <a:gd name="connsiteY115" fmla="*/ 1242321 h 1761510"/>
                <a:gd name="connsiteX116" fmla="*/ 704466 w 1760819"/>
                <a:gd name="connsiteY116" fmla="*/ 1249234 h 1761510"/>
                <a:gd name="connsiteX117" fmla="*/ 702392 w 1760819"/>
                <a:gd name="connsiteY117" fmla="*/ 1249234 h 1761510"/>
                <a:gd name="connsiteX118" fmla="*/ 633950 w 1760819"/>
                <a:gd name="connsiteY118" fmla="*/ 1258913 h 1761510"/>
                <a:gd name="connsiteX119" fmla="*/ 632568 w 1760819"/>
                <a:gd name="connsiteY119" fmla="*/ 1258913 h 1761510"/>
                <a:gd name="connsiteX120" fmla="*/ 564817 w 1760819"/>
                <a:gd name="connsiteY120" fmla="*/ 1271357 h 1761510"/>
                <a:gd name="connsiteX121" fmla="*/ 562052 w 1760819"/>
                <a:gd name="connsiteY121" fmla="*/ 1272740 h 1761510"/>
                <a:gd name="connsiteX122" fmla="*/ 546151 w 1760819"/>
                <a:gd name="connsiteY122" fmla="*/ 483931 h 1761510"/>
                <a:gd name="connsiteX123" fmla="*/ 562052 w 1760819"/>
                <a:gd name="connsiteY123" fmla="*/ 487388 h 1761510"/>
                <a:gd name="connsiteX124" fmla="*/ 563435 w 1760819"/>
                <a:gd name="connsiteY124" fmla="*/ 487388 h 1761510"/>
                <a:gd name="connsiteX125" fmla="*/ 631185 w 1760819"/>
                <a:gd name="connsiteY125" fmla="*/ 500523 h 1761510"/>
                <a:gd name="connsiteX126" fmla="*/ 633259 w 1760819"/>
                <a:gd name="connsiteY126" fmla="*/ 500523 h 1761510"/>
                <a:gd name="connsiteX127" fmla="*/ 701701 w 1760819"/>
                <a:gd name="connsiteY127" fmla="*/ 510202 h 1761510"/>
                <a:gd name="connsiteX128" fmla="*/ 703775 w 1760819"/>
                <a:gd name="connsiteY128" fmla="*/ 510202 h 1761510"/>
                <a:gd name="connsiteX129" fmla="*/ 772908 w 1760819"/>
                <a:gd name="connsiteY129" fmla="*/ 517115 h 1761510"/>
                <a:gd name="connsiteX130" fmla="*/ 774982 w 1760819"/>
                <a:gd name="connsiteY130" fmla="*/ 517115 h 1761510"/>
                <a:gd name="connsiteX131" fmla="*/ 838584 w 1760819"/>
                <a:gd name="connsiteY131" fmla="*/ 519881 h 1761510"/>
                <a:gd name="connsiteX132" fmla="*/ 838584 w 1760819"/>
                <a:gd name="connsiteY132" fmla="*/ 837201 h 1761510"/>
                <a:gd name="connsiteX133" fmla="*/ 497758 w 1760819"/>
                <a:gd name="connsiteY133" fmla="*/ 837201 h 1761510"/>
                <a:gd name="connsiteX134" fmla="*/ 546151 w 1760819"/>
                <a:gd name="connsiteY134" fmla="*/ 483931 h 1761510"/>
                <a:gd name="connsiteX135" fmla="*/ 922235 w 1760819"/>
                <a:gd name="connsiteY135" fmla="*/ 838584 h 1761510"/>
                <a:gd name="connsiteX136" fmla="*/ 922235 w 1760819"/>
                <a:gd name="connsiteY136" fmla="*/ 521263 h 1761510"/>
                <a:gd name="connsiteX137" fmla="*/ 986529 w 1760819"/>
                <a:gd name="connsiteY137" fmla="*/ 518498 h 1761510"/>
                <a:gd name="connsiteX138" fmla="*/ 988603 w 1760819"/>
                <a:gd name="connsiteY138" fmla="*/ 518498 h 1761510"/>
                <a:gd name="connsiteX139" fmla="*/ 1057736 w 1760819"/>
                <a:gd name="connsiteY139" fmla="*/ 511584 h 1761510"/>
                <a:gd name="connsiteX140" fmla="*/ 1059119 w 1760819"/>
                <a:gd name="connsiteY140" fmla="*/ 511584 h 1761510"/>
                <a:gd name="connsiteX141" fmla="*/ 1127560 w 1760819"/>
                <a:gd name="connsiteY141" fmla="*/ 502597 h 1761510"/>
                <a:gd name="connsiteX142" fmla="*/ 1130326 w 1760819"/>
                <a:gd name="connsiteY142" fmla="*/ 501906 h 1761510"/>
                <a:gd name="connsiteX143" fmla="*/ 1198076 w 1760819"/>
                <a:gd name="connsiteY143" fmla="*/ 488771 h 1761510"/>
                <a:gd name="connsiteX144" fmla="*/ 1199459 w 1760819"/>
                <a:gd name="connsiteY144" fmla="*/ 488771 h 1761510"/>
                <a:gd name="connsiteX145" fmla="*/ 1214668 w 1760819"/>
                <a:gd name="connsiteY145" fmla="*/ 485314 h 1761510"/>
                <a:gd name="connsiteX146" fmla="*/ 1263753 w 1760819"/>
                <a:gd name="connsiteY146" fmla="*/ 839275 h 1761510"/>
                <a:gd name="connsiteX147" fmla="*/ 922235 w 1760819"/>
                <a:gd name="connsiteY147" fmla="*/ 839275 h 1761510"/>
                <a:gd name="connsiteX148" fmla="*/ 1348095 w 1760819"/>
                <a:gd name="connsiteY148" fmla="*/ 838584 h 1761510"/>
                <a:gd name="connsiteX149" fmla="*/ 1296245 w 1760819"/>
                <a:gd name="connsiteY149" fmla="*/ 463883 h 1761510"/>
                <a:gd name="connsiteX150" fmla="*/ 1336342 w 1760819"/>
                <a:gd name="connsiteY150" fmla="*/ 452130 h 1761510"/>
                <a:gd name="connsiteX151" fmla="*/ 1337725 w 1760819"/>
                <a:gd name="connsiteY151" fmla="*/ 451439 h 1761510"/>
                <a:gd name="connsiteX152" fmla="*/ 1404093 w 1760819"/>
                <a:gd name="connsiteY152" fmla="*/ 429316 h 1761510"/>
                <a:gd name="connsiteX153" fmla="*/ 1405475 w 1760819"/>
                <a:gd name="connsiteY153" fmla="*/ 428625 h 1761510"/>
                <a:gd name="connsiteX154" fmla="*/ 1469769 w 1760819"/>
                <a:gd name="connsiteY154" fmla="*/ 403737 h 1761510"/>
                <a:gd name="connsiteX155" fmla="*/ 1471843 w 1760819"/>
                <a:gd name="connsiteY155" fmla="*/ 403046 h 1761510"/>
                <a:gd name="connsiteX156" fmla="*/ 1506410 w 1760819"/>
                <a:gd name="connsiteY156" fmla="*/ 387145 h 1761510"/>
                <a:gd name="connsiteX157" fmla="*/ 1676477 w 1760819"/>
                <a:gd name="connsiteY157" fmla="*/ 838584 h 1761510"/>
                <a:gd name="connsiteX158" fmla="*/ 1348095 w 1760819"/>
                <a:gd name="connsiteY158" fmla="*/ 838584 h 1761510"/>
                <a:gd name="connsiteX159" fmla="*/ 1449029 w 1760819"/>
                <a:gd name="connsiteY159" fmla="*/ 322160 h 1761510"/>
                <a:gd name="connsiteX160" fmla="*/ 1439350 w 1760819"/>
                <a:gd name="connsiteY160" fmla="*/ 326999 h 1761510"/>
                <a:gd name="connsiteX161" fmla="*/ 1377131 w 1760819"/>
                <a:gd name="connsiteY161" fmla="*/ 351196 h 1761510"/>
                <a:gd name="connsiteX162" fmla="*/ 1312837 w 1760819"/>
                <a:gd name="connsiteY162" fmla="*/ 373319 h 1761510"/>
                <a:gd name="connsiteX163" fmla="*/ 1274122 w 1760819"/>
                <a:gd name="connsiteY163" fmla="*/ 385071 h 1761510"/>
                <a:gd name="connsiteX164" fmla="*/ 1175953 w 1760819"/>
                <a:gd name="connsiteY164" fmla="*/ 141031 h 1761510"/>
                <a:gd name="connsiteX165" fmla="*/ 1449029 w 1760819"/>
                <a:gd name="connsiteY165" fmla="*/ 322160 h 1761510"/>
                <a:gd name="connsiteX166" fmla="*/ 584866 w 1760819"/>
                <a:gd name="connsiteY166" fmla="*/ 140340 h 1761510"/>
                <a:gd name="connsiteX167" fmla="*/ 488079 w 1760819"/>
                <a:gd name="connsiteY167" fmla="*/ 382306 h 1761510"/>
                <a:gd name="connsiteX168" fmla="*/ 449365 w 1760819"/>
                <a:gd name="connsiteY168" fmla="*/ 371244 h 1761510"/>
                <a:gd name="connsiteX169" fmla="*/ 385763 w 1760819"/>
                <a:gd name="connsiteY169" fmla="*/ 349813 h 1761510"/>
                <a:gd name="connsiteX170" fmla="*/ 322851 w 1760819"/>
                <a:gd name="connsiteY170" fmla="*/ 324925 h 1761510"/>
                <a:gd name="connsiteX171" fmla="*/ 313864 w 1760819"/>
                <a:gd name="connsiteY171" fmla="*/ 320777 h 1761510"/>
                <a:gd name="connsiteX172" fmla="*/ 584866 w 1760819"/>
                <a:gd name="connsiteY172" fmla="*/ 140340 h 1761510"/>
                <a:gd name="connsiteX173" fmla="*/ 314556 w 1760819"/>
                <a:gd name="connsiteY173" fmla="*/ 1439350 h 1761510"/>
                <a:gd name="connsiteX174" fmla="*/ 323543 w 1760819"/>
                <a:gd name="connsiteY174" fmla="*/ 1435203 h 1761510"/>
                <a:gd name="connsiteX175" fmla="*/ 385763 w 1760819"/>
                <a:gd name="connsiteY175" fmla="*/ 1410314 h 1761510"/>
                <a:gd name="connsiteX176" fmla="*/ 449365 w 1760819"/>
                <a:gd name="connsiteY176" fmla="*/ 1388883 h 1761510"/>
                <a:gd name="connsiteX177" fmla="*/ 492227 w 1760819"/>
                <a:gd name="connsiteY177" fmla="*/ 1376439 h 1761510"/>
                <a:gd name="connsiteX178" fmla="*/ 594544 w 1760819"/>
                <a:gd name="connsiteY178" fmla="*/ 1623245 h 1761510"/>
                <a:gd name="connsiteX179" fmla="*/ 314556 w 1760819"/>
                <a:gd name="connsiteY179" fmla="*/ 1439350 h 1761510"/>
                <a:gd name="connsiteX180" fmla="*/ 1169731 w 1760819"/>
                <a:gd name="connsiteY180" fmla="*/ 1622553 h 1761510"/>
                <a:gd name="connsiteX181" fmla="*/ 1270666 w 1760819"/>
                <a:gd name="connsiteY181" fmla="*/ 1376439 h 1761510"/>
                <a:gd name="connsiteX182" fmla="*/ 1311454 w 1760819"/>
                <a:gd name="connsiteY182" fmla="*/ 1388192 h 1761510"/>
                <a:gd name="connsiteX183" fmla="*/ 1375748 w 1760819"/>
                <a:gd name="connsiteY183" fmla="*/ 1409623 h 1761510"/>
                <a:gd name="connsiteX184" fmla="*/ 1438659 w 1760819"/>
                <a:gd name="connsiteY184" fmla="*/ 1434511 h 1761510"/>
                <a:gd name="connsiteX185" fmla="*/ 1448338 w 1760819"/>
                <a:gd name="connsiteY185" fmla="*/ 1438659 h 1761510"/>
                <a:gd name="connsiteX186" fmla="*/ 1169731 w 1760819"/>
                <a:gd name="connsiteY186" fmla="*/ 1622553 h 17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1760819" h="1761510">
                  <a:moveTo>
                    <a:pt x="1691686" y="537855"/>
                  </a:moveTo>
                  <a:cubicBezTo>
                    <a:pt x="1647441" y="432773"/>
                    <a:pt x="1583839" y="338752"/>
                    <a:pt x="1502953" y="257866"/>
                  </a:cubicBezTo>
                  <a:cubicBezTo>
                    <a:pt x="1422067" y="176981"/>
                    <a:pt x="1328046" y="113378"/>
                    <a:pt x="1222964" y="69133"/>
                  </a:cubicBezTo>
                  <a:cubicBezTo>
                    <a:pt x="1114425" y="23505"/>
                    <a:pt x="998973" y="0"/>
                    <a:pt x="880755" y="0"/>
                  </a:cubicBezTo>
                  <a:cubicBezTo>
                    <a:pt x="880755" y="0"/>
                    <a:pt x="880755" y="0"/>
                    <a:pt x="880755" y="0"/>
                  </a:cubicBezTo>
                  <a:cubicBezTo>
                    <a:pt x="880755" y="0"/>
                    <a:pt x="880755" y="0"/>
                    <a:pt x="880755" y="0"/>
                  </a:cubicBezTo>
                  <a:cubicBezTo>
                    <a:pt x="880755" y="0"/>
                    <a:pt x="880755" y="0"/>
                    <a:pt x="880755" y="0"/>
                  </a:cubicBezTo>
                  <a:cubicBezTo>
                    <a:pt x="761846" y="0"/>
                    <a:pt x="647085" y="23505"/>
                    <a:pt x="538547" y="69133"/>
                  </a:cubicBezTo>
                  <a:cubicBezTo>
                    <a:pt x="433464" y="113378"/>
                    <a:pt x="339443" y="176981"/>
                    <a:pt x="258558" y="257866"/>
                  </a:cubicBezTo>
                  <a:cubicBezTo>
                    <a:pt x="177672" y="338752"/>
                    <a:pt x="114070" y="432773"/>
                    <a:pt x="69824" y="537855"/>
                  </a:cubicBezTo>
                  <a:cubicBezTo>
                    <a:pt x="24888" y="643629"/>
                    <a:pt x="2074" y="756316"/>
                    <a:pt x="691" y="871768"/>
                  </a:cubicBezTo>
                  <a:cubicBezTo>
                    <a:pt x="0" y="874533"/>
                    <a:pt x="0" y="877299"/>
                    <a:pt x="0" y="880755"/>
                  </a:cubicBezTo>
                  <a:cubicBezTo>
                    <a:pt x="0" y="883521"/>
                    <a:pt x="0" y="886977"/>
                    <a:pt x="691" y="889742"/>
                  </a:cubicBezTo>
                  <a:cubicBezTo>
                    <a:pt x="2074" y="1005195"/>
                    <a:pt x="24888" y="1117190"/>
                    <a:pt x="69824" y="1222964"/>
                  </a:cubicBezTo>
                  <a:cubicBezTo>
                    <a:pt x="104391" y="1303850"/>
                    <a:pt x="150019" y="1378513"/>
                    <a:pt x="206708" y="1446264"/>
                  </a:cubicBezTo>
                  <a:cubicBezTo>
                    <a:pt x="209473" y="1451794"/>
                    <a:pt x="213621" y="1455942"/>
                    <a:pt x="218460" y="1460090"/>
                  </a:cubicBezTo>
                  <a:cubicBezTo>
                    <a:pt x="231596" y="1474608"/>
                    <a:pt x="244731" y="1489126"/>
                    <a:pt x="258558" y="1503644"/>
                  </a:cubicBezTo>
                  <a:cubicBezTo>
                    <a:pt x="339443" y="1584530"/>
                    <a:pt x="433464" y="1648132"/>
                    <a:pt x="538547" y="1692378"/>
                  </a:cubicBezTo>
                  <a:cubicBezTo>
                    <a:pt x="647085" y="1738005"/>
                    <a:pt x="761846" y="1761511"/>
                    <a:pt x="880755" y="1761511"/>
                  </a:cubicBezTo>
                  <a:cubicBezTo>
                    <a:pt x="880755" y="1761511"/>
                    <a:pt x="880755" y="1761511"/>
                    <a:pt x="880755" y="1761511"/>
                  </a:cubicBezTo>
                  <a:cubicBezTo>
                    <a:pt x="880755" y="1761511"/>
                    <a:pt x="880755" y="1761511"/>
                    <a:pt x="880755" y="1761511"/>
                  </a:cubicBezTo>
                  <a:cubicBezTo>
                    <a:pt x="880755" y="1761511"/>
                    <a:pt x="880755" y="1761511"/>
                    <a:pt x="880755" y="1761511"/>
                  </a:cubicBezTo>
                  <a:cubicBezTo>
                    <a:pt x="999664" y="1761511"/>
                    <a:pt x="1115116" y="1738005"/>
                    <a:pt x="1222964" y="1692378"/>
                  </a:cubicBezTo>
                  <a:cubicBezTo>
                    <a:pt x="1328046" y="1648132"/>
                    <a:pt x="1422067" y="1584530"/>
                    <a:pt x="1502953" y="1503644"/>
                  </a:cubicBezTo>
                  <a:cubicBezTo>
                    <a:pt x="1583839" y="1422759"/>
                    <a:pt x="1647441" y="1328737"/>
                    <a:pt x="1691686" y="1223655"/>
                  </a:cubicBezTo>
                  <a:cubicBezTo>
                    <a:pt x="1737314" y="1115117"/>
                    <a:pt x="1760819" y="999664"/>
                    <a:pt x="1760819" y="881446"/>
                  </a:cubicBezTo>
                  <a:cubicBezTo>
                    <a:pt x="1760819" y="761155"/>
                    <a:pt x="1738005" y="646394"/>
                    <a:pt x="1691686" y="537855"/>
                  </a:cubicBezTo>
                  <a:close/>
                  <a:moveTo>
                    <a:pt x="1506410" y="1372983"/>
                  </a:moveTo>
                  <a:lnTo>
                    <a:pt x="1471843" y="1357773"/>
                  </a:lnTo>
                  <a:cubicBezTo>
                    <a:pt x="1471152" y="1357773"/>
                    <a:pt x="1471152" y="1357082"/>
                    <a:pt x="1470460" y="1357082"/>
                  </a:cubicBezTo>
                  <a:lnTo>
                    <a:pt x="1406167" y="1331503"/>
                  </a:lnTo>
                  <a:cubicBezTo>
                    <a:pt x="1405475" y="1331503"/>
                    <a:pt x="1404784" y="1330811"/>
                    <a:pt x="1404093" y="1330811"/>
                  </a:cubicBezTo>
                  <a:lnTo>
                    <a:pt x="1337725" y="1308689"/>
                  </a:lnTo>
                  <a:cubicBezTo>
                    <a:pt x="1337034" y="1308689"/>
                    <a:pt x="1336342" y="1307998"/>
                    <a:pt x="1335651" y="1307998"/>
                  </a:cubicBezTo>
                  <a:lnTo>
                    <a:pt x="1294171" y="1296245"/>
                  </a:lnTo>
                  <a:cubicBezTo>
                    <a:pt x="1325972" y="1174571"/>
                    <a:pt x="1344638" y="1048749"/>
                    <a:pt x="1348095" y="922235"/>
                  </a:cubicBezTo>
                  <a:lnTo>
                    <a:pt x="1676477" y="922235"/>
                  </a:lnTo>
                  <a:cubicBezTo>
                    <a:pt x="1667490" y="1091611"/>
                    <a:pt x="1605270" y="1247852"/>
                    <a:pt x="1506410" y="1372983"/>
                  </a:cubicBezTo>
                  <a:close/>
                  <a:moveTo>
                    <a:pt x="922235" y="1675786"/>
                  </a:moveTo>
                  <a:lnTo>
                    <a:pt x="922235" y="1323207"/>
                  </a:lnTo>
                  <a:lnTo>
                    <a:pt x="981690" y="1325281"/>
                  </a:lnTo>
                  <a:lnTo>
                    <a:pt x="1048749" y="1331503"/>
                  </a:lnTo>
                  <a:lnTo>
                    <a:pt x="1115808" y="1341181"/>
                  </a:lnTo>
                  <a:lnTo>
                    <a:pt x="1181484" y="1352934"/>
                  </a:lnTo>
                  <a:lnTo>
                    <a:pt x="1189089" y="1355008"/>
                  </a:lnTo>
                  <a:cubicBezTo>
                    <a:pt x="1155905" y="1458708"/>
                    <a:pt x="1110968" y="1560333"/>
                    <a:pt x="1055662" y="1657119"/>
                  </a:cubicBezTo>
                  <a:cubicBezTo>
                    <a:pt x="1012800" y="1666798"/>
                    <a:pt x="967863" y="1673020"/>
                    <a:pt x="922235" y="1675786"/>
                  </a:cubicBezTo>
                  <a:close/>
                  <a:moveTo>
                    <a:pt x="708614" y="1657811"/>
                  </a:moveTo>
                  <a:cubicBezTo>
                    <a:pt x="652616" y="1561025"/>
                    <a:pt x="607680" y="1460090"/>
                    <a:pt x="573805" y="1355699"/>
                  </a:cubicBezTo>
                  <a:lnTo>
                    <a:pt x="580718" y="1354317"/>
                  </a:lnTo>
                  <a:lnTo>
                    <a:pt x="646394" y="1342564"/>
                  </a:lnTo>
                  <a:lnTo>
                    <a:pt x="713453" y="1332886"/>
                  </a:lnTo>
                  <a:lnTo>
                    <a:pt x="781204" y="1326664"/>
                  </a:lnTo>
                  <a:lnTo>
                    <a:pt x="839967" y="1323898"/>
                  </a:lnTo>
                  <a:lnTo>
                    <a:pt x="839967" y="1675786"/>
                  </a:lnTo>
                  <a:cubicBezTo>
                    <a:pt x="794339" y="1673020"/>
                    <a:pt x="750785" y="1666798"/>
                    <a:pt x="708614" y="1657811"/>
                  </a:cubicBezTo>
                  <a:close/>
                  <a:moveTo>
                    <a:pt x="290359" y="1359156"/>
                  </a:moveTo>
                  <a:lnTo>
                    <a:pt x="257175" y="1374366"/>
                  </a:lnTo>
                  <a:cubicBezTo>
                    <a:pt x="157623" y="1248543"/>
                    <a:pt x="95404" y="1092302"/>
                    <a:pt x="86416" y="922235"/>
                  </a:cubicBezTo>
                  <a:lnTo>
                    <a:pt x="414799" y="922235"/>
                  </a:lnTo>
                  <a:cubicBezTo>
                    <a:pt x="418946" y="1048749"/>
                    <a:pt x="436921" y="1174571"/>
                    <a:pt x="469414" y="1296245"/>
                  </a:cubicBezTo>
                  <a:lnTo>
                    <a:pt x="425860" y="1308689"/>
                  </a:lnTo>
                  <a:cubicBezTo>
                    <a:pt x="425168" y="1308689"/>
                    <a:pt x="424477" y="1309380"/>
                    <a:pt x="423786" y="1309380"/>
                  </a:cubicBezTo>
                  <a:lnTo>
                    <a:pt x="358801" y="1331503"/>
                  </a:lnTo>
                  <a:cubicBezTo>
                    <a:pt x="358109" y="1331503"/>
                    <a:pt x="357418" y="1332194"/>
                    <a:pt x="356727" y="1332194"/>
                  </a:cubicBezTo>
                  <a:lnTo>
                    <a:pt x="292433" y="1357773"/>
                  </a:lnTo>
                  <a:cubicBezTo>
                    <a:pt x="291050" y="1358465"/>
                    <a:pt x="290359" y="1358465"/>
                    <a:pt x="290359" y="1359156"/>
                  </a:cubicBezTo>
                  <a:close/>
                  <a:moveTo>
                    <a:pt x="256484" y="386454"/>
                  </a:moveTo>
                  <a:lnTo>
                    <a:pt x="290359" y="401663"/>
                  </a:lnTo>
                  <a:cubicBezTo>
                    <a:pt x="291050" y="401663"/>
                    <a:pt x="291050" y="402354"/>
                    <a:pt x="291742" y="402354"/>
                  </a:cubicBezTo>
                  <a:lnTo>
                    <a:pt x="356035" y="427934"/>
                  </a:lnTo>
                  <a:cubicBezTo>
                    <a:pt x="356727" y="427934"/>
                    <a:pt x="357418" y="428625"/>
                    <a:pt x="358109" y="428625"/>
                  </a:cubicBezTo>
                  <a:lnTo>
                    <a:pt x="423094" y="450747"/>
                  </a:lnTo>
                  <a:cubicBezTo>
                    <a:pt x="423786" y="450747"/>
                    <a:pt x="424477" y="451439"/>
                    <a:pt x="424477" y="451439"/>
                  </a:cubicBezTo>
                  <a:lnTo>
                    <a:pt x="464574" y="463192"/>
                  </a:lnTo>
                  <a:cubicBezTo>
                    <a:pt x="433464" y="585557"/>
                    <a:pt x="415490" y="712070"/>
                    <a:pt x="413416" y="838584"/>
                  </a:cubicBezTo>
                  <a:lnTo>
                    <a:pt x="85034" y="838584"/>
                  </a:lnTo>
                  <a:cubicBezTo>
                    <a:pt x="94712" y="668517"/>
                    <a:pt x="156932" y="512276"/>
                    <a:pt x="256484" y="386454"/>
                  </a:cubicBezTo>
                  <a:close/>
                  <a:moveTo>
                    <a:pt x="839275" y="84342"/>
                  </a:moveTo>
                  <a:lnTo>
                    <a:pt x="839275" y="437612"/>
                  </a:lnTo>
                  <a:lnTo>
                    <a:pt x="780512" y="434847"/>
                  </a:lnTo>
                  <a:lnTo>
                    <a:pt x="712762" y="428625"/>
                  </a:lnTo>
                  <a:lnTo>
                    <a:pt x="646394" y="418946"/>
                  </a:lnTo>
                  <a:lnTo>
                    <a:pt x="580027" y="405811"/>
                  </a:lnTo>
                  <a:lnTo>
                    <a:pt x="568965" y="403046"/>
                  </a:lnTo>
                  <a:cubicBezTo>
                    <a:pt x="601458" y="300037"/>
                    <a:pt x="644320" y="199795"/>
                    <a:pt x="698244" y="104391"/>
                  </a:cubicBezTo>
                  <a:cubicBezTo>
                    <a:pt x="743872" y="94021"/>
                    <a:pt x="790882" y="87108"/>
                    <a:pt x="839275" y="84342"/>
                  </a:cubicBezTo>
                  <a:close/>
                  <a:moveTo>
                    <a:pt x="1061193" y="104391"/>
                  </a:moveTo>
                  <a:cubicBezTo>
                    <a:pt x="1115808" y="200486"/>
                    <a:pt x="1159362" y="301420"/>
                    <a:pt x="1191854" y="404428"/>
                  </a:cubicBezTo>
                  <a:lnTo>
                    <a:pt x="1181484" y="406502"/>
                  </a:lnTo>
                  <a:lnTo>
                    <a:pt x="1115808" y="419638"/>
                  </a:lnTo>
                  <a:lnTo>
                    <a:pt x="1049440" y="428625"/>
                  </a:lnTo>
                  <a:lnTo>
                    <a:pt x="981690" y="434847"/>
                  </a:lnTo>
                  <a:lnTo>
                    <a:pt x="922235" y="437612"/>
                  </a:lnTo>
                  <a:lnTo>
                    <a:pt x="922235" y="84342"/>
                  </a:lnTo>
                  <a:cubicBezTo>
                    <a:pt x="969937" y="87108"/>
                    <a:pt x="1016256" y="94021"/>
                    <a:pt x="1061193" y="104391"/>
                  </a:cubicBezTo>
                  <a:close/>
                  <a:moveTo>
                    <a:pt x="1213285" y="1275505"/>
                  </a:moveTo>
                  <a:lnTo>
                    <a:pt x="1200841" y="1272740"/>
                  </a:lnTo>
                  <a:cubicBezTo>
                    <a:pt x="1200150" y="1272740"/>
                    <a:pt x="1199459" y="1272048"/>
                    <a:pt x="1198767" y="1272048"/>
                  </a:cubicBezTo>
                  <a:lnTo>
                    <a:pt x="1131017" y="1259604"/>
                  </a:lnTo>
                  <a:cubicBezTo>
                    <a:pt x="1130326" y="1259604"/>
                    <a:pt x="1130326" y="1259604"/>
                    <a:pt x="1129634" y="1259604"/>
                  </a:cubicBezTo>
                  <a:lnTo>
                    <a:pt x="1061193" y="1249926"/>
                  </a:lnTo>
                  <a:cubicBezTo>
                    <a:pt x="1060501" y="1249926"/>
                    <a:pt x="1059810" y="1249926"/>
                    <a:pt x="1059119" y="1249926"/>
                  </a:cubicBezTo>
                  <a:lnTo>
                    <a:pt x="989985" y="1243013"/>
                  </a:lnTo>
                  <a:cubicBezTo>
                    <a:pt x="989294" y="1243013"/>
                    <a:pt x="988603" y="1243013"/>
                    <a:pt x="987220" y="1243013"/>
                  </a:cubicBezTo>
                  <a:lnTo>
                    <a:pt x="923618" y="1240938"/>
                  </a:lnTo>
                  <a:lnTo>
                    <a:pt x="923618" y="922235"/>
                  </a:lnTo>
                  <a:lnTo>
                    <a:pt x="1265135" y="922235"/>
                  </a:lnTo>
                  <a:cubicBezTo>
                    <a:pt x="1260987" y="1041144"/>
                    <a:pt x="1243704" y="1159361"/>
                    <a:pt x="1213285" y="1275505"/>
                  </a:cubicBezTo>
                  <a:close/>
                  <a:moveTo>
                    <a:pt x="562052" y="1272740"/>
                  </a:moveTo>
                  <a:lnTo>
                    <a:pt x="550299" y="1275505"/>
                  </a:lnTo>
                  <a:cubicBezTo>
                    <a:pt x="519189" y="1159361"/>
                    <a:pt x="501906" y="1041144"/>
                    <a:pt x="498449" y="922235"/>
                  </a:cubicBezTo>
                  <a:lnTo>
                    <a:pt x="839275" y="922235"/>
                  </a:lnTo>
                  <a:lnTo>
                    <a:pt x="839275" y="1239556"/>
                  </a:lnTo>
                  <a:lnTo>
                    <a:pt x="775673" y="1242321"/>
                  </a:lnTo>
                  <a:cubicBezTo>
                    <a:pt x="774982" y="1242321"/>
                    <a:pt x="774290" y="1242321"/>
                    <a:pt x="773599" y="1242321"/>
                  </a:cubicBezTo>
                  <a:lnTo>
                    <a:pt x="704466" y="1249234"/>
                  </a:lnTo>
                  <a:cubicBezTo>
                    <a:pt x="703775" y="1249234"/>
                    <a:pt x="703083" y="1249234"/>
                    <a:pt x="702392" y="1249234"/>
                  </a:cubicBezTo>
                  <a:lnTo>
                    <a:pt x="633950" y="1258913"/>
                  </a:lnTo>
                  <a:cubicBezTo>
                    <a:pt x="633259" y="1258913"/>
                    <a:pt x="633259" y="1258913"/>
                    <a:pt x="632568" y="1258913"/>
                  </a:cubicBezTo>
                  <a:lnTo>
                    <a:pt x="564817" y="1271357"/>
                  </a:lnTo>
                  <a:cubicBezTo>
                    <a:pt x="563435" y="1272740"/>
                    <a:pt x="562743" y="1272740"/>
                    <a:pt x="562052" y="1272740"/>
                  </a:cubicBezTo>
                  <a:close/>
                  <a:moveTo>
                    <a:pt x="546151" y="483931"/>
                  </a:moveTo>
                  <a:lnTo>
                    <a:pt x="562052" y="487388"/>
                  </a:lnTo>
                  <a:cubicBezTo>
                    <a:pt x="562743" y="487388"/>
                    <a:pt x="562743" y="487388"/>
                    <a:pt x="563435" y="487388"/>
                  </a:cubicBezTo>
                  <a:lnTo>
                    <a:pt x="631185" y="500523"/>
                  </a:lnTo>
                  <a:cubicBezTo>
                    <a:pt x="631876" y="500523"/>
                    <a:pt x="632568" y="500523"/>
                    <a:pt x="633259" y="500523"/>
                  </a:cubicBezTo>
                  <a:lnTo>
                    <a:pt x="701701" y="510202"/>
                  </a:lnTo>
                  <a:cubicBezTo>
                    <a:pt x="702392" y="510202"/>
                    <a:pt x="703083" y="510202"/>
                    <a:pt x="703775" y="510202"/>
                  </a:cubicBezTo>
                  <a:lnTo>
                    <a:pt x="772908" y="517115"/>
                  </a:lnTo>
                  <a:cubicBezTo>
                    <a:pt x="773599" y="517115"/>
                    <a:pt x="774290" y="517115"/>
                    <a:pt x="774982" y="517115"/>
                  </a:cubicBezTo>
                  <a:lnTo>
                    <a:pt x="838584" y="519881"/>
                  </a:lnTo>
                  <a:lnTo>
                    <a:pt x="838584" y="837201"/>
                  </a:lnTo>
                  <a:lnTo>
                    <a:pt x="497758" y="837201"/>
                  </a:lnTo>
                  <a:cubicBezTo>
                    <a:pt x="500523" y="719675"/>
                    <a:pt x="516424" y="600075"/>
                    <a:pt x="546151" y="483931"/>
                  </a:cubicBezTo>
                  <a:close/>
                  <a:moveTo>
                    <a:pt x="922235" y="838584"/>
                  </a:moveTo>
                  <a:lnTo>
                    <a:pt x="922235" y="521263"/>
                  </a:lnTo>
                  <a:lnTo>
                    <a:pt x="986529" y="518498"/>
                  </a:lnTo>
                  <a:cubicBezTo>
                    <a:pt x="987220" y="518498"/>
                    <a:pt x="987912" y="518498"/>
                    <a:pt x="988603" y="518498"/>
                  </a:cubicBezTo>
                  <a:lnTo>
                    <a:pt x="1057736" y="511584"/>
                  </a:lnTo>
                  <a:cubicBezTo>
                    <a:pt x="1058427" y="511584"/>
                    <a:pt x="1058427" y="511584"/>
                    <a:pt x="1059119" y="511584"/>
                  </a:cubicBezTo>
                  <a:lnTo>
                    <a:pt x="1127560" y="502597"/>
                  </a:lnTo>
                  <a:cubicBezTo>
                    <a:pt x="1128252" y="502597"/>
                    <a:pt x="1128943" y="502597"/>
                    <a:pt x="1130326" y="501906"/>
                  </a:cubicBezTo>
                  <a:lnTo>
                    <a:pt x="1198076" y="488771"/>
                  </a:lnTo>
                  <a:cubicBezTo>
                    <a:pt x="1198767" y="488771"/>
                    <a:pt x="1198767" y="488771"/>
                    <a:pt x="1199459" y="488771"/>
                  </a:cubicBezTo>
                  <a:lnTo>
                    <a:pt x="1214668" y="485314"/>
                  </a:lnTo>
                  <a:cubicBezTo>
                    <a:pt x="1244395" y="601457"/>
                    <a:pt x="1260987" y="720366"/>
                    <a:pt x="1263753" y="839275"/>
                  </a:cubicBezTo>
                  <a:lnTo>
                    <a:pt x="922235" y="839275"/>
                  </a:lnTo>
                  <a:close/>
                  <a:moveTo>
                    <a:pt x="1348095" y="838584"/>
                  </a:moveTo>
                  <a:cubicBezTo>
                    <a:pt x="1345329" y="712070"/>
                    <a:pt x="1327355" y="586249"/>
                    <a:pt x="1296245" y="463883"/>
                  </a:cubicBezTo>
                  <a:lnTo>
                    <a:pt x="1336342" y="452130"/>
                  </a:lnTo>
                  <a:cubicBezTo>
                    <a:pt x="1337034" y="452130"/>
                    <a:pt x="1337034" y="452130"/>
                    <a:pt x="1337725" y="451439"/>
                  </a:cubicBezTo>
                  <a:lnTo>
                    <a:pt x="1404093" y="429316"/>
                  </a:lnTo>
                  <a:cubicBezTo>
                    <a:pt x="1404784" y="429316"/>
                    <a:pt x="1405475" y="428625"/>
                    <a:pt x="1405475" y="428625"/>
                  </a:cubicBezTo>
                  <a:lnTo>
                    <a:pt x="1469769" y="403737"/>
                  </a:lnTo>
                  <a:cubicBezTo>
                    <a:pt x="1470460" y="403737"/>
                    <a:pt x="1471152" y="403046"/>
                    <a:pt x="1471843" y="403046"/>
                  </a:cubicBezTo>
                  <a:lnTo>
                    <a:pt x="1506410" y="387145"/>
                  </a:lnTo>
                  <a:cubicBezTo>
                    <a:pt x="1605270" y="512967"/>
                    <a:pt x="1667490" y="668517"/>
                    <a:pt x="1676477" y="838584"/>
                  </a:cubicBezTo>
                  <a:lnTo>
                    <a:pt x="1348095" y="838584"/>
                  </a:lnTo>
                  <a:close/>
                  <a:moveTo>
                    <a:pt x="1449029" y="322160"/>
                  </a:moveTo>
                  <a:lnTo>
                    <a:pt x="1439350" y="326999"/>
                  </a:lnTo>
                  <a:lnTo>
                    <a:pt x="1377131" y="351196"/>
                  </a:lnTo>
                  <a:lnTo>
                    <a:pt x="1312837" y="373319"/>
                  </a:lnTo>
                  <a:lnTo>
                    <a:pt x="1274122" y="385071"/>
                  </a:lnTo>
                  <a:cubicBezTo>
                    <a:pt x="1247852" y="301420"/>
                    <a:pt x="1215359" y="219843"/>
                    <a:pt x="1175953" y="141031"/>
                  </a:cubicBezTo>
                  <a:cubicBezTo>
                    <a:pt x="1278962" y="181129"/>
                    <a:pt x="1371600" y="243348"/>
                    <a:pt x="1449029" y="322160"/>
                  </a:cubicBezTo>
                  <a:close/>
                  <a:moveTo>
                    <a:pt x="584866" y="140340"/>
                  </a:moveTo>
                  <a:cubicBezTo>
                    <a:pt x="546151" y="218461"/>
                    <a:pt x="513659" y="299346"/>
                    <a:pt x="488079" y="382306"/>
                  </a:cubicBezTo>
                  <a:lnTo>
                    <a:pt x="449365" y="371244"/>
                  </a:lnTo>
                  <a:lnTo>
                    <a:pt x="385763" y="349813"/>
                  </a:lnTo>
                  <a:lnTo>
                    <a:pt x="322851" y="324925"/>
                  </a:lnTo>
                  <a:lnTo>
                    <a:pt x="313864" y="320777"/>
                  </a:lnTo>
                  <a:cubicBezTo>
                    <a:pt x="390602" y="243348"/>
                    <a:pt x="482549" y="181820"/>
                    <a:pt x="584866" y="140340"/>
                  </a:cubicBezTo>
                  <a:close/>
                  <a:moveTo>
                    <a:pt x="314556" y="1439350"/>
                  </a:moveTo>
                  <a:lnTo>
                    <a:pt x="323543" y="1435203"/>
                  </a:lnTo>
                  <a:lnTo>
                    <a:pt x="385763" y="1410314"/>
                  </a:lnTo>
                  <a:lnTo>
                    <a:pt x="449365" y="1388883"/>
                  </a:lnTo>
                  <a:lnTo>
                    <a:pt x="492227" y="1376439"/>
                  </a:lnTo>
                  <a:cubicBezTo>
                    <a:pt x="519189" y="1460782"/>
                    <a:pt x="553756" y="1543742"/>
                    <a:pt x="594544" y="1623245"/>
                  </a:cubicBezTo>
                  <a:cubicBezTo>
                    <a:pt x="488771" y="1582456"/>
                    <a:pt x="393367" y="1518853"/>
                    <a:pt x="314556" y="1439350"/>
                  </a:cubicBezTo>
                  <a:close/>
                  <a:moveTo>
                    <a:pt x="1169731" y="1622553"/>
                  </a:moveTo>
                  <a:cubicBezTo>
                    <a:pt x="1209829" y="1543050"/>
                    <a:pt x="1243704" y="1460782"/>
                    <a:pt x="1270666" y="1376439"/>
                  </a:cubicBezTo>
                  <a:lnTo>
                    <a:pt x="1311454" y="1388192"/>
                  </a:lnTo>
                  <a:lnTo>
                    <a:pt x="1375748" y="1409623"/>
                  </a:lnTo>
                  <a:lnTo>
                    <a:pt x="1438659" y="1434511"/>
                  </a:lnTo>
                  <a:lnTo>
                    <a:pt x="1448338" y="1438659"/>
                  </a:lnTo>
                  <a:cubicBezTo>
                    <a:pt x="1370217" y="1518162"/>
                    <a:pt x="1275505" y="1581073"/>
                    <a:pt x="1169731" y="1622553"/>
                  </a:cubicBezTo>
                  <a:close/>
                </a:path>
              </a:pathLst>
            </a:custGeom>
            <a:grpFill/>
            <a:ln w="6913" cap="flat">
              <a:noFill/>
              <a:prstDash val="solid"/>
              <a:miter/>
            </a:ln>
          </p:spPr>
          <p:txBody>
            <a:bodyPr rtlCol="0" anchor="ctr"/>
            <a:lstStyle/>
            <a:p>
              <a:pPr defTabSz="457189"/>
              <a:endParaRPr lang="fr-FR" sz="1350">
                <a:solidFill>
                  <a:prstClr val="black"/>
                </a:solidFill>
                <a:latin typeface="Arial"/>
              </a:endParaRPr>
            </a:p>
          </p:txBody>
        </p:sp>
      </p:grpSp>
      <p:sp>
        <p:nvSpPr>
          <p:cNvPr id="2" name="ZoneTexte 1">
            <a:extLst>
              <a:ext uri="{FF2B5EF4-FFF2-40B4-BE49-F238E27FC236}">
                <a16:creationId xmlns:a16="http://schemas.microsoft.com/office/drawing/2014/main" id="{62ED3367-EBF6-3D5A-E206-85E1D68FC647}"/>
              </a:ext>
            </a:extLst>
          </p:cNvPr>
          <p:cNvSpPr txBox="1"/>
          <p:nvPr/>
        </p:nvSpPr>
        <p:spPr>
          <a:xfrm>
            <a:off x="290358" y="435213"/>
            <a:ext cx="856858" cy="3032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defTabSz="457189">
              <a:lnSpc>
                <a:spcPts val="1050"/>
              </a:lnSpc>
              <a:buClr>
                <a:srgbClr val="007C54"/>
              </a:buClr>
              <a:defRPr/>
            </a:pPr>
            <a:r>
              <a:rPr lang="fr-FR" sz="3600" b="1" dirty="0">
                <a:solidFill>
                  <a:srgbClr val="0070C0"/>
                </a:solidFill>
                <a:latin typeface="Arial"/>
              </a:rPr>
              <a:t>3</a:t>
            </a:r>
          </a:p>
        </p:txBody>
      </p:sp>
      <p:cxnSp>
        <p:nvCxnSpPr>
          <p:cNvPr id="5" name="Connecteur droit 4">
            <a:extLst>
              <a:ext uri="{FF2B5EF4-FFF2-40B4-BE49-F238E27FC236}">
                <a16:creationId xmlns:a16="http://schemas.microsoft.com/office/drawing/2014/main" id="{A0AB0110-2090-7BDB-4650-5FB272C67553}"/>
              </a:ext>
            </a:extLst>
          </p:cNvPr>
          <p:cNvCxnSpPr>
            <a:cxnSpLocks/>
          </p:cNvCxnSpPr>
          <p:nvPr/>
        </p:nvCxnSpPr>
        <p:spPr>
          <a:xfrm flipV="1">
            <a:off x="642039" y="286499"/>
            <a:ext cx="0" cy="531113"/>
          </a:xfrm>
          <a:prstGeom prst="line">
            <a:avLst/>
          </a:prstGeom>
          <a:ln w="25400" cap="rnd">
            <a:solidFill>
              <a:srgbClr val="0070C0"/>
            </a:solidFill>
            <a:prstDash val="solid"/>
            <a:round/>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8731307" y="4861333"/>
            <a:ext cx="312906" cy="230832"/>
          </a:xfrm>
          <a:prstGeom prst="rect">
            <a:avLst/>
          </a:prstGeom>
        </p:spPr>
        <p:txBody>
          <a:bodyPr wrap="none">
            <a:spAutoFit/>
          </a:bodyPr>
          <a:lstStyle/>
          <a:p>
            <a:pPr defTabSz="457189"/>
            <a:r>
              <a:rPr lang="fr-FR" sz="900" b="1" dirty="0">
                <a:solidFill>
                  <a:prstClr val="white"/>
                </a:solidFill>
                <a:latin typeface="Arial"/>
              </a:rPr>
              <a:t>63</a:t>
            </a:r>
          </a:p>
        </p:txBody>
      </p:sp>
    </p:spTree>
    <p:extLst>
      <p:ext uri="{BB962C8B-B14F-4D97-AF65-F5344CB8AC3E}">
        <p14:creationId xmlns:p14="http://schemas.microsoft.com/office/powerpoint/2010/main" val="2913019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6193" name="Diapositive think-cell" r:id="rId4" imgW="416" imgH="416" progId="TCLayout.ActiveDocument.1">
                  <p:embed/>
                </p:oleObj>
              </mc:Choice>
              <mc:Fallback>
                <p:oleObj name="Diapositive think-cell" r:id="rId4" imgW="416" imgH="416" progId="TCLayout.ActiveDocument.1">
                  <p:embed/>
                  <p:pic>
                    <p:nvPicPr>
                      <p:cNvPr id="4" name="Obje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3" name="ZoneTexte 2">
            <a:extLst>
              <a:ext uri="{FF2B5EF4-FFF2-40B4-BE49-F238E27FC236}">
                <a16:creationId xmlns:a16="http://schemas.microsoft.com/office/drawing/2014/main" id="{21735AED-C172-72ED-8922-5A19A6923E7D}"/>
              </a:ext>
            </a:extLst>
          </p:cNvPr>
          <p:cNvSpPr txBox="1"/>
          <p:nvPr/>
        </p:nvSpPr>
        <p:spPr>
          <a:xfrm>
            <a:off x="8672513" y="1406052"/>
            <a:ext cx="0" cy="0"/>
          </a:xfrm>
          <a:prstGeom prst="rect">
            <a:avLst/>
          </a:prstGeom>
          <a:noFill/>
          <a:ln w="9525" cap="rnd">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1350" dirty="0" err="1">
              <a:solidFill>
                <a:prstClr val="black"/>
              </a:solidFill>
              <a:latin typeface="Arial"/>
            </a:endParaRPr>
          </a:p>
        </p:txBody>
      </p:sp>
      <p:sp>
        <p:nvSpPr>
          <p:cNvPr id="104" name="ZoneTexte 103">
            <a:extLst>
              <a:ext uri="{FF2B5EF4-FFF2-40B4-BE49-F238E27FC236}">
                <a16:creationId xmlns:a16="http://schemas.microsoft.com/office/drawing/2014/main" id="{2DCAEEFB-45D5-60DE-B8BE-8DB818BAFAE0}"/>
              </a:ext>
            </a:extLst>
          </p:cNvPr>
          <p:cNvSpPr txBox="1"/>
          <p:nvPr/>
        </p:nvSpPr>
        <p:spPr>
          <a:xfrm>
            <a:off x="-1293471" y="21094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1350" dirty="0" err="1">
              <a:solidFill>
                <a:prstClr val="black"/>
              </a:solidFill>
              <a:latin typeface="Arial"/>
            </a:endParaRPr>
          </a:p>
        </p:txBody>
      </p:sp>
      <p:grpSp>
        <p:nvGrpSpPr>
          <p:cNvPr id="6" name="Groupe 5">
            <a:extLst>
              <a:ext uri="{FF2B5EF4-FFF2-40B4-BE49-F238E27FC236}">
                <a16:creationId xmlns:a16="http://schemas.microsoft.com/office/drawing/2014/main" id="{E6ABC533-A484-301E-BD13-4E37F3270ABC}"/>
              </a:ext>
            </a:extLst>
          </p:cNvPr>
          <p:cNvGrpSpPr/>
          <p:nvPr/>
        </p:nvGrpSpPr>
        <p:grpSpPr>
          <a:xfrm>
            <a:off x="7861056" y="197945"/>
            <a:ext cx="811456" cy="570153"/>
            <a:chOff x="7008183" y="1043880"/>
            <a:chExt cx="1175577" cy="825996"/>
          </a:xfrm>
          <a:noFill/>
        </p:grpSpPr>
        <p:sp>
          <p:nvSpPr>
            <p:cNvPr id="7" name="Forme libre 6">
              <a:extLst>
                <a:ext uri="{FF2B5EF4-FFF2-40B4-BE49-F238E27FC236}">
                  <a16:creationId xmlns:a16="http://schemas.microsoft.com/office/drawing/2014/main" id="{AA1F853B-6601-D47D-0AA8-5615C52F44E4}"/>
                </a:ext>
              </a:extLst>
            </p:cNvPr>
            <p:cNvSpPr/>
            <p:nvPr/>
          </p:nvSpPr>
          <p:spPr>
            <a:xfrm>
              <a:off x="8057852" y="1293911"/>
              <a:ext cx="125908" cy="50006"/>
            </a:xfrm>
            <a:custGeom>
              <a:avLst/>
              <a:gdLst>
                <a:gd name="connsiteX0" fmla="*/ 0 w 125908"/>
                <a:gd name="connsiteY0" fmla="*/ 50006 h 50006"/>
                <a:gd name="connsiteX1" fmla="*/ 11608 w 125908"/>
                <a:gd name="connsiteY1" fmla="*/ 27682 h 50006"/>
                <a:gd name="connsiteX2" fmla="*/ 56257 w 125908"/>
                <a:gd name="connsiteY2" fmla="*/ 0 h 50006"/>
                <a:gd name="connsiteX3" fmla="*/ 125908 w 125908"/>
                <a:gd name="connsiteY3" fmla="*/ 0 h 50006"/>
              </a:gdLst>
              <a:ahLst/>
              <a:cxnLst>
                <a:cxn ang="0">
                  <a:pos x="connsiteX0" y="connsiteY0"/>
                </a:cxn>
                <a:cxn ang="0">
                  <a:pos x="connsiteX1" y="connsiteY1"/>
                </a:cxn>
                <a:cxn ang="0">
                  <a:pos x="connsiteX2" y="connsiteY2"/>
                </a:cxn>
                <a:cxn ang="0">
                  <a:pos x="connsiteX3" y="connsiteY3"/>
                </a:cxn>
              </a:cxnLst>
              <a:rect l="l" t="t" r="r" b="b"/>
              <a:pathLst>
                <a:path w="125908" h="50006">
                  <a:moveTo>
                    <a:pt x="0" y="50006"/>
                  </a:moveTo>
                  <a:lnTo>
                    <a:pt x="11608" y="27682"/>
                  </a:lnTo>
                  <a:cubicBezTo>
                    <a:pt x="20538" y="10716"/>
                    <a:pt x="37505" y="0"/>
                    <a:pt x="56257" y="0"/>
                  </a:cubicBezTo>
                  <a:lnTo>
                    <a:pt x="125908" y="0"/>
                  </a:ln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sp>
          <p:nvSpPr>
            <p:cNvPr id="11" name="Forme libre 10">
              <a:extLst>
                <a:ext uri="{FF2B5EF4-FFF2-40B4-BE49-F238E27FC236}">
                  <a16:creationId xmlns:a16="http://schemas.microsoft.com/office/drawing/2014/main" id="{4ABC49EB-2656-9014-5BB6-5441C2960717}"/>
                </a:ext>
              </a:extLst>
            </p:cNvPr>
            <p:cNvSpPr/>
            <p:nvPr/>
          </p:nvSpPr>
          <p:spPr>
            <a:xfrm>
              <a:off x="7478315" y="1343917"/>
              <a:ext cx="679549" cy="375939"/>
            </a:xfrm>
            <a:custGeom>
              <a:avLst/>
              <a:gdLst>
                <a:gd name="connsiteX0" fmla="*/ 75010 w 679549"/>
                <a:gd name="connsiteY0" fmla="*/ 0 h 375939"/>
                <a:gd name="connsiteX1" fmla="*/ 529530 w 679549"/>
                <a:gd name="connsiteY1" fmla="*/ 0 h 375939"/>
                <a:gd name="connsiteX2" fmla="*/ 679550 w 679549"/>
                <a:gd name="connsiteY2" fmla="*/ 150019 h 375939"/>
                <a:gd name="connsiteX3" fmla="*/ 679550 w 679549"/>
                <a:gd name="connsiteY3" fmla="*/ 325934 h 375939"/>
                <a:gd name="connsiteX4" fmla="*/ 629543 w 679549"/>
                <a:gd name="connsiteY4" fmla="*/ 375940 h 375939"/>
                <a:gd name="connsiteX5" fmla="*/ 0 w 679549"/>
                <a:gd name="connsiteY5" fmla="*/ 375940 h 37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549" h="375939">
                  <a:moveTo>
                    <a:pt x="75010" y="0"/>
                  </a:moveTo>
                  <a:lnTo>
                    <a:pt x="529530" y="0"/>
                  </a:lnTo>
                  <a:cubicBezTo>
                    <a:pt x="612577" y="0"/>
                    <a:pt x="679550" y="66973"/>
                    <a:pt x="679550" y="150019"/>
                  </a:cubicBezTo>
                  <a:lnTo>
                    <a:pt x="679550" y="325934"/>
                  </a:lnTo>
                  <a:cubicBezTo>
                    <a:pt x="679550" y="353616"/>
                    <a:pt x="657225" y="375940"/>
                    <a:pt x="629543" y="375940"/>
                  </a:cubicBezTo>
                  <a:lnTo>
                    <a:pt x="0" y="375940"/>
                  </a:lnTo>
                </a:path>
              </a:pathLst>
            </a:custGeom>
            <a:grpFill/>
            <a:ln w="41275" cap="flat">
              <a:solidFill>
                <a:schemeClr val="accent2"/>
              </a:solidFill>
              <a:prstDash val="solid"/>
              <a:miter/>
            </a:ln>
          </p:spPr>
          <p:txBody>
            <a:bodyPr rtlCol="0" anchor="ctr"/>
            <a:lstStyle/>
            <a:p>
              <a:pPr defTabSz="457189"/>
              <a:endParaRPr lang="fr-FR" sz="1350" dirty="0">
                <a:solidFill>
                  <a:srgbClr val="008B92"/>
                </a:solidFill>
                <a:latin typeface="Arial"/>
              </a:endParaRPr>
            </a:p>
          </p:txBody>
        </p:sp>
        <p:sp>
          <p:nvSpPr>
            <p:cNvPr id="12" name="Forme libre 11">
              <a:extLst>
                <a:ext uri="{FF2B5EF4-FFF2-40B4-BE49-F238E27FC236}">
                  <a16:creationId xmlns:a16="http://schemas.microsoft.com/office/drawing/2014/main" id="{C7CD3FB5-AF9F-D62B-862A-C80DC0D4F76C}"/>
                </a:ext>
              </a:extLst>
            </p:cNvPr>
            <p:cNvSpPr/>
            <p:nvPr/>
          </p:nvSpPr>
          <p:spPr>
            <a:xfrm>
              <a:off x="7932836" y="1794867"/>
              <a:ext cx="175021" cy="75009"/>
            </a:xfrm>
            <a:custGeom>
              <a:avLst/>
              <a:gdLst>
                <a:gd name="connsiteX0" fmla="*/ 175022 w 175021"/>
                <a:gd name="connsiteY0" fmla="*/ 0 h 75009"/>
                <a:gd name="connsiteX1" fmla="*/ 175022 w 175021"/>
                <a:gd name="connsiteY1" fmla="*/ 25003 h 75009"/>
                <a:gd name="connsiteX2" fmla="*/ 125016 w 175021"/>
                <a:gd name="connsiteY2" fmla="*/ 75009 h 75009"/>
                <a:gd name="connsiteX3" fmla="*/ 50006 w 175021"/>
                <a:gd name="connsiteY3" fmla="*/ 75009 h 75009"/>
                <a:gd name="connsiteX4" fmla="*/ 0 w 175021"/>
                <a:gd name="connsiteY4" fmla="*/ 25003 h 75009"/>
                <a:gd name="connsiteX5" fmla="*/ 0 w 175021"/>
                <a:gd name="connsiteY5" fmla="*/ 0 h 7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21" h="75009">
                  <a:moveTo>
                    <a:pt x="175022" y="0"/>
                  </a:moveTo>
                  <a:lnTo>
                    <a:pt x="175022" y="25003"/>
                  </a:lnTo>
                  <a:cubicBezTo>
                    <a:pt x="175022" y="52685"/>
                    <a:pt x="152697" y="75009"/>
                    <a:pt x="125016" y="75009"/>
                  </a:cubicBezTo>
                  <a:lnTo>
                    <a:pt x="50006" y="75009"/>
                  </a:lnTo>
                  <a:cubicBezTo>
                    <a:pt x="22324" y="75009"/>
                    <a:pt x="0" y="52685"/>
                    <a:pt x="0" y="25003"/>
                  </a:cubicBezTo>
                  <a:lnTo>
                    <a:pt x="0" y="0"/>
                  </a:ln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sp>
          <p:nvSpPr>
            <p:cNvPr id="14" name="Forme libre 13">
              <a:extLst>
                <a:ext uri="{FF2B5EF4-FFF2-40B4-BE49-F238E27FC236}">
                  <a16:creationId xmlns:a16="http://schemas.microsoft.com/office/drawing/2014/main" id="{D3F57B05-2D68-FFED-A1F6-F7153347BDB9}"/>
                </a:ext>
              </a:extLst>
            </p:cNvPr>
            <p:cNvSpPr/>
            <p:nvPr/>
          </p:nvSpPr>
          <p:spPr>
            <a:xfrm>
              <a:off x="7457777" y="1168896"/>
              <a:ext cx="550068" cy="175914"/>
            </a:xfrm>
            <a:custGeom>
              <a:avLst/>
              <a:gdLst>
                <a:gd name="connsiteX0" fmla="*/ 0 w 550068"/>
                <a:gd name="connsiteY0" fmla="*/ 45541 h 175914"/>
                <a:gd name="connsiteX1" fmla="*/ 96441 w 550068"/>
                <a:gd name="connsiteY1" fmla="*/ 0 h 175914"/>
                <a:gd name="connsiteX2" fmla="*/ 376833 w 550068"/>
                <a:gd name="connsiteY2" fmla="*/ 0 h 175914"/>
                <a:gd name="connsiteX3" fmla="*/ 485775 w 550068"/>
                <a:gd name="connsiteY3" fmla="*/ 63401 h 175914"/>
                <a:gd name="connsiteX4" fmla="*/ 550069 w 550068"/>
                <a:gd name="connsiteY4" fmla="*/ 175915 h 175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068" h="175914">
                  <a:moveTo>
                    <a:pt x="0" y="45541"/>
                  </a:moveTo>
                  <a:cubicBezTo>
                    <a:pt x="23217" y="16966"/>
                    <a:pt x="58936" y="0"/>
                    <a:pt x="96441" y="0"/>
                  </a:cubicBezTo>
                  <a:lnTo>
                    <a:pt x="376833" y="0"/>
                  </a:lnTo>
                  <a:cubicBezTo>
                    <a:pt x="421481" y="0"/>
                    <a:pt x="463451" y="24110"/>
                    <a:pt x="485775" y="63401"/>
                  </a:cubicBezTo>
                  <a:lnTo>
                    <a:pt x="550069" y="175915"/>
                  </a:ln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sp>
          <p:nvSpPr>
            <p:cNvPr id="15" name="Forme libre 14">
              <a:extLst>
                <a:ext uri="{FF2B5EF4-FFF2-40B4-BE49-F238E27FC236}">
                  <a16:creationId xmlns:a16="http://schemas.microsoft.com/office/drawing/2014/main" id="{08F4B48C-53ED-23E6-069E-30D845E3DF4A}"/>
                </a:ext>
              </a:extLst>
            </p:cNvPr>
            <p:cNvSpPr/>
            <p:nvPr/>
          </p:nvSpPr>
          <p:spPr>
            <a:xfrm>
              <a:off x="7550646" y="1519832"/>
              <a:ext cx="306288" cy="100012"/>
            </a:xfrm>
            <a:custGeom>
              <a:avLst/>
              <a:gdLst>
                <a:gd name="connsiteX0" fmla="*/ 31254 w 306288"/>
                <a:gd name="connsiteY0" fmla="*/ 0 h 100012"/>
                <a:gd name="connsiteX1" fmla="*/ 256282 w 306288"/>
                <a:gd name="connsiteY1" fmla="*/ 0 h 100012"/>
                <a:gd name="connsiteX2" fmla="*/ 306288 w 306288"/>
                <a:gd name="connsiteY2" fmla="*/ 50006 h 100012"/>
                <a:gd name="connsiteX3" fmla="*/ 256282 w 306288"/>
                <a:gd name="connsiteY3" fmla="*/ 100012 h 100012"/>
                <a:gd name="connsiteX4" fmla="*/ 31254 w 306288"/>
                <a:gd name="connsiteY4" fmla="*/ 100012 h 100012"/>
                <a:gd name="connsiteX5" fmla="*/ 0 w 306288"/>
                <a:gd name="connsiteY5" fmla="*/ 88404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288" h="100012">
                  <a:moveTo>
                    <a:pt x="31254" y="0"/>
                  </a:moveTo>
                  <a:lnTo>
                    <a:pt x="256282" y="0"/>
                  </a:lnTo>
                  <a:cubicBezTo>
                    <a:pt x="283964" y="0"/>
                    <a:pt x="306288" y="22324"/>
                    <a:pt x="306288" y="50006"/>
                  </a:cubicBezTo>
                  <a:cubicBezTo>
                    <a:pt x="306288" y="77688"/>
                    <a:pt x="283964" y="100012"/>
                    <a:pt x="256282" y="100012"/>
                  </a:cubicBezTo>
                  <a:lnTo>
                    <a:pt x="31254" y="100012"/>
                  </a:lnTo>
                  <a:cubicBezTo>
                    <a:pt x="19645" y="100012"/>
                    <a:pt x="8036" y="95548"/>
                    <a:pt x="0" y="88404"/>
                  </a:cubicBez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sp>
          <p:nvSpPr>
            <p:cNvPr id="17" name="Forme libre 16">
              <a:extLst>
                <a:ext uri="{FF2B5EF4-FFF2-40B4-BE49-F238E27FC236}">
                  <a16:creationId xmlns:a16="http://schemas.microsoft.com/office/drawing/2014/main" id="{67943E97-BE0F-4530-81CB-BF6C20867685}"/>
                </a:ext>
              </a:extLst>
            </p:cNvPr>
            <p:cNvSpPr/>
            <p:nvPr/>
          </p:nvSpPr>
          <p:spPr>
            <a:xfrm>
              <a:off x="7932836" y="1494829"/>
              <a:ext cx="150018" cy="8929"/>
            </a:xfrm>
            <a:custGeom>
              <a:avLst/>
              <a:gdLst>
                <a:gd name="connsiteX0" fmla="*/ 0 w 150018"/>
                <a:gd name="connsiteY0" fmla="*/ 0 h 8929"/>
                <a:gd name="connsiteX1" fmla="*/ 150019 w 150018"/>
                <a:gd name="connsiteY1" fmla="*/ 0 h 8929"/>
              </a:gdLst>
              <a:ahLst/>
              <a:cxnLst>
                <a:cxn ang="0">
                  <a:pos x="connsiteX0" y="connsiteY0"/>
                </a:cxn>
                <a:cxn ang="0">
                  <a:pos x="connsiteX1" y="connsiteY1"/>
                </a:cxn>
              </a:cxnLst>
              <a:rect l="l" t="t" r="r" b="b"/>
              <a:pathLst>
                <a:path w="150018" h="8929">
                  <a:moveTo>
                    <a:pt x="0" y="0"/>
                  </a:moveTo>
                  <a:lnTo>
                    <a:pt x="150019" y="0"/>
                  </a:ln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sp>
          <p:nvSpPr>
            <p:cNvPr id="18" name="Forme libre 17">
              <a:extLst>
                <a:ext uri="{FF2B5EF4-FFF2-40B4-BE49-F238E27FC236}">
                  <a16:creationId xmlns:a16="http://schemas.microsoft.com/office/drawing/2014/main" id="{CBE6D951-986A-C164-42EC-E65541FAE220}"/>
                </a:ext>
              </a:extLst>
            </p:cNvPr>
            <p:cNvSpPr/>
            <p:nvPr/>
          </p:nvSpPr>
          <p:spPr>
            <a:xfrm>
              <a:off x="8007846" y="1619845"/>
              <a:ext cx="75009" cy="8929"/>
            </a:xfrm>
            <a:custGeom>
              <a:avLst/>
              <a:gdLst>
                <a:gd name="connsiteX0" fmla="*/ 0 w 75009"/>
                <a:gd name="connsiteY0" fmla="*/ 0 h 8929"/>
                <a:gd name="connsiteX1" fmla="*/ 75009 w 75009"/>
                <a:gd name="connsiteY1" fmla="*/ 0 h 8929"/>
              </a:gdLst>
              <a:ahLst/>
              <a:cxnLst>
                <a:cxn ang="0">
                  <a:pos x="connsiteX0" y="connsiteY0"/>
                </a:cxn>
                <a:cxn ang="0">
                  <a:pos x="connsiteX1" y="connsiteY1"/>
                </a:cxn>
              </a:cxnLst>
              <a:rect l="l" t="t" r="r" b="b"/>
              <a:pathLst>
                <a:path w="75009" h="8929">
                  <a:moveTo>
                    <a:pt x="0" y="0"/>
                  </a:moveTo>
                  <a:lnTo>
                    <a:pt x="75009" y="0"/>
                  </a:ln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sp>
          <p:nvSpPr>
            <p:cNvPr id="19" name="Forme libre 18">
              <a:extLst>
                <a:ext uri="{FF2B5EF4-FFF2-40B4-BE49-F238E27FC236}">
                  <a16:creationId xmlns:a16="http://schemas.microsoft.com/office/drawing/2014/main" id="{8260326D-ECE0-4208-5D82-6225FD03FE67}"/>
                </a:ext>
              </a:extLst>
            </p:cNvPr>
            <p:cNvSpPr/>
            <p:nvPr/>
          </p:nvSpPr>
          <p:spPr>
            <a:xfrm>
              <a:off x="7008183" y="1043880"/>
              <a:ext cx="500814" cy="676870"/>
            </a:xfrm>
            <a:custGeom>
              <a:avLst/>
              <a:gdLst>
                <a:gd name="connsiteX0" fmla="*/ 308505 w 500814"/>
                <a:gd name="connsiteY0" fmla="*/ 676870 h 676870"/>
                <a:gd name="connsiteX1" fmla="*/ 115623 w 500814"/>
                <a:gd name="connsiteY1" fmla="*/ 0 h 676870"/>
                <a:gd name="connsiteX2" fmla="*/ 373691 w 500814"/>
                <a:gd name="connsiteY2" fmla="*/ 675977 h 676870"/>
              </a:gdLst>
              <a:ahLst/>
              <a:cxnLst>
                <a:cxn ang="0">
                  <a:pos x="connsiteX0" y="connsiteY0"/>
                </a:cxn>
                <a:cxn ang="0">
                  <a:pos x="connsiteX1" y="connsiteY1"/>
                </a:cxn>
                <a:cxn ang="0">
                  <a:pos x="connsiteX2" y="connsiteY2"/>
                </a:cxn>
              </a:cxnLst>
              <a:rect l="l" t="t" r="r" b="b"/>
              <a:pathLst>
                <a:path w="500814" h="676870">
                  <a:moveTo>
                    <a:pt x="308505" y="676870"/>
                  </a:moveTo>
                  <a:cubicBezTo>
                    <a:pt x="-43325" y="659904"/>
                    <a:pt x="-74579" y="307181"/>
                    <a:pt x="115623" y="0"/>
                  </a:cubicBezTo>
                  <a:cubicBezTo>
                    <a:pt x="274572" y="150019"/>
                    <a:pt x="716591" y="325934"/>
                    <a:pt x="373691" y="675977"/>
                  </a:cubicBez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sp>
          <p:nvSpPr>
            <p:cNvPr id="20" name="Forme libre 19">
              <a:extLst>
                <a:ext uri="{FF2B5EF4-FFF2-40B4-BE49-F238E27FC236}">
                  <a16:creationId xmlns:a16="http://schemas.microsoft.com/office/drawing/2014/main" id="{656621B6-6C52-D68E-019A-4F01FE798FB5}"/>
                </a:ext>
              </a:extLst>
            </p:cNvPr>
            <p:cNvSpPr/>
            <p:nvPr/>
          </p:nvSpPr>
          <p:spPr>
            <a:xfrm>
              <a:off x="7183635" y="1260871"/>
              <a:ext cx="241101" cy="584001"/>
            </a:xfrm>
            <a:custGeom>
              <a:avLst/>
              <a:gdLst>
                <a:gd name="connsiteX0" fmla="*/ 241102 w 241101"/>
                <a:gd name="connsiteY0" fmla="*/ 584002 h 584001"/>
                <a:gd name="connsiteX1" fmla="*/ 0 w 241101"/>
                <a:gd name="connsiteY1" fmla="*/ 0 h 584001"/>
              </a:gdLst>
              <a:ahLst/>
              <a:cxnLst>
                <a:cxn ang="0">
                  <a:pos x="connsiteX0" y="connsiteY0"/>
                </a:cxn>
                <a:cxn ang="0">
                  <a:pos x="connsiteX1" y="connsiteY1"/>
                </a:cxn>
              </a:cxnLst>
              <a:rect l="l" t="t" r="r" b="b"/>
              <a:pathLst>
                <a:path w="241101" h="584001">
                  <a:moveTo>
                    <a:pt x="241102" y="584002"/>
                  </a:moveTo>
                  <a:cubicBezTo>
                    <a:pt x="198239" y="344686"/>
                    <a:pt x="67866" y="116086"/>
                    <a:pt x="0" y="0"/>
                  </a:cubicBez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sp>
          <p:nvSpPr>
            <p:cNvPr id="21" name="Forme libre 20">
              <a:extLst>
                <a:ext uri="{FF2B5EF4-FFF2-40B4-BE49-F238E27FC236}">
                  <a16:creationId xmlns:a16="http://schemas.microsoft.com/office/drawing/2014/main" id="{5EDA47E0-1805-6CC6-A23E-1323C22FF891}"/>
                </a:ext>
              </a:extLst>
            </p:cNvPr>
            <p:cNvSpPr/>
            <p:nvPr/>
          </p:nvSpPr>
          <p:spPr>
            <a:xfrm>
              <a:off x="7155953" y="1494829"/>
              <a:ext cx="200917" cy="100012"/>
            </a:xfrm>
            <a:custGeom>
              <a:avLst/>
              <a:gdLst>
                <a:gd name="connsiteX0" fmla="*/ 0 w 200917"/>
                <a:gd name="connsiteY0" fmla="*/ 0 h 100012"/>
                <a:gd name="connsiteX1" fmla="*/ 200918 w 200917"/>
                <a:gd name="connsiteY1" fmla="*/ 100013 h 100012"/>
              </a:gdLst>
              <a:ahLst/>
              <a:cxnLst>
                <a:cxn ang="0">
                  <a:pos x="connsiteX0" y="connsiteY0"/>
                </a:cxn>
                <a:cxn ang="0">
                  <a:pos x="connsiteX1" y="connsiteY1"/>
                </a:cxn>
              </a:cxnLst>
              <a:rect l="l" t="t" r="r" b="b"/>
              <a:pathLst>
                <a:path w="200917" h="100012">
                  <a:moveTo>
                    <a:pt x="0" y="0"/>
                  </a:moveTo>
                  <a:lnTo>
                    <a:pt x="200918" y="100013"/>
                  </a:ln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sp>
          <p:nvSpPr>
            <p:cNvPr id="22" name="Forme libre 21">
              <a:extLst>
                <a:ext uri="{FF2B5EF4-FFF2-40B4-BE49-F238E27FC236}">
                  <a16:creationId xmlns:a16="http://schemas.microsoft.com/office/drawing/2014/main" id="{79FC67A9-FB9F-58A6-4693-293E556795E1}"/>
                </a:ext>
              </a:extLst>
            </p:cNvPr>
            <p:cNvSpPr/>
            <p:nvPr/>
          </p:nvSpPr>
          <p:spPr>
            <a:xfrm>
              <a:off x="7281862" y="1318914"/>
              <a:ext cx="25003" cy="125908"/>
            </a:xfrm>
            <a:custGeom>
              <a:avLst/>
              <a:gdLst>
                <a:gd name="connsiteX0" fmla="*/ 0 w 25003"/>
                <a:gd name="connsiteY0" fmla="*/ 125909 h 125908"/>
                <a:gd name="connsiteX1" fmla="*/ 25003 w 25003"/>
                <a:gd name="connsiteY1" fmla="*/ 0 h 125908"/>
              </a:gdLst>
              <a:ahLst/>
              <a:cxnLst>
                <a:cxn ang="0">
                  <a:pos x="connsiteX0" y="connsiteY0"/>
                </a:cxn>
                <a:cxn ang="0">
                  <a:pos x="connsiteX1" y="connsiteY1"/>
                </a:cxn>
              </a:cxnLst>
              <a:rect l="l" t="t" r="r" b="b"/>
              <a:pathLst>
                <a:path w="25003" h="125908">
                  <a:moveTo>
                    <a:pt x="0" y="125909"/>
                  </a:moveTo>
                  <a:lnTo>
                    <a:pt x="25003" y="0"/>
                  </a:lnTo>
                </a:path>
              </a:pathLst>
            </a:custGeom>
            <a:grpFill/>
            <a:ln w="41275" cap="flat">
              <a:solidFill>
                <a:schemeClr val="accent2"/>
              </a:solidFill>
              <a:prstDash val="solid"/>
              <a:miter/>
            </a:ln>
          </p:spPr>
          <p:txBody>
            <a:bodyPr rtlCol="0" anchor="ctr"/>
            <a:lstStyle/>
            <a:p>
              <a:pPr defTabSz="457189"/>
              <a:endParaRPr lang="fr-FR" sz="1350">
                <a:solidFill>
                  <a:srgbClr val="008B92"/>
                </a:solidFill>
                <a:latin typeface="Arial"/>
              </a:endParaRPr>
            </a:p>
          </p:txBody>
        </p:sp>
      </p:grpSp>
      <p:sp>
        <p:nvSpPr>
          <p:cNvPr id="39" name="Titre 1">
            <a:extLst>
              <a:ext uri="{FF2B5EF4-FFF2-40B4-BE49-F238E27FC236}">
                <a16:creationId xmlns:a16="http://schemas.microsoft.com/office/drawing/2014/main" id="{7802188E-7DD9-335F-1D1D-C02DC86C9089}"/>
              </a:ext>
            </a:extLst>
          </p:cNvPr>
          <p:cNvSpPr txBox="1">
            <a:spLocks/>
          </p:cNvSpPr>
          <p:nvPr/>
        </p:nvSpPr>
        <p:spPr>
          <a:xfrm>
            <a:off x="877136" y="284864"/>
            <a:ext cx="6148320" cy="29084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7E93A5"/>
                </a:solidFill>
                <a:latin typeface="+mj-lt"/>
                <a:ea typeface="+mj-ea"/>
                <a:cs typeface="+mj-cs"/>
                <a:sym typeface="+mj-lt"/>
              </a:defRPr>
            </a:lvl1pPr>
          </a:lstStyle>
          <a:p>
            <a:pPr defTabSz="914378"/>
            <a:r>
              <a:rPr lang="fr-FR" sz="2100" dirty="0">
                <a:solidFill>
                  <a:prstClr val="black"/>
                </a:solidFill>
                <a:latin typeface="Avenir Next LT Pro"/>
              </a:rPr>
              <a:t>We want to </a:t>
            </a:r>
            <a:r>
              <a:rPr lang="fr-FR" sz="2100" dirty="0" err="1">
                <a:solidFill>
                  <a:prstClr val="black"/>
                </a:solidFill>
                <a:latin typeface="Avenir Next LT Pro"/>
              </a:rPr>
              <a:t>make</a:t>
            </a:r>
            <a:r>
              <a:rPr lang="fr-FR" sz="2100" dirty="0">
                <a:solidFill>
                  <a:prstClr val="black"/>
                </a:solidFill>
                <a:latin typeface="Avenir Next LT Pro"/>
              </a:rPr>
              <a:t> </a:t>
            </a:r>
            <a:r>
              <a:rPr lang="fr-FR" sz="2100" dirty="0" err="1">
                <a:solidFill>
                  <a:prstClr val="black"/>
                </a:solidFill>
                <a:latin typeface="Avenir Next LT Pro"/>
              </a:rPr>
              <a:t>concrete</a:t>
            </a:r>
            <a:r>
              <a:rPr lang="fr-FR" sz="2100" dirty="0">
                <a:solidFill>
                  <a:prstClr val="black"/>
                </a:solidFill>
                <a:latin typeface="Avenir Next LT Pro"/>
              </a:rPr>
              <a:t> </a:t>
            </a:r>
            <a:r>
              <a:rPr lang="fr-FR" sz="2100" dirty="0" err="1">
                <a:solidFill>
                  <a:prstClr val="black"/>
                </a:solidFill>
                <a:latin typeface="Avenir Next LT Pro"/>
              </a:rPr>
              <a:t>commitments</a:t>
            </a:r>
            <a:r>
              <a:rPr lang="fr-FR" sz="2100" dirty="0">
                <a:solidFill>
                  <a:prstClr val="black"/>
                </a:solidFill>
                <a:latin typeface="Avenir Next LT Pro"/>
              </a:rPr>
              <a:t> </a:t>
            </a:r>
            <a:r>
              <a:rPr lang="fr-FR" sz="2100" dirty="0">
                <a:solidFill>
                  <a:srgbClr val="00664B"/>
                </a:solidFill>
                <a:latin typeface="Avenir Next LT Pro"/>
              </a:rPr>
              <a:t> </a:t>
            </a:r>
          </a:p>
        </p:txBody>
      </p:sp>
      <p:sp>
        <p:nvSpPr>
          <p:cNvPr id="41" name="ZoneTexte 40">
            <a:extLst>
              <a:ext uri="{FF2B5EF4-FFF2-40B4-BE49-F238E27FC236}">
                <a16:creationId xmlns:a16="http://schemas.microsoft.com/office/drawing/2014/main" id="{EAFD74B6-7553-1209-40D6-BF9F4B91BE5F}"/>
              </a:ext>
            </a:extLst>
          </p:cNvPr>
          <p:cNvSpPr txBox="1"/>
          <p:nvPr/>
        </p:nvSpPr>
        <p:spPr>
          <a:xfrm>
            <a:off x="279170" y="476987"/>
            <a:ext cx="709343" cy="3032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defTabSz="457189">
              <a:lnSpc>
                <a:spcPts val="1050"/>
              </a:lnSpc>
              <a:buClr>
                <a:srgbClr val="007C54"/>
              </a:buClr>
              <a:defRPr/>
            </a:pPr>
            <a:r>
              <a:rPr lang="fr-FR" sz="3600" b="1" dirty="0">
                <a:solidFill>
                  <a:srgbClr val="00664B"/>
                </a:solidFill>
                <a:latin typeface="Arial"/>
              </a:rPr>
              <a:t>4</a:t>
            </a:r>
          </a:p>
        </p:txBody>
      </p:sp>
      <p:sp>
        <p:nvSpPr>
          <p:cNvPr id="45" name="ZoneTexte 44">
            <a:extLst>
              <a:ext uri="{FF2B5EF4-FFF2-40B4-BE49-F238E27FC236}">
                <a16:creationId xmlns:a16="http://schemas.microsoft.com/office/drawing/2014/main" id="{53112D0B-8E09-F6DB-3F8C-2385D7CD8413}"/>
              </a:ext>
            </a:extLst>
          </p:cNvPr>
          <p:cNvSpPr txBox="1"/>
          <p:nvPr/>
        </p:nvSpPr>
        <p:spPr>
          <a:xfrm>
            <a:off x="1386840" y="-12954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2400" b="1" dirty="0">
              <a:solidFill>
                <a:srgbClr val="0070C0"/>
              </a:solidFill>
              <a:latin typeface="Arial"/>
              <a:cs typeface="Arial"/>
            </a:endParaRPr>
          </a:p>
        </p:txBody>
      </p:sp>
      <p:grpSp>
        <p:nvGrpSpPr>
          <p:cNvPr id="47" name="Groupe 46">
            <a:extLst>
              <a:ext uri="{FF2B5EF4-FFF2-40B4-BE49-F238E27FC236}">
                <a16:creationId xmlns:a16="http://schemas.microsoft.com/office/drawing/2014/main" id="{AB1D2DDA-9BCC-C482-04AE-D03179E6A151}"/>
              </a:ext>
            </a:extLst>
          </p:cNvPr>
          <p:cNvGrpSpPr/>
          <p:nvPr/>
        </p:nvGrpSpPr>
        <p:grpSpPr>
          <a:xfrm>
            <a:off x="2708893" y="1186607"/>
            <a:ext cx="1257896" cy="3356435"/>
            <a:chOff x="7339470" y="1642328"/>
            <a:chExt cx="2585536" cy="3994577"/>
          </a:xfrm>
        </p:grpSpPr>
        <p:sp>
          <p:nvSpPr>
            <p:cNvPr id="67" name="Rectangle 66">
              <a:extLst>
                <a:ext uri="{FF2B5EF4-FFF2-40B4-BE49-F238E27FC236}">
                  <a16:creationId xmlns:a16="http://schemas.microsoft.com/office/drawing/2014/main" id="{3F8FA257-C801-7E56-48FC-968FCC5B8DCF}"/>
                </a:ext>
              </a:extLst>
            </p:cNvPr>
            <p:cNvSpPr/>
            <p:nvPr/>
          </p:nvSpPr>
          <p:spPr>
            <a:xfrm>
              <a:off x="7372619" y="2766732"/>
              <a:ext cx="2481413" cy="2737420"/>
            </a:xfrm>
            <a:prstGeom prst="rect">
              <a:avLst/>
            </a:prstGeom>
            <a:solidFill>
              <a:srgbClr val="00664B">
                <a:alpha val="1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68" name="Rectangle 67">
              <a:extLst>
                <a:ext uri="{FF2B5EF4-FFF2-40B4-BE49-F238E27FC236}">
                  <a16:creationId xmlns:a16="http://schemas.microsoft.com/office/drawing/2014/main" id="{F9F56CA7-2E37-9330-5C7E-C529CE6A20FD}"/>
                </a:ext>
              </a:extLst>
            </p:cNvPr>
            <p:cNvSpPr/>
            <p:nvPr/>
          </p:nvSpPr>
          <p:spPr>
            <a:xfrm>
              <a:off x="7358485" y="1658723"/>
              <a:ext cx="2501318" cy="1114287"/>
            </a:xfrm>
            <a:prstGeom prst="rect">
              <a:avLst/>
            </a:prstGeom>
            <a:solidFill>
              <a:srgbClr val="00664B">
                <a:alpha val="50000"/>
              </a:srgbClr>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69" name="ZoneTexte 68">
              <a:extLst>
                <a:ext uri="{FF2B5EF4-FFF2-40B4-BE49-F238E27FC236}">
                  <a16:creationId xmlns:a16="http://schemas.microsoft.com/office/drawing/2014/main" id="{6EE2E5B0-11B8-BA1C-0F39-6AD4C93185B5}"/>
                </a:ext>
              </a:extLst>
            </p:cNvPr>
            <p:cNvSpPr txBox="1"/>
            <p:nvPr/>
          </p:nvSpPr>
          <p:spPr>
            <a:xfrm>
              <a:off x="7339470" y="2990457"/>
              <a:ext cx="2585536" cy="141531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lvl="1" algn="ctr" defTabSz="457189">
                <a:buClr>
                  <a:srgbClr val="005908"/>
                </a:buClr>
                <a:defRPr/>
              </a:pPr>
              <a:r>
                <a:rPr lang="fr-FR" sz="638" b="1" kern="0" dirty="0">
                  <a:solidFill>
                    <a:srgbClr val="00664B"/>
                  </a:solidFill>
                  <a:latin typeface="Arial"/>
                  <a:cs typeface="Arial" panose="020B0604020202020204" pitchFamily="34" charset="0"/>
                </a:rPr>
                <a:t>·</a:t>
              </a:r>
            </a:p>
            <a:p>
              <a:pPr marL="0" lvl="1" algn="ctr" defTabSz="457189">
                <a:buClr>
                  <a:srgbClr val="005908"/>
                </a:buClr>
                <a:defRPr/>
              </a:pPr>
              <a:r>
                <a:rPr lang="fr-FR" sz="638" kern="0" dirty="0" err="1">
                  <a:solidFill>
                    <a:prstClr val="black"/>
                  </a:solidFill>
                  <a:latin typeface="Arial"/>
                  <a:cs typeface="Arial" panose="020B0604020202020204" pitchFamily="34" charset="0"/>
                </a:rPr>
                <a:t>Encouraging</a:t>
              </a:r>
              <a:r>
                <a:rPr lang="fr-FR" sz="638" kern="0" dirty="0">
                  <a:solidFill>
                    <a:prstClr val="black"/>
                  </a:solidFill>
                  <a:latin typeface="Arial"/>
                  <a:cs typeface="Arial" panose="020B0604020202020204" pitchFamily="34" charset="0"/>
                </a:rPr>
                <a:t> innovation with partners</a:t>
              </a:r>
            </a:p>
            <a:p>
              <a:pPr marL="0" lvl="1" algn="ctr" defTabSz="457189">
                <a:buClr>
                  <a:srgbClr val="005908"/>
                </a:buClr>
                <a:defRPr/>
              </a:pPr>
              <a:r>
                <a:rPr lang="fr-FR" sz="638" b="1" kern="0" dirty="0">
                  <a:solidFill>
                    <a:srgbClr val="00664B"/>
                  </a:solidFill>
                  <a:latin typeface="Arial"/>
                  <a:cs typeface="Arial" panose="020B0604020202020204" pitchFamily="34" charset="0"/>
                </a:rPr>
                <a:t>·</a:t>
              </a:r>
            </a:p>
            <a:p>
              <a:pPr marL="0" lvl="1" algn="ctr" defTabSz="457189">
                <a:buClr>
                  <a:srgbClr val="005908"/>
                </a:buClr>
                <a:defRPr/>
              </a:pPr>
              <a:r>
                <a:rPr lang="fr-FR" sz="638" kern="0" dirty="0">
                  <a:solidFill>
                    <a:prstClr val="black"/>
                  </a:solidFill>
                  <a:latin typeface="Arial"/>
                  <a:cs typeface="Arial" panose="020B0604020202020204" pitchFamily="34" charset="0"/>
                </a:rPr>
                <a:t>Offer new forms of </a:t>
              </a:r>
              <a:r>
                <a:rPr lang="fr-FR" sz="638" kern="0" dirty="0" err="1">
                  <a:solidFill>
                    <a:prstClr val="black"/>
                  </a:solidFill>
                  <a:latin typeface="Arial"/>
                  <a:cs typeface="Arial" panose="020B0604020202020204" pitchFamily="34" charset="0"/>
                </a:rPr>
                <a:t>dedicated</a:t>
              </a:r>
              <a:r>
                <a:rPr lang="fr-FR" sz="638" kern="0" dirty="0">
                  <a:solidFill>
                    <a:prstClr val="black"/>
                  </a:solidFill>
                  <a:latin typeface="Arial"/>
                  <a:cs typeface="Arial" panose="020B0604020202020204" pitchFamily="34" charset="0"/>
                </a:rPr>
                <a:t> </a:t>
              </a:r>
              <a:r>
                <a:rPr lang="fr-FR" sz="638" kern="0" dirty="0" err="1">
                  <a:solidFill>
                    <a:prstClr val="black"/>
                  </a:solidFill>
                  <a:latin typeface="Arial"/>
                  <a:cs typeface="Arial" panose="020B0604020202020204" pitchFamily="34" charset="0"/>
                </a:rPr>
                <a:t>financing</a:t>
              </a:r>
              <a:endParaRPr lang="fr-FR" sz="638" kern="0" dirty="0">
                <a:solidFill>
                  <a:prstClr val="black"/>
                </a:solidFill>
                <a:latin typeface="Arial"/>
                <a:cs typeface="Arial" panose="020B0604020202020204" pitchFamily="34" charset="0"/>
              </a:endParaRPr>
            </a:p>
            <a:p>
              <a:pPr marL="0" lvl="1" algn="ctr" defTabSz="457189">
                <a:buClr>
                  <a:srgbClr val="005908"/>
                </a:buClr>
                <a:defRPr/>
              </a:pPr>
              <a:r>
                <a:rPr lang="fr-FR" sz="638" b="1" kern="0" dirty="0">
                  <a:solidFill>
                    <a:srgbClr val="00664B"/>
                  </a:solidFill>
                  <a:latin typeface="Arial"/>
                  <a:cs typeface="Arial" panose="020B0604020202020204" pitchFamily="34" charset="0"/>
                </a:rPr>
                <a:t>·</a:t>
              </a:r>
            </a:p>
            <a:p>
              <a:pPr marL="0" lvl="1" algn="ctr" defTabSz="457189">
                <a:buClr>
                  <a:srgbClr val="005908"/>
                </a:buClr>
                <a:defRPr/>
              </a:pPr>
              <a:r>
                <a:rPr lang="fr-FR" sz="638" kern="0" dirty="0" err="1">
                  <a:solidFill>
                    <a:prstClr val="black"/>
                  </a:solidFill>
                  <a:latin typeface="Arial"/>
                  <a:cs typeface="Arial" panose="020B0604020202020204" pitchFamily="34" charset="0"/>
                </a:rPr>
                <a:t>Promote</a:t>
              </a:r>
              <a:r>
                <a:rPr lang="fr-FR" sz="638" kern="0" dirty="0">
                  <a:solidFill>
                    <a:prstClr val="black"/>
                  </a:solidFill>
                  <a:latin typeface="Arial"/>
                  <a:cs typeface="Arial" panose="020B0604020202020204" pitchFamily="34" charset="0"/>
                </a:rPr>
                <a:t> the most responsible products and players</a:t>
              </a:r>
            </a:p>
          </p:txBody>
        </p:sp>
        <p:sp>
          <p:nvSpPr>
            <p:cNvPr id="70" name="Rectangle 69">
              <a:extLst>
                <a:ext uri="{FF2B5EF4-FFF2-40B4-BE49-F238E27FC236}">
                  <a16:creationId xmlns:a16="http://schemas.microsoft.com/office/drawing/2014/main" id="{D2C0CBCA-CFBF-4395-DE5A-10CE3FF15AAC}"/>
                </a:ext>
              </a:extLst>
            </p:cNvPr>
            <p:cNvSpPr/>
            <p:nvPr/>
          </p:nvSpPr>
          <p:spPr>
            <a:xfrm>
              <a:off x="7368863" y="5507200"/>
              <a:ext cx="2481413" cy="129705"/>
            </a:xfrm>
            <a:prstGeom prst="rect">
              <a:avLst/>
            </a:prstGeom>
            <a:solidFill>
              <a:srgbClr val="00664B">
                <a:alpha val="50000"/>
              </a:srgbClr>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71" name="ZoneTexte 70">
              <a:extLst>
                <a:ext uri="{FF2B5EF4-FFF2-40B4-BE49-F238E27FC236}">
                  <a16:creationId xmlns:a16="http://schemas.microsoft.com/office/drawing/2014/main" id="{5EB14668-77D9-53A0-2BFC-E9DC97146073}"/>
                </a:ext>
              </a:extLst>
            </p:cNvPr>
            <p:cNvSpPr txBox="1"/>
            <p:nvPr/>
          </p:nvSpPr>
          <p:spPr>
            <a:xfrm>
              <a:off x="7343638" y="1642328"/>
              <a:ext cx="2516162" cy="11306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783">
                <a:lnSpc>
                  <a:spcPts val="1125"/>
                </a:lnSpc>
                <a:defRPr/>
              </a:pPr>
              <a:endParaRPr lang="fr-FR" sz="1050" b="1" dirty="0">
                <a:solidFill>
                  <a:prstClr val="white"/>
                </a:solidFill>
                <a:latin typeface="Arial"/>
              </a:endParaRPr>
            </a:p>
            <a:p>
              <a:pPr algn="ctr" defTabSz="685783">
                <a:lnSpc>
                  <a:spcPts val="1125"/>
                </a:lnSpc>
                <a:defRPr/>
              </a:pPr>
              <a:r>
                <a:rPr lang="fr-FR" sz="1050" b="1" dirty="0">
                  <a:solidFill>
                    <a:prstClr val="white"/>
                  </a:solidFill>
                  <a:latin typeface="Arial"/>
                </a:rPr>
                <a:t>Supporting the development of the circular economy </a:t>
              </a:r>
            </a:p>
          </p:txBody>
        </p:sp>
      </p:grpSp>
      <p:grpSp>
        <p:nvGrpSpPr>
          <p:cNvPr id="48" name="Groupe 47">
            <a:extLst>
              <a:ext uri="{FF2B5EF4-FFF2-40B4-BE49-F238E27FC236}">
                <a16:creationId xmlns:a16="http://schemas.microsoft.com/office/drawing/2014/main" id="{3AF1153A-4AB0-7649-36B5-AD73280EB004}"/>
              </a:ext>
            </a:extLst>
          </p:cNvPr>
          <p:cNvGrpSpPr/>
          <p:nvPr/>
        </p:nvGrpSpPr>
        <p:grpSpPr>
          <a:xfrm>
            <a:off x="1486099" y="1194726"/>
            <a:ext cx="1224824" cy="3343362"/>
            <a:chOff x="4854264" y="1653154"/>
            <a:chExt cx="2517559" cy="3978394"/>
          </a:xfrm>
        </p:grpSpPr>
        <p:sp>
          <p:nvSpPr>
            <p:cNvPr id="59" name="Rectangle 58">
              <a:extLst>
                <a:ext uri="{FF2B5EF4-FFF2-40B4-BE49-F238E27FC236}">
                  <a16:creationId xmlns:a16="http://schemas.microsoft.com/office/drawing/2014/main" id="{DEB0B6C0-072F-EE45-CD48-C50DD7A209B6}"/>
                </a:ext>
              </a:extLst>
            </p:cNvPr>
            <p:cNvSpPr/>
            <p:nvPr/>
          </p:nvSpPr>
          <p:spPr>
            <a:xfrm>
              <a:off x="4857170" y="2767266"/>
              <a:ext cx="2514653" cy="2737443"/>
            </a:xfrm>
            <a:prstGeom prst="rect">
              <a:avLst/>
            </a:prstGeom>
            <a:solidFill>
              <a:srgbClr val="00664B">
                <a:alpha val="1025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60" name="Rectangle 59">
              <a:extLst>
                <a:ext uri="{FF2B5EF4-FFF2-40B4-BE49-F238E27FC236}">
                  <a16:creationId xmlns:a16="http://schemas.microsoft.com/office/drawing/2014/main" id="{29EFA99A-B865-1575-B815-4BFB0374BD75}"/>
                </a:ext>
              </a:extLst>
            </p:cNvPr>
            <p:cNvSpPr/>
            <p:nvPr/>
          </p:nvSpPr>
          <p:spPr>
            <a:xfrm>
              <a:off x="4857168" y="1657356"/>
              <a:ext cx="2501318" cy="1109909"/>
            </a:xfrm>
            <a:prstGeom prst="rect">
              <a:avLst/>
            </a:prstGeom>
            <a:solidFill>
              <a:srgbClr val="00664B">
                <a:alpha val="70000"/>
              </a:srgbClr>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61" name="ZoneTexte 60">
              <a:extLst>
                <a:ext uri="{FF2B5EF4-FFF2-40B4-BE49-F238E27FC236}">
                  <a16:creationId xmlns:a16="http://schemas.microsoft.com/office/drawing/2014/main" id="{AE777744-E8BB-C503-8450-AE8B5E645557}"/>
                </a:ext>
              </a:extLst>
            </p:cNvPr>
            <p:cNvSpPr txBox="1"/>
            <p:nvPr/>
          </p:nvSpPr>
          <p:spPr>
            <a:xfrm>
              <a:off x="4856370" y="1653154"/>
              <a:ext cx="2514652" cy="11076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783">
                <a:lnSpc>
                  <a:spcPts val="1125"/>
                </a:lnSpc>
                <a:defRPr/>
              </a:pPr>
              <a:endParaRPr lang="fr-FR" sz="1050" b="1" dirty="0">
                <a:solidFill>
                  <a:srgbClr val="F3F3F3"/>
                </a:solidFill>
                <a:latin typeface="Arial"/>
              </a:endParaRPr>
            </a:p>
            <a:p>
              <a:pPr algn="ctr" defTabSz="685783">
                <a:lnSpc>
                  <a:spcPts val="1125"/>
                </a:lnSpc>
                <a:defRPr/>
              </a:pPr>
              <a:r>
                <a:rPr lang="fr-FR" sz="1050" b="1" dirty="0">
                  <a:solidFill>
                    <a:srgbClr val="F3F3F3"/>
                  </a:solidFill>
                  <a:latin typeface="Arial"/>
                </a:rPr>
                <a:t>Financing energy renovation of housing </a:t>
              </a:r>
            </a:p>
          </p:txBody>
        </p:sp>
        <p:sp>
          <p:nvSpPr>
            <p:cNvPr id="63" name="ZoneTexte 62">
              <a:extLst>
                <a:ext uri="{FF2B5EF4-FFF2-40B4-BE49-F238E27FC236}">
                  <a16:creationId xmlns:a16="http://schemas.microsoft.com/office/drawing/2014/main" id="{1A121651-15F5-4A76-7D9F-627C78832832}"/>
                </a:ext>
              </a:extLst>
            </p:cNvPr>
            <p:cNvSpPr txBox="1"/>
            <p:nvPr/>
          </p:nvSpPr>
          <p:spPr>
            <a:xfrm>
              <a:off x="4865030" y="2991410"/>
              <a:ext cx="2498500" cy="16638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indent="-7144" algn="ctr" defTabSz="685783">
                <a:buClr>
                  <a:srgbClr val="7030A0"/>
                </a:buClr>
                <a:defRPr/>
              </a:pPr>
              <a:r>
                <a:rPr lang="fr-FR" sz="675" b="1" kern="0" dirty="0">
                  <a:solidFill>
                    <a:prstClr val="black"/>
                  </a:solidFill>
                  <a:latin typeface="Arial"/>
                  <a:cs typeface="Arial" panose="020B0604020202020204" pitchFamily="34" charset="0"/>
                </a:rPr>
                <a:t>Up to €1bn</a:t>
              </a:r>
            </a:p>
            <a:p>
              <a:pPr marL="7144" indent="-7144" algn="ctr" defTabSz="685783">
                <a:buClr>
                  <a:srgbClr val="7030A0"/>
                </a:buClr>
                <a:defRPr/>
              </a:pPr>
              <a:r>
                <a:rPr lang="fr-FR" sz="675" b="1" kern="0" dirty="0">
                  <a:solidFill>
                    <a:prstClr val="black"/>
                  </a:solidFill>
                  <a:latin typeface="Arial"/>
                  <a:cs typeface="Arial" panose="020B0604020202020204" pitchFamily="34" charset="0"/>
                </a:rPr>
                <a:t>by 2025 by: </a:t>
              </a:r>
              <a:endParaRPr lang="fr-FR" sz="675" kern="0" dirty="0">
                <a:solidFill>
                  <a:prstClr val="black"/>
                </a:solidFill>
                <a:latin typeface="Arial"/>
                <a:cs typeface="Arial" panose="020B0604020202020204" pitchFamily="34" charset="0"/>
              </a:endParaRPr>
            </a:p>
            <a:p>
              <a:pPr marL="7144" lvl="1" algn="ctr" defTabSz="457189">
                <a:buClr>
                  <a:srgbClr val="005908"/>
                </a:buClr>
                <a:defRPr/>
              </a:pPr>
              <a:r>
                <a:rPr lang="fr-FR" sz="675" b="1" kern="0" dirty="0">
                  <a:solidFill>
                    <a:srgbClr val="00664B"/>
                  </a:solidFill>
                  <a:latin typeface="Arial"/>
                  <a:cs typeface="Arial" panose="020B0604020202020204" pitchFamily="34" charset="0"/>
                </a:rPr>
                <a:t>·</a:t>
              </a:r>
            </a:p>
            <a:p>
              <a:pPr marL="7144" lvl="1" algn="ctr" defTabSz="457189">
                <a:buClr>
                  <a:srgbClr val="005908"/>
                </a:buClr>
                <a:defRPr/>
              </a:pPr>
              <a:r>
                <a:rPr lang="fr-FR" sz="638" kern="0" dirty="0" err="1">
                  <a:solidFill>
                    <a:prstClr val="black"/>
                  </a:solidFill>
                  <a:latin typeface="Arial"/>
                  <a:cs typeface="Arial" panose="020B0604020202020204" pitchFamily="34" charset="0"/>
                </a:rPr>
                <a:t>reinforcing</a:t>
              </a:r>
              <a:r>
                <a:rPr lang="fr-FR" sz="638" kern="0" dirty="0">
                  <a:solidFill>
                    <a:prstClr val="black"/>
                  </a:solidFill>
                  <a:latin typeface="Arial"/>
                  <a:cs typeface="Arial" panose="020B0604020202020204" pitchFamily="34" charset="0"/>
                </a:rPr>
                <a:t> the quality of our advice and support </a:t>
              </a:r>
            </a:p>
            <a:p>
              <a:pPr marL="7144" lvl="1" algn="ctr" defTabSz="457189">
                <a:buClr>
                  <a:srgbClr val="00664B"/>
                </a:buClr>
                <a:defRPr/>
              </a:pPr>
              <a:r>
                <a:rPr lang="fr-FR" sz="638" b="1" kern="0" dirty="0">
                  <a:solidFill>
                    <a:srgbClr val="00664B"/>
                  </a:solidFill>
                  <a:latin typeface="Arial"/>
                  <a:cs typeface="Arial" panose="020B0604020202020204" pitchFamily="34" charset="0"/>
                </a:rPr>
                <a:t>·</a:t>
              </a:r>
            </a:p>
            <a:p>
              <a:pPr marL="7144" algn="ctr" defTabSz="685783">
                <a:buClr>
                  <a:srgbClr val="00664B"/>
                </a:buClr>
                <a:defRPr/>
              </a:pPr>
              <a:r>
                <a:rPr lang="fr-FR" sz="638" kern="0" dirty="0">
                  <a:solidFill>
                    <a:prstClr val="black"/>
                  </a:solidFill>
                  <a:latin typeface="Arial"/>
                  <a:cs typeface="Arial" panose="020B0604020202020204" pitchFamily="34" charset="0"/>
                </a:rPr>
                <a:t>Developing partners programs with renovation stakeholders and prescribers</a:t>
              </a:r>
            </a:p>
          </p:txBody>
        </p:sp>
        <p:sp>
          <p:nvSpPr>
            <p:cNvPr id="64" name="Rectangle 63">
              <a:extLst>
                <a:ext uri="{FF2B5EF4-FFF2-40B4-BE49-F238E27FC236}">
                  <a16:creationId xmlns:a16="http://schemas.microsoft.com/office/drawing/2014/main" id="{B774FD39-589E-1BC1-C68A-3080BFDDCBA6}"/>
                </a:ext>
              </a:extLst>
            </p:cNvPr>
            <p:cNvSpPr/>
            <p:nvPr/>
          </p:nvSpPr>
          <p:spPr>
            <a:xfrm>
              <a:off x="4854264" y="5504680"/>
              <a:ext cx="2516757" cy="126868"/>
            </a:xfrm>
            <a:prstGeom prst="rect">
              <a:avLst/>
            </a:prstGeom>
            <a:solidFill>
              <a:srgbClr val="00664B">
                <a:alpha val="70000"/>
              </a:srgbClr>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pSp>
        <p:nvGrpSpPr>
          <p:cNvPr id="49" name="Groupe 48">
            <a:extLst>
              <a:ext uri="{FF2B5EF4-FFF2-40B4-BE49-F238E27FC236}">
                <a16:creationId xmlns:a16="http://schemas.microsoft.com/office/drawing/2014/main" id="{2B77CF8E-E333-CB30-41A6-3148EA0965BA}"/>
              </a:ext>
            </a:extLst>
          </p:cNvPr>
          <p:cNvGrpSpPr/>
          <p:nvPr/>
        </p:nvGrpSpPr>
        <p:grpSpPr>
          <a:xfrm>
            <a:off x="246037" y="1182869"/>
            <a:ext cx="1223797" cy="3355195"/>
            <a:chOff x="2342515" y="1637343"/>
            <a:chExt cx="2515449" cy="3993390"/>
          </a:xfrm>
        </p:grpSpPr>
        <p:sp>
          <p:nvSpPr>
            <p:cNvPr id="50" name="Rectangle 49">
              <a:extLst>
                <a:ext uri="{FF2B5EF4-FFF2-40B4-BE49-F238E27FC236}">
                  <a16:creationId xmlns:a16="http://schemas.microsoft.com/office/drawing/2014/main" id="{DDEFFD53-D5BE-19D3-8300-94978E6538E4}"/>
                </a:ext>
              </a:extLst>
            </p:cNvPr>
            <p:cNvSpPr/>
            <p:nvPr/>
          </p:nvSpPr>
          <p:spPr>
            <a:xfrm>
              <a:off x="2369184" y="2766488"/>
              <a:ext cx="2488780" cy="2737408"/>
            </a:xfrm>
            <a:prstGeom prst="rect">
              <a:avLst/>
            </a:prstGeom>
            <a:solidFill>
              <a:srgbClr val="00664B">
                <a:alpha val="1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51" name="ZoneTexte 50">
              <a:extLst>
                <a:ext uri="{FF2B5EF4-FFF2-40B4-BE49-F238E27FC236}">
                  <a16:creationId xmlns:a16="http://schemas.microsoft.com/office/drawing/2014/main" id="{61CBF19A-4125-233A-6289-885897A3F4ED}"/>
                </a:ext>
              </a:extLst>
            </p:cNvPr>
            <p:cNvSpPr txBox="1"/>
            <p:nvPr/>
          </p:nvSpPr>
          <p:spPr>
            <a:xfrm>
              <a:off x="3848291" y="16373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1350" dirty="0" err="1">
                <a:solidFill>
                  <a:prstClr val="black"/>
                </a:solidFill>
                <a:latin typeface="Arial"/>
              </a:endParaRPr>
            </a:p>
          </p:txBody>
        </p:sp>
        <p:sp>
          <p:nvSpPr>
            <p:cNvPr id="52" name="Rectangle 51">
              <a:extLst>
                <a:ext uri="{FF2B5EF4-FFF2-40B4-BE49-F238E27FC236}">
                  <a16:creationId xmlns:a16="http://schemas.microsoft.com/office/drawing/2014/main" id="{ACE89128-092D-9E82-2C2D-5BD326F88CB4}"/>
                </a:ext>
              </a:extLst>
            </p:cNvPr>
            <p:cNvSpPr/>
            <p:nvPr/>
          </p:nvSpPr>
          <p:spPr>
            <a:xfrm>
              <a:off x="2355850" y="1658552"/>
              <a:ext cx="2501317" cy="1107935"/>
            </a:xfrm>
            <a:prstGeom prst="rect">
              <a:avLst/>
            </a:prstGeom>
            <a:solidFill>
              <a:srgbClr val="00664B"/>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54" name="ZoneTexte 53">
              <a:extLst>
                <a:ext uri="{FF2B5EF4-FFF2-40B4-BE49-F238E27FC236}">
                  <a16:creationId xmlns:a16="http://schemas.microsoft.com/office/drawing/2014/main" id="{E1A45284-768F-A987-69FD-C8B6582DEB15}"/>
                </a:ext>
              </a:extLst>
            </p:cNvPr>
            <p:cNvSpPr txBox="1"/>
            <p:nvPr/>
          </p:nvSpPr>
          <p:spPr>
            <a:xfrm>
              <a:off x="2355850" y="1662756"/>
              <a:ext cx="2488778" cy="10972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783">
                <a:defRPr/>
              </a:pPr>
              <a:endParaRPr lang="fr-FR" sz="1050" b="1" dirty="0">
                <a:solidFill>
                  <a:prstClr val="white"/>
                </a:solidFill>
                <a:latin typeface="Arial"/>
              </a:endParaRPr>
            </a:p>
            <a:p>
              <a:pPr algn="ctr" defTabSz="685783">
                <a:defRPr/>
              </a:pPr>
              <a:r>
                <a:rPr lang="fr-FR" sz="1050" b="1" dirty="0">
                  <a:solidFill>
                    <a:prstClr val="white"/>
                  </a:solidFill>
                  <a:latin typeface="Arial"/>
                </a:rPr>
                <a:t>Becoming the leader in green mobility in Europe </a:t>
              </a:r>
            </a:p>
          </p:txBody>
        </p:sp>
        <p:sp>
          <p:nvSpPr>
            <p:cNvPr id="55" name="ZoneTexte 54">
              <a:extLst>
                <a:ext uri="{FF2B5EF4-FFF2-40B4-BE49-F238E27FC236}">
                  <a16:creationId xmlns:a16="http://schemas.microsoft.com/office/drawing/2014/main" id="{84CB8492-A785-51B9-14EB-7A2E1609C714}"/>
                </a:ext>
              </a:extLst>
            </p:cNvPr>
            <p:cNvSpPr txBox="1"/>
            <p:nvPr/>
          </p:nvSpPr>
          <p:spPr>
            <a:xfrm>
              <a:off x="2342515" y="2991409"/>
              <a:ext cx="2480457" cy="1741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lvl="1" algn="ctr" defTabSz="457189">
                <a:buClr>
                  <a:srgbClr val="007C54"/>
                </a:buClr>
                <a:defRPr/>
              </a:pPr>
              <a:r>
                <a:rPr lang="fr-FR" sz="675" b="1" kern="0" dirty="0">
                  <a:solidFill>
                    <a:prstClr val="black"/>
                  </a:solidFill>
                  <a:latin typeface="Arial"/>
                  <a:cs typeface="Arial" panose="020B0604020202020204" pitchFamily="34" charset="0"/>
                </a:rPr>
                <a:t>By financing</a:t>
              </a:r>
            </a:p>
            <a:p>
              <a:pPr marL="7144" lvl="1" algn="ctr" defTabSz="457189">
                <a:buClr>
                  <a:srgbClr val="007C54"/>
                </a:buClr>
                <a:defRPr/>
              </a:pPr>
              <a:r>
                <a:rPr lang="fr-FR" sz="675" b="1" kern="0" dirty="0">
                  <a:solidFill>
                    <a:prstClr val="black"/>
                  </a:solidFill>
                  <a:latin typeface="Arial"/>
                  <a:cs typeface="Arial" panose="020B0604020202020204" pitchFamily="34" charset="0"/>
                </a:rPr>
                <a:t>1 in 2 new electric or hybrid </a:t>
              </a:r>
              <a:r>
                <a:rPr lang="fr-FR" sz="675" b="1" kern="0" dirty="0" err="1">
                  <a:solidFill>
                    <a:prstClr val="black"/>
                  </a:solidFill>
                  <a:latin typeface="Arial"/>
                  <a:cs typeface="Arial" panose="020B0604020202020204" pitchFamily="34" charset="0"/>
                </a:rPr>
                <a:t>vehicles</a:t>
              </a:r>
              <a:r>
                <a:rPr lang="fr-FR" sz="675" b="1" kern="0" dirty="0">
                  <a:solidFill>
                    <a:prstClr val="black"/>
                  </a:solidFill>
                  <a:latin typeface="Arial"/>
                  <a:cs typeface="Arial" panose="020B0604020202020204" pitchFamily="34" charset="0"/>
                </a:rPr>
                <a:t> and 1 in 3 </a:t>
              </a:r>
              <a:r>
                <a:rPr lang="fr-FR" sz="675" b="1" kern="0" dirty="0" err="1">
                  <a:solidFill>
                    <a:prstClr val="black"/>
                  </a:solidFill>
                  <a:latin typeface="Arial"/>
                  <a:cs typeface="Arial" panose="020B0604020202020204" pitchFamily="34" charset="0"/>
                </a:rPr>
                <a:t>fully</a:t>
              </a:r>
              <a:r>
                <a:rPr lang="fr-FR" sz="675" b="1" kern="0" dirty="0">
                  <a:solidFill>
                    <a:prstClr val="black"/>
                  </a:solidFill>
                  <a:latin typeface="Arial"/>
                  <a:cs typeface="Arial" panose="020B0604020202020204" pitchFamily="34" charset="0"/>
                </a:rPr>
                <a:t> </a:t>
              </a:r>
              <a:r>
                <a:rPr lang="fr-FR" sz="675" b="1" kern="0" dirty="0" err="1">
                  <a:solidFill>
                    <a:prstClr val="black"/>
                  </a:solidFill>
                  <a:latin typeface="Arial"/>
                  <a:cs typeface="Arial" panose="020B0604020202020204" pitchFamily="34" charset="0"/>
                </a:rPr>
                <a:t>electric</a:t>
              </a:r>
              <a:r>
                <a:rPr lang="fr-FR" sz="675" b="1" kern="0" dirty="0">
                  <a:solidFill>
                    <a:prstClr val="black"/>
                  </a:solidFill>
                  <a:latin typeface="Arial"/>
                  <a:cs typeface="Arial" panose="020B0604020202020204" pitchFamily="34" charset="0"/>
                </a:rPr>
                <a:t> </a:t>
              </a:r>
              <a:r>
                <a:rPr lang="fr-FR" sz="675" b="1" kern="0" dirty="0" err="1">
                  <a:solidFill>
                    <a:prstClr val="black"/>
                  </a:solidFill>
                  <a:latin typeface="Arial"/>
                  <a:cs typeface="Arial" panose="020B0604020202020204" pitchFamily="34" charset="0"/>
                </a:rPr>
                <a:t>vehicles</a:t>
              </a:r>
              <a:r>
                <a:rPr lang="fr-FR" sz="675" b="1" kern="0" dirty="0">
                  <a:solidFill>
                    <a:prstClr val="black"/>
                  </a:solidFill>
                  <a:latin typeface="Arial"/>
                  <a:cs typeface="Arial" panose="020B0604020202020204" pitchFamily="34" charset="0"/>
                </a:rPr>
                <a:t> in 2025</a:t>
              </a:r>
            </a:p>
            <a:p>
              <a:pPr marL="7144" lvl="1" algn="ctr" defTabSz="457189">
                <a:buClr>
                  <a:srgbClr val="007C54"/>
                </a:buClr>
                <a:defRPr/>
              </a:pPr>
              <a:r>
                <a:rPr lang="fr-FR" sz="675" b="1" kern="0" dirty="0" err="1">
                  <a:solidFill>
                    <a:prstClr val="black"/>
                  </a:solidFill>
                  <a:latin typeface="Arial"/>
                  <a:cs typeface="Arial" panose="020B0604020202020204" pitchFamily="34" charset="0"/>
                </a:rPr>
                <a:t>through</a:t>
              </a:r>
              <a:r>
                <a:rPr lang="fr-FR" sz="675" b="1" kern="0" dirty="0">
                  <a:solidFill>
                    <a:prstClr val="black"/>
                  </a:solidFill>
                  <a:latin typeface="Arial"/>
                  <a:cs typeface="Arial" panose="020B0604020202020204" pitchFamily="34" charset="0"/>
                </a:rPr>
                <a:t>: </a:t>
              </a:r>
            </a:p>
            <a:p>
              <a:pPr marL="7144" lvl="1" algn="ctr" defTabSz="457189">
                <a:buClr>
                  <a:srgbClr val="00664B"/>
                </a:buClr>
                <a:defRPr/>
              </a:pPr>
              <a:r>
                <a:rPr lang="fr-FR" sz="638" b="1" kern="0" dirty="0">
                  <a:solidFill>
                    <a:srgbClr val="00664B"/>
                  </a:solidFill>
                  <a:latin typeface="Arial"/>
                  <a:cs typeface="Arial" panose="020B0604020202020204" pitchFamily="34" charset="0"/>
                </a:rPr>
                <a:t>·</a:t>
              </a:r>
            </a:p>
            <a:p>
              <a:pPr marL="7144" lvl="1" algn="ctr" defTabSz="457189">
                <a:buClr>
                  <a:srgbClr val="00664B"/>
                </a:buClr>
                <a:defRPr/>
              </a:pPr>
              <a:r>
                <a:rPr lang="fr-FR" sz="638" kern="0" dirty="0">
                  <a:solidFill>
                    <a:prstClr val="black"/>
                  </a:solidFill>
                  <a:latin typeface="Arial"/>
                  <a:cs typeface="Arial" panose="020B0604020202020204" pitchFamily="34" charset="0"/>
                </a:rPr>
                <a:t>Partners programs with green manufacturers and dealers</a:t>
              </a:r>
            </a:p>
            <a:p>
              <a:pPr marL="7144" lvl="1" algn="ctr" defTabSz="457189">
                <a:buClr>
                  <a:srgbClr val="00664B"/>
                </a:buClr>
                <a:defRPr/>
              </a:pPr>
              <a:r>
                <a:rPr lang="fr-FR" sz="638" b="1" kern="0" dirty="0">
                  <a:solidFill>
                    <a:srgbClr val="00664B"/>
                  </a:solidFill>
                  <a:latin typeface="Arial"/>
                  <a:cs typeface="Arial" panose="020B0604020202020204" pitchFamily="34" charset="0"/>
                </a:rPr>
                <a:t>·</a:t>
              </a:r>
            </a:p>
            <a:p>
              <a:pPr marL="7144" lvl="1" algn="ctr" defTabSz="457189">
                <a:buClr>
                  <a:srgbClr val="00664B"/>
                </a:buClr>
                <a:defRPr/>
              </a:pPr>
              <a:r>
                <a:rPr lang="fr-FR" sz="638" kern="0" dirty="0">
                  <a:solidFill>
                    <a:prstClr val="black"/>
                  </a:solidFill>
                  <a:latin typeface="Arial"/>
                  <a:cs typeface="Arial" panose="020B0604020202020204" pitchFamily="34" charset="0"/>
                </a:rPr>
                <a:t>A wide range of solutions and services related to green mobility</a:t>
              </a:r>
            </a:p>
            <a:p>
              <a:pPr marL="7144" lvl="1" algn="ctr" defTabSz="457189">
                <a:lnSpc>
                  <a:spcPts val="975"/>
                </a:lnSpc>
                <a:buClr>
                  <a:srgbClr val="007C54"/>
                </a:buClr>
                <a:defRPr/>
              </a:pPr>
              <a:endParaRPr lang="fr-FR" sz="750" kern="0" dirty="0">
                <a:solidFill>
                  <a:prstClr val="black"/>
                </a:solidFill>
                <a:latin typeface="Arial"/>
                <a:cs typeface="Arial" panose="020B0604020202020204" pitchFamily="34" charset="0"/>
              </a:endParaRPr>
            </a:p>
          </p:txBody>
        </p:sp>
        <p:sp>
          <p:nvSpPr>
            <p:cNvPr id="56" name="Rectangle 55">
              <a:extLst>
                <a:ext uri="{FF2B5EF4-FFF2-40B4-BE49-F238E27FC236}">
                  <a16:creationId xmlns:a16="http://schemas.microsoft.com/office/drawing/2014/main" id="{9CC9C819-D082-C03A-1816-5890BC49F02E}"/>
                </a:ext>
              </a:extLst>
            </p:cNvPr>
            <p:cNvSpPr/>
            <p:nvPr/>
          </p:nvSpPr>
          <p:spPr>
            <a:xfrm>
              <a:off x="2365064" y="5503866"/>
              <a:ext cx="2487603" cy="126867"/>
            </a:xfrm>
            <a:prstGeom prst="rect">
              <a:avLst/>
            </a:prstGeom>
            <a:solidFill>
              <a:srgbClr val="00664B"/>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pSp>
        <p:nvGrpSpPr>
          <p:cNvPr id="75" name="Groupe 74">
            <a:extLst>
              <a:ext uri="{FF2B5EF4-FFF2-40B4-BE49-F238E27FC236}">
                <a16:creationId xmlns:a16="http://schemas.microsoft.com/office/drawing/2014/main" id="{1F18C009-C1F8-B0DF-205F-58B8131A5CAF}"/>
              </a:ext>
            </a:extLst>
          </p:cNvPr>
          <p:cNvGrpSpPr/>
          <p:nvPr/>
        </p:nvGrpSpPr>
        <p:grpSpPr>
          <a:xfrm>
            <a:off x="6421467" y="1186608"/>
            <a:ext cx="1216922" cy="3355243"/>
            <a:chOff x="7358486" y="1642328"/>
            <a:chExt cx="2501318" cy="3993159"/>
          </a:xfrm>
        </p:grpSpPr>
        <p:sp>
          <p:nvSpPr>
            <p:cNvPr id="76" name="Rectangle 75">
              <a:extLst>
                <a:ext uri="{FF2B5EF4-FFF2-40B4-BE49-F238E27FC236}">
                  <a16:creationId xmlns:a16="http://schemas.microsoft.com/office/drawing/2014/main" id="{C8A734E7-EFFF-FF39-E1C8-5BB46A379F5B}"/>
                </a:ext>
              </a:extLst>
            </p:cNvPr>
            <p:cNvSpPr/>
            <p:nvPr/>
          </p:nvSpPr>
          <p:spPr>
            <a:xfrm>
              <a:off x="7372618" y="2766732"/>
              <a:ext cx="2481412" cy="2737421"/>
            </a:xfrm>
            <a:prstGeom prst="rect">
              <a:avLst/>
            </a:prstGeom>
            <a:solidFill>
              <a:srgbClr val="00664B">
                <a:alpha val="1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77" name="Rectangle 76">
              <a:extLst>
                <a:ext uri="{FF2B5EF4-FFF2-40B4-BE49-F238E27FC236}">
                  <a16:creationId xmlns:a16="http://schemas.microsoft.com/office/drawing/2014/main" id="{1D94D802-EE00-0ECD-B424-75AC76617E31}"/>
                </a:ext>
              </a:extLst>
            </p:cNvPr>
            <p:cNvSpPr/>
            <p:nvPr/>
          </p:nvSpPr>
          <p:spPr>
            <a:xfrm>
              <a:off x="7358486" y="1658724"/>
              <a:ext cx="2501318" cy="1107554"/>
            </a:xfrm>
            <a:prstGeom prst="rect">
              <a:avLst/>
            </a:prstGeom>
            <a:solidFill>
              <a:srgbClr val="00664B">
                <a:alpha val="50000"/>
              </a:srgbClr>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78" name="ZoneTexte 77">
              <a:extLst>
                <a:ext uri="{FF2B5EF4-FFF2-40B4-BE49-F238E27FC236}">
                  <a16:creationId xmlns:a16="http://schemas.microsoft.com/office/drawing/2014/main" id="{FB5A27FE-4155-AF71-9357-43B34CD18EDC}"/>
                </a:ext>
              </a:extLst>
            </p:cNvPr>
            <p:cNvSpPr txBox="1"/>
            <p:nvPr/>
          </p:nvSpPr>
          <p:spPr>
            <a:xfrm>
              <a:off x="7358486" y="2991411"/>
              <a:ext cx="2481412" cy="1440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lvl="1" algn="ctr" defTabSz="457189">
                <a:buClr>
                  <a:srgbClr val="005908"/>
                </a:buClr>
                <a:defRPr/>
              </a:pPr>
              <a:r>
                <a:rPr lang="fr-FR" sz="750" b="1" kern="0" dirty="0">
                  <a:solidFill>
                    <a:srgbClr val="00664B"/>
                  </a:solidFill>
                  <a:latin typeface="Arial"/>
                  <a:cs typeface="Arial" panose="020B0604020202020204" pitchFamily="34" charset="0"/>
                </a:rPr>
                <a:t>·</a:t>
              </a:r>
            </a:p>
            <a:p>
              <a:pPr marL="4763" lvl="1" algn="ctr" defTabSz="457189">
                <a:buClr>
                  <a:srgbClr val="00664B"/>
                </a:buClr>
                <a:defRPr/>
              </a:pPr>
              <a:r>
                <a:rPr lang="fr-FR" sz="638" kern="0" dirty="0">
                  <a:solidFill>
                    <a:prstClr val="black"/>
                  </a:solidFill>
                  <a:latin typeface="Arial"/>
                  <a:cs typeface="Arial" panose="020B0604020202020204" pitchFamily="34" charset="0"/>
                </a:rPr>
                <a:t>Support for the integration of young people and support for senior </a:t>
              </a:r>
              <a:r>
                <a:rPr lang="fr-FR" sz="638" kern="0" dirty="0" err="1">
                  <a:solidFill>
                    <a:prstClr val="black"/>
                  </a:solidFill>
                  <a:latin typeface="Arial"/>
                  <a:cs typeface="Arial" panose="020B0604020202020204" pitchFamily="34" charset="0"/>
                </a:rPr>
                <a:t>employees</a:t>
              </a:r>
              <a:endParaRPr lang="fr-FR" sz="638" kern="0" dirty="0">
                <a:solidFill>
                  <a:prstClr val="black"/>
                </a:solidFill>
                <a:latin typeface="Arial"/>
                <a:cs typeface="Arial" panose="020B0604020202020204" pitchFamily="34" charset="0"/>
              </a:endParaRPr>
            </a:p>
            <a:p>
              <a:pPr marL="4763" lvl="1" algn="ctr" defTabSz="457189">
                <a:buClr>
                  <a:srgbClr val="00664B"/>
                </a:buClr>
                <a:defRPr/>
              </a:pPr>
              <a:r>
                <a:rPr lang="fr-FR" sz="638" b="1" kern="0" dirty="0">
                  <a:solidFill>
                    <a:srgbClr val="00664B"/>
                  </a:solidFill>
                  <a:latin typeface="Arial"/>
                  <a:cs typeface="Arial" panose="020B0604020202020204" pitchFamily="34" charset="0"/>
                </a:rPr>
                <a:t>·</a:t>
              </a:r>
            </a:p>
            <a:p>
              <a:pPr marL="4763" lvl="1" algn="ctr" defTabSz="457189">
                <a:buClr>
                  <a:srgbClr val="00664B"/>
                </a:buClr>
                <a:defRPr/>
              </a:pPr>
              <a:r>
                <a:rPr lang="fr-FR" sz="638" kern="0" dirty="0">
                  <a:solidFill>
                    <a:prstClr val="black"/>
                  </a:solidFill>
                  <a:latin typeface="Arial"/>
                  <a:cs typeface="Arial" panose="020B0604020202020204" pitchFamily="34" charset="0"/>
                </a:rPr>
                <a:t>Promoting gender equality</a:t>
              </a:r>
            </a:p>
            <a:p>
              <a:pPr marL="4763" lvl="1" algn="ctr" defTabSz="457189">
                <a:buClr>
                  <a:srgbClr val="00664B"/>
                </a:buClr>
                <a:defRPr/>
              </a:pPr>
              <a:r>
                <a:rPr lang="fr-FR" sz="638" b="1" kern="0" dirty="0">
                  <a:solidFill>
                    <a:srgbClr val="00664B"/>
                  </a:solidFill>
                  <a:latin typeface="Arial"/>
                  <a:cs typeface="Arial" panose="020B0604020202020204" pitchFamily="34" charset="0"/>
                </a:rPr>
                <a:t>·</a:t>
              </a:r>
              <a:endParaRPr lang="fr-FR" sz="638" kern="0" dirty="0">
                <a:solidFill>
                  <a:prstClr val="black"/>
                </a:solidFill>
                <a:latin typeface="Arial"/>
                <a:cs typeface="Arial" panose="020B0604020202020204" pitchFamily="34" charset="0"/>
              </a:endParaRPr>
            </a:p>
            <a:p>
              <a:pPr marL="4763" lvl="1" algn="ctr" defTabSz="457189">
                <a:buClr>
                  <a:srgbClr val="00664B"/>
                </a:buClr>
                <a:defRPr/>
              </a:pPr>
              <a:r>
                <a:rPr lang="fr-FR" sz="638" kern="0" dirty="0">
                  <a:solidFill>
                    <a:prstClr val="black"/>
                  </a:solidFill>
                  <a:latin typeface="Arial"/>
                  <a:cs typeface="Arial" panose="020B0604020202020204" pitchFamily="34" charset="0"/>
                </a:rPr>
                <a:t>The development of diversity in all its forms</a:t>
              </a:r>
            </a:p>
            <a:p>
              <a:pPr marL="133347" lvl="1" indent="-128585" algn="ctr" defTabSz="457189">
                <a:lnSpc>
                  <a:spcPts val="825"/>
                </a:lnSpc>
                <a:buClr>
                  <a:srgbClr val="00664B"/>
                </a:buClr>
                <a:buFont typeface="Arial" panose="020B0604020202020204" pitchFamily="34" charset="0"/>
                <a:buChar char="•"/>
                <a:defRPr/>
              </a:pPr>
              <a:endParaRPr lang="fr-FR" sz="750" kern="0" dirty="0">
                <a:solidFill>
                  <a:prstClr val="black"/>
                </a:solidFill>
                <a:latin typeface="Arial"/>
                <a:cs typeface="Arial" panose="020B0604020202020204" pitchFamily="34" charset="0"/>
              </a:endParaRPr>
            </a:p>
          </p:txBody>
        </p:sp>
        <p:sp>
          <p:nvSpPr>
            <p:cNvPr id="79" name="Rectangle 78">
              <a:extLst>
                <a:ext uri="{FF2B5EF4-FFF2-40B4-BE49-F238E27FC236}">
                  <a16:creationId xmlns:a16="http://schemas.microsoft.com/office/drawing/2014/main" id="{6C4F5DFC-A882-4094-D17F-8471EE2FBFC6}"/>
                </a:ext>
              </a:extLst>
            </p:cNvPr>
            <p:cNvSpPr/>
            <p:nvPr/>
          </p:nvSpPr>
          <p:spPr>
            <a:xfrm>
              <a:off x="7368864" y="5508618"/>
              <a:ext cx="2481412" cy="126869"/>
            </a:xfrm>
            <a:prstGeom prst="rect">
              <a:avLst/>
            </a:prstGeom>
            <a:solidFill>
              <a:srgbClr val="00664B">
                <a:alpha val="50000"/>
              </a:srgbClr>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80" name="ZoneTexte 79">
              <a:extLst>
                <a:ext uri="{FF2B5EF4-FFF2-40B4-BE49-F238E27FC236}">
                  <a16:creationId xmlns:a16="http://schemas.microsoft.com/office/drawing/2014/main" id="{47472CE8-B5D7-DBE6-9F90-45EC1EDE090D}"/>
                </a:ext>
              </a:extLst>
            </p:cNvPr>
            <p:cNvSpPr txBox="1"/>
            <p:nvPr/>
          </p:nvSpPr>
          <p:spPr>
            <a:xfrm>
              <a:off x="7391719" y="1642328"/>
              <a:ext cx="2468085" cy="11244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783">
                <a:defRPr/>
              </a:pPr>
              <a:endParaRPr lang="fr-FR" sz="1050" b="1" dirty="0">
                <a:solidFill>
                  <a:prstClr val="white"/>
                </a:solidFill>
                <a:latin typeface="Arial"/>
              </a:endParaRPr>
            </a:p>
            <a:p>
              <a:pPr algn="ctr" defTabSz="685783">
                <a:defRPr/>
              </a:pPr>
              <a:r>
                <a:rPr lang="fr-FR" sz="1050" b="1" dirty="0">
                  <a:solidFill>
                    <a:prstClr val="white"/>
                  </a:solidFill>
                  <a:latin typeface="Arial"/>
                </a:rPr>
                <a:t>Affirming our equal opportunities values </a:t>
              </a:r>
            </a:p>
          </p:txBody>
        </p:sp>
      </p:grpSp>
      <p:grpSp>
        <p:nvGrpSpPr>
          <p:cNvPr id="84" name="Groupe 83">
            <a:extLst>
              <a:ext uri="{FF2B5EF4-FFF2-40B4-BE49-F238E27FC236}">
                <a16:creationId xmlns:a16="http://schemas.microsoft.com/office/drawing/2014/main" id="{6F24D2FD-C6AD-2834-C08A-BDC7D9511C57}"/>
              </a:ext>
            </a:extLst>
          </p:cNvPr>
          <p:cNvGrpSpPr/>
          <p:nvPr/>
        </p:nvGrpSpPr>
        <p:grpSpPr>
          <a:xfrm>
            <a:off x="5189422" y="1194727"/>
            <a:ext cx="1224823" cy="3348792"/>
            <a:chOff x="4854264" y="1653154"/>
            <a:chExt cx="2517557" cy="3984856"/>
          </a:xfrm>
        </p:grpSpPr>
        <p:sp>
          <p:nvSpPr>
            <p:cNvPr id="85" name="Rectangle 84">
              <a:extLst>
                <a:ext uri="{FF2B5EF4-FFF2-40B4-BE49-F238E27FC236}">
                  <a16:creationId xmlns:a16="http://schemas.microsoft.com/office/drawing/2014/main" id="{41F91561-31A6-6FA5-D36C-57096077DA4F}"/>
                </a:ext>
              </a:extLst>
            </p:cNvPr>
            <p:cNvSpPr/>
            <p:nvPr/>
          </p:nvSpPr>
          <p:spPr>
            <a:xfrm>
              <a:off x="4857167" y="2767266"/>
              <a:ext cx="2514654" cy="2737445"/>
            </a:xfrm>
            <a:prstGeom prst="rect">
              <a:avLst/>
            </a:prstGeom>
            <a:solidFill>
              <a:srgbClr val="00664B">
                <a:alpha val="1025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86" name="Rectangle 85">
              <a:extLst>
                <a:ext uri="{FF2B5EF4-FFF2-40B4-BE49-F238E27FC236}">
                  <a16:creationId xmlns:a16="http://schemas.microsoft.com/office/drawing/2014/main" id="{67E3FE46-9DEC-5BDA-67E6-286375089491}"/>
                </a:ext>
              </a:extLst>
            </p:cNvPr>
            <p:cNvSpPr/>
            <p:nvPr/>
          </p:nvSpPr>
          <p:spPr>
            <a:xfrm>
              <a:off x="4857168" y="1657356"/>
              <a:ext cx="2501318" cy="1109909"/>
            </a:xfrm>
            <a:prstGeom prst="rect">
              <a:avLst/>
            </a:prstGeom>
            <a:solidFill>
              <a:srgbClr val="00664B">
                <a:alpha val="70000"/>
              </a:srgbClr>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87" name="ZoneTexte 86">
              <a:extLst>
                <a:ext uri="{FF2B5EF4-FFF2-40B4-BE49-F238E27FC236}">
                  <a16:creationId xmlns:a16="http://schemas.microsoft.com/office/drawing/2014/main" id="{79D73371-8289-DDFA-6204-609A80D5A647}"/>
                </a:ext>
              </a:extLst>
            </p:cNvPr>
            <p:cNvSpPr txBox="1"/>
            <p:nvPr/>
          </p:nvSpPr>
          <p:spPr>
            <a:xfrm>
              <a:off x="4856370" y="1653154"/>
              <a:ext cx="2514651" cy="1107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lnSpc>
                  <a:spcPts val="1200"/>
                </a:lnSpc>
                <a:defRPr/>
              </a:pPr>
              <a:r>
                <a:rPr lang="fr-FR" sz="1050" b="1" dirty="0">
                  <a:solidFill>
                    <a:srgbClr val="F3F3F3"/>
                  </a:solidFill>
                  <a:latin typeface="Arial"/>
                </a:rPr>
                <a:t>Better detect signs of fragility and support fragile customers</a:t>
              </a:r>
            </a:p>
          </p:txBody>
        </p:sp>
        <p:sp>
          <p:nvSpPr>
            <p:cNvPr id="89" name="ZoneTexte 88">
              <a:extLst>
                <a:ext uri="{FF2B5EF4-FFF2-40B4-BE49-F238E27FC236}">
                  <a16:creationId xmlns:a16="http://schemas.microsoft.com/office/drawing/2014/main" id="{657A7903-BBA5-D63F-B6E0-F0BAF2D43947}"/>
                </a:ext>
              </a:extLst>
            </p:cNvPr>
            <p:cNvSpPr txBox="1"/>
            <p:nvPr/>
          </p:nvSpPr>
          <p:spPr>
            <a:xfrm>
              <a:off x="4865030" y="2991410"/>
              <a:ext cx="2498501" cy="11099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lvl="1" algn="ctr" defTabSz="457189">
                <a:buClr>
                  <a:srgbClr val="005908"/>
                </a:buClr>
                <a:defRPr/>
              </a:pPr>
              <a:r>
                <a:rPr lang="fr-FR" sz="750" b="1" kern="0" dirty="0">
                  <a:solidFill>
                    <a:srgbClr val="00664B"/>
                  </a:solidFill>
                  <a:latin typeface="Arial"/>
                  <a:cs typeface="Arial" panose="020B0604020202020204" pitchFamily="34" charset="0"/>
                </a:rPr>
                <a:t>·</a:t>
              </a:r>
            </a:p>
            <a:p>
              <a:pPr algn="ctr" defTabSz="685783">
                <a:buClr>
                  <a:srgbClr val="005908"/>
                </a:buClr>
                <a:defRPr/>
              </a:pPr>
              <a:r>
                <a:rPr lang="fr-FR" sz="638" kern="0" dirty="0">
                  <a:solidFill>
                    <a:prstClr val="black"/>
                  </a:solidFill>
                  <a:latin typeface="Arial"/>
                  <a:cs typeface="Arial" panose="020B0604020202020204" pitchFamily="34" charset="0"/>
                </a:rPr>
                <a:t>A detection process </a:t>
              </a:r>
            </a:p>
            <a:p>
              <a:pPr marL="0" lvl="1" algn="ctr" defTabSz="457189">
                <a:buClr>
                  <a:srgbClr val="005908"/>
                </a:buClr>
                <a:defRPr/>
              </a:pPr>
              <a:r>
                <a:rPr lang="fr-FR" sz="638" b="1" kern="0" dirty="0">
                  <a:solidFill>
                    <a:srgbClr val="00664B"/>
                  </a:solidFill>
                  <a:latin typeface="Arial"/>
                  <a:cs typeface="Arial" panose="020B0604020202020204" pitchFamily="34" charset="0"/>
                </a:rPr>
                <a:t>·</a:t>
              </a:r>
            </a:p>
            <a:p>
              <a:pPr algn="ctr" defTabSz="685783">
                <a:buClr>
                  <a:srgbClr val="005908"/>
                </a:buClr>
                <a:defRPr/>
              </a:pPr>
              <a:r>
                <a:rPr lang="fr-FR" sz="638" kern="0" dirty="0">
                  <a:solidFill>
                    <a:prstClr val="black"/>
                  </a:solidFill>
                  <a:latin typeface="Arial"/>
                  <a:cs typeface="Arial" panose="020B0604020202020204" pitchFamily="34" charset="0"/>
                </a:rPr>
                <a:t>A financial education program</a:t>
              </a:r>
            </a:p>
            <a:p>
              <a:pPr marL="7144" indent="-7144" algn="ctr" defTabSz="685783">
                <a:lnSpc>
                  <a:spcPts val="825"/>
                </a:lnSpc>
                <a:buClr>
                  <a:srgbClr val="7030A0"/>
                </a:buClr>
                <a:defRPr/>
              </a:pPr>
              <a:endParaRPr lang="fr-FR" sz="750" kern="0" dirty="0">
                <a:solidFill>
                  <a:prstClr val="black"/>
                </a:solidFill>
                <a:latin typeface="Arial"/>
                <a:cs typeface="Arial" panose="020B0604020202020204" pitchFamily="34" charset="0"/>
              </a:endParaRPr>
            </a:p>
          </p:txBody>
        </p:sp>
        <p:sp>
          <p:nvSpPr>
            <p:cNvPr id="90" name="Rectangle 89">
              <a:extLst>
                <a:ext uri="{FF2B5EF4-FFF2-40B4-BE49-F238E27FC236}">
                  <a16:creationId xmlns:a16="http://schemas.microsoft.com/office/drawing/2014/main" id="{8DEE6B40-B9CF-6D85-1079-C603BC27C4AD}"/>
                </a:ext>
              </a:extLst>
            </p:cNvPr>
            <p:cNvSpPr/>
            <p:nvPr/>
          </p:nvSpPr>
          <p:spPr>
            <a:xfrm>
              <a:off x="4854264" y="5511142"/>
              <a:ext cx="2516757" cy="126868"/>
            </a:xfrm>
            <a:prstGeom prst="rect">
              <a:avLst/>
            </a:prstGeom>
            <a:solidFill>
              <a:srgbClr val="00664B">
                <a:alpha val="70000"/>
              </a:srgbClr>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pSp>
        <p:nvGrpSpPr>
          <p:cNvPr id="94" name="Groupe 93">
            <a:extLst>
              <a:ext uri="{FF2B5EF4-FFF2-40B4-BE49-F238E27FC236}">
                <a16:creationId xmlns:a16="http://schemas.microsoft.com/office/drawing/2014/main" id="{237DCA5A-1344-D95A-807D-8C8B1687F898}"/>
              </a:ext>
            </a:extLst>
          </p:cNvPr>
          <p:cNvGrpSpPr/>
          <p:nvPr/>
        </p:nvGrpSpPr>
        <p:grpSpPr>
          <a:xfrm>
            <a:off x="3949355" y="1182870"/>
            <a:ext cx="1223797" cy="3360533"/>
            <a:chOff x="2342514" y="1637343"/>
            <a:chExt cx="2515450" cy="3999745"/>
          </a:xfrm>
        </p:grpSpPr>
        <p:sp>
          <p:nvSpPr>
            <p:cNvPr id="95" name="Rectangle 94">
              <a:extLst>
                <a:ext uri="{FF2B5EF4-FFF2-40B4-BE49-F238E27FC236}">
                  <a16:creationId xmlns:a16="http://schemas.microsoft.com/office/drawing/2014/main" id="{7D01DE4B-D4C6-1721-2EB0-1BB400698E11}"/>
                </a:ext>
              </a:extLst>
            </p:cNvPr>
            <p:cNvSpPr/>
            <p:nvPr/>
          </p:nvSpPr>
          <p:spPr>
            <a:xfrm>
              <a:off x="2369183" y="2808429"/>
              <a:ext cx="2488781" cy="2695468"/>
            </a:xfrm>
            <a:prstGeom prst="rect">
              <a:avLst/>
            </a:prstGeom>
            <a:solidFill>
              <a:srgbClr val="00664B">
                <a:alpha val="1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96" name="ZoneTexte 95">
              <a:extLst>
                <a:ext uri="{FF2B5EF4-FFF2-40B4-BE49-F238E27FC236}">
                  <a16:creationId xmlns:a16="http://schemas.microsoft.com/office/drawing/2014/main" id="{BBFC023E-D6DF-7742-71A2-D3CD948ADDC7}"/>
                </a:ext>
              </a:extLst>
            </p:cNvPr>
            <p:cNvSpPr txBox="1"/>
            <p:nvPr/>
          </p:nvSpPr>
          <p:spPr>
            <a:xfrm>
              <a:off x="3848291" y="16373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1350" dirty="0" err="1">
                <a:solidFill>
                  <a:prstClr val="black"/>
                </a:solidFill>
                <a:latin typeface="Arial"/>
              </a:endParaRPr>
            </a:p>
          </p:txBody>
        </p:sp>
        <p:sp>
          <p:nvSpPr>
            <p:cNvPr id="97" name="Rectangle 96">
              <a:extLst>
                <a:ext uri="{FF2B5EF4-FFF2-40B4-BE49-F238E27FC236}">
                  <a16:creationId xmlns:a16="http://schemas.microsoft.com/office/drawing/2014/main" id="{360B6D3D-49F5-A38E-3396-9132FFDD4B81}"/>
                </a:ext>
              </a:extLst>
            </p:cNvPr>
            <p:cNvSpPr/>
            <p:nvPr/>
          </p:nvSpPr>
          <p:spPr>
            <a:xfrm>
              <a:off x="2355850" y="1658552"/>
              <a:ext cx="2501317" cy="1107934"/>
            </a:xfrm>
            <a:prstGeom prst="rect">
              <a:avLst/>
            </a:prstGeom>
            <a:solidFill>
              <a:srgbClr val="00664B"/>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99" name="ZoneTexte 98">
              <a:extLst>
                <a:ext uri="{FF2B5EF4-FFF2-40B4-BE49-F238E27FC236}">
                  <a16:creationId xmlns:a16="http://schemas.microsoft.com/office/drawing/2014/main" id="{738EE2FC-C1F0-8CE7-B89F-7F818D4D144B}"/>
                </a:ext>
              </a:extLst>
            </p:cNvPr>
            <p:cNvSpPr txBox="1"/>
            <p:nvPr/>
          </p:nvSpPr>
          <p:spPr>
            <a:xfrm>
              <a:off x="2355850" y="1662755"/>
              <a:ext cx="2488778" cy="10972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r>
                <a:rPr lang="fr-FR" sz="1050" b="1" dirty="0">
                  <a:solidFill>
                    <a:prstClr val="white"/>
                  </a:solidFill>
                  <a:latin typeface="Arial"/>
                </a:rPr>
                <a:t>Make the credit accessible to as many people as possible </a:t>
              </a:r>
            </a:p>
          </p:txBody>
        </p:sp>
        <p:sp>
          <p:nvSpPr>
            <p:cNvPr id="100" name="ZoneTexte 99">
              <a:extLst>
                <a:ext uri="{FF2B5EF4-FFF2-40B4-BE49-F238E27FC236}">
                  <a16:creationId xmlns:a16="http://schemas.microsoft.com/office/drawing/2014/main" id="{902D1C99-6A46-6D24-F8FC-3DBD55943438}"/>
                </a:ext>
              </a:extLst>
            </p:cNvPr>
            <p:cNvSpPr txBox="1"/>
            <p:nvPr/>
          </p:nvSpPr>
          <p:spPr>
            <a:xfrm>
              <a:off x="2342514" y="2991410"/>
              <a:ext cx="2480457" cy="13849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lvl="1" algn="ctr" defTabSz="457189">
                <a:buClr>
                  <a:srgbClr val="005908"/>
                </a:buClr>
                <a:defRPr/>
              </a:pPr>
              <a:r>
                <a:rPr lang="fr-FR" sz="638" b="1" kern="0" dirty="0">
                  <a:solidFill>
                    <a:srgbClr val="00664B"/>
                  </a:solidFill>
                  <a:latin typeface="Arial"/>
                  <a:cs typeface="Arial" panose="020B0604020202020204" pitchFamily="34" charset="0"/>
                </a:rPr>
                <a:t>·</a:t>
              </a:r>
            </a:p>
            <a:p>
              <a:pPr marL="7144" lvl="1" algn="ctr" defTabSz="457189">
                <a:buClr>
                  <a:srgbClr val="005908"/>
                </a:buClr>
                <a:defRPr/>
              </a:pPr>
              <a:r>
                <a:rPr lang="fr-FR" sz="638" kern="0" dirty="0">
                  <a:solidFill>
                    <a:prstClr val="black"/>
                  </a:solidFill>
                  <a:latin typeface="Arial"/>
                  <a:cs typeface="Arial" panose="020B0604020202020204" pitchFamily="34" charset="0"/>
                </a:rPr>
                <a:t>Be able to address young people and low-income people especially on social leasing</a:t>
              </a:r>
            </a:p>
            <a:p>
              <a:pPr marL="0" lvl="1" algn="ctr" defTabSz="457189">
                <a:buClr>
                  <a:srgbClr val="005908"/>
                </a:buClr>
                <a:defRPr/>
              </a:pPr>
              <a:r>
                <a:rPr lang="fr-FR" sz="638" b="1" kern="0" dirty="0">
                  <a:solidFill>
                    <a:srgbClr val="00664B"/>
                  </a:solidFill>
                  <a:latin typeface="Arial"/>
                  <a:cs typeface="Arial" panose="020B0604020202020204" pitchFamily="34" charset="0"/>
                </a:rPr>
                <a:t>·</a:t>
              </a:r>
            </a:p>
            <a:p>
              <a:pPr marL="7144" lvl="1" algn="ctr" defTabSz="457189">
                <a:buClr>
                  <a:srgbClr val="005908"/>
                </a:buClr>
                <a:defRPr/>
              </a:pPr>
              <a:r>
                <a:rPr lang="fr-FR" sz="638" kern="0" dirty="0">
                  <a:solidFill>
                    <a:prstClr val="black"/>
                  </a:solidFill>
                  <a:latin typeface="Arial"/>
                  <a:cs typeface="Arial" panose="020B0604020202020204" pitchFamily="34" charset="0"/>
                </a:rPr>
                <a:t>Meeting the needs of an aging population</a:t>
              </a:r>
            </a:p>
            <a:p>
              <a:pPr marL="7144" lvl="1" algn="ctr" defTabSz="457189">
                <a:lnSpc>
                  <a:spcPts val="975"/>
                </a:lnSpc>
                <a:buClr>
                  <a:srgbClr val="007C54"/>
                </a:buClr>
                <a:defRPr/>
              </a:pPr>
              <a:endParaRPr lang="fr-FR" sz="750" kern="0" dirty="0">
                <a:solidFill>
                  <a:prstClr val="black"/>
                </a:solidFill>
                <a:latin typeface="Arial"/>
                <a:cs typeface="Arial" panose="020B0604020202020204" pitchFamily="34" charset="0"/>
              </a:endParaRPr>
            </a:p>
          </p:txBody>
        </p:sp>
        <p:sp>
          <p:nvSpPr>
            <p:cNvPr id="101" name="Rectangle 100">
              <a:extLst>
                <a:ext uri="{FF2B5EF4-FFF2-40B4-BE49-F238E27FC236}">
                  <a16:creationId xmlns:a16="http://schemas.microsoft.com/office/drawing/2014/main" id="{9A3597A6-FF08-4260-D7CA-4987AB01A317}"/>
                </a:ext>
              </a:extLst>
            </p:cNvPr>
            <p:cNvSpPr/>
            <p:nvPr/>
          </p:nvSpPr>
          <p:spPr>
            <a:xfrm>
              <a:off x="2365064" y="5510220"/>
              <a:ext cx="2487603" cy="126868"/>
            </a:xfrm>
            <a:prstGeom prst="rect">
              <a:avLst/>
            </a:prstGeom>
            <a:solidFill>
              <a:srgbClr val="00664B"/>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pSp>
        <p:nvGrpSpPr>
          <p:cNvPr id="112" name="Groupe 111">
            <a:extLst>
              <a:ext uri="{FF2B5EF4-FFF2-40B4-BE49-F238E27FC236}">
                <a16:creationId xmlns:a16="http://schemas.microsoft.com/office/drawing/2014/main" id="{E61E7D18-0B45-6A83-196C-EEC42761B98A}"/>
              </a:ext>
            </a:extLst>
          </p:cNvPr>
          <p:cNvGrpSpPr/>
          <p:nvPr/>
        </p:nvGrpSpPr>
        <p:grpSpPr>
          <a:xfrm>
            <a:off x="7652677" y="1182868"/>
            <a:ext cx="1223797" cy="3355220"/>
            <a:chOff x="2342515" y="1637343"/>
            <a:chExt cx="2515449" cy="3993420"/>
          </a:xfrm>
        </p:grpSpPr>
        <p:sp>
          <p:nvSpPr>
            <p:cNvPr id="113" name="Rectangle 112">
              <a:extLst>
                <a:ext uri="{FF2B5EF4-FFF2-40B4-BE49-F238E27FC236}">
                  <a16:creationId xmlns:a16="http://schemas.microsoft.com/office/drawing/2014/main" id="{911207F5-208F-352E-72C7-756F292EBED8}"/>
                </a:ext>
              </a:extLst>
            </p:cNvPr>
            <p:cNvSpPr/>
            <p:nvPr/>
          </p:nvSpPr>
          <p:spPr>
            <a:xfrm>
              <a:off x="2369184" y="2808429"/>
              <a:ext cx="2488780" cy="2695467"/>
            </a:xfrm>
            <a:prstGeom prst="rect">
              <a:avLst/>
            </a:prstGeom>
            <a:solidFill>
              <a:srgbClr val="00664B">
                <a:alpha val="1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14" name="ZoneTexte 113">
              <a:extLst>
                <a:ext uri="{FF2B5EF4-FFF2-40B4-BE49-F238E27FC236}">
                  <a16:creationId xmlns:a16="http://schemas.microsoft.com/office/drawing/2014/main" id="{38C0111F-5D5F-9177-352A-9A660DB075D6}"/>
                </a:ext>
              </a:extLst>
            </p:cNvPr>
            <p:cNvSpPr txBox="1"/>
            <p:nvPr/>
          </p:nvSpPr>
          <p:spPr>
            <a:xfrm>
              <a:off x="3848291" y="16373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1350" dirty="0" err="1">
                <a:solidFill>
                  <a:prstClr val="black"/>
                </a:solidFill>
                <a:latin typeface="Arial"/>
              </a:endParaRPr>
            </a:p>
          </p:txBody>
        </p:sp>
        <p:sp>
          <p:nvSpPr>
            <p:cNvPr id="115" name="Rectangle 114">
              <a:extLst>
                <a:ext uri="{FF2B5EF4-FFF2-40B4-BE49-F238E27FC236}">
                  <a16:creationId xmlns:a16="http://schemas.microsoft.com/office/drawing/2014/main" id="{F065057D-8440-C4A4-C8D4-BF454BFBE498}"/>
                </a:ext>
              </a:extLst>
            </p:cNvPr>
            <p:cNvSpPr/>
            <p:nvPr/>
          </p:nvSpPr>
          <p:spPr>
            <a:xfrm>
              <a:off x="2355850" y="1658552"/>
              <a:ext cx="2501317" cy="1107934"/>
            </a:xfrm>
            <a:prstGeom prst="rect">
              <a:avLst/>
            </a:prstGeom>
            <a:solidFill>
              <a:srgbClr val="00664B"/>
            </a:solidFill>
            <a:ln w="9525" cap="rnd" cmpd="sng" algn="ctr">
              <a:noFill/>
              <a:prstDash val="solid"/>
              <a:round/>
              <a:headEnd type="none" w="med" len="med"/>
              <a:tailEnd type="none" w="med" len="med"/>
            </a:ln>
            <a:effectLst>
              <a:reflection stA="29000" endPos="32546"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16" name="ZoneTexte 115">
              <a:extLst>
                <a:ext uri="{FF2B5EF4-FFF2-40B4-BE49-F238E27FC236}">
                  <a16:creationId xmlns:a16="http://schemas.microsoft.com/office/drawing/2014/main" id="{41B890E7-A67C-959B-6A93-73597429BDD4}"/>
                </a:ext>
              </a:extLst>
            </p:cNvPr>
            <p:cNvSpPr txBox="1"/>
            <p:nvPr/>
          </p:nvSpPr>
          <p:spPr>
            <a:xfrm>
              <a:off x="2355850" y="1662755"/>
              <a:ext cx="2488778" cy="11037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783">
                <a:defRPr/>
              </a:pPr>
              <a:endParaRPr lang="fr-FR" sz="1050" b="1" dirty="0">
                <a:solidFill>
                  <a:prstClr val="white"/>
                </a:solidFill>
                <a:latin typeface="Arial"/>
              </a:endParaRPr>
            </a:p>
            <a:p>
              <a:pPr algn="ctr" defTabSz="685783">
                <a:defRPr/>
              </a:pPr>
              <a:r>
                <a:rPr lang="fr-FR" sz="1050" b="1" dirty="0">
                  <a:solidFill>
                    <a:prstClr val="white"/>
                  </a:solidFill>
                  <a:latin typeface="Arial"/>
                </a:rPr>
                <a:t>Creating a Foundation </a:t>
              </a:r>
            </a:p>
          </p:txBody>
        </p:sp>
        <p:sp>
          <p:nvSpPr>
            <p:cNvPr id="117" name="ZoneTexte 116">
              <a:extLst>
                <a:ext uri="{FF2B5EF4-FFF2-40B4-BE49-F238E27FC236}">
                  <a16:creationId xmlns:a16="http://schemas.microsoft.com/office/drawing/2014/main" id="{796BBD3C-626E-5AE8-BDC4-3F35165A5F83}"/>
                </a:ext>
              </a:extLst>
            </p:cNvPr>
            <p:cNvSpPr txBox="1"/>
            <p:nvPr/>
          </p:nvSpPr>
          <p:spPr>
            <a:xfrm>
              <a:off x="2342515" y="2991409"/>
              <a:ext cx="2480457" cy="2361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7144" lvl="1" algn="ctr" defTabSz="457189">
                <a:buClr>
                  <a:srgbClr val="007C54"/>
                </a:buClr>
                <a:defRPr/>
              </a:pPr>
              <a:r>
                <a:rPr lang="fr-FR" sz="675" b="1" kern="0" dirty="0">
                  <a:solidFill>
                    <a:prstClr val="black"/>
                  </a:solidFill>
                  <a:latin typeface="Arial"/>
                  <a:cs typeface="Arial" panose="020B0604020202020204" pitchFamily="34" charset="0"/>
                </a:rPr>
                <a:t>To increase the power and visibility of our support to the territories: </a:t>
              </a:r>
            </a:p>
            <a:p>
              <a:pPr marL="0" lvl="1" algn="ctr" defTabSz="457189">
                <a:buClr>
                  <a:srgbClr val="005908"/>
                </a:buClr>
                <a:defRPr/>
              </a:pPr>
              <a:r>
                <a:rPr lang="fr-FR" sz="638" b="1" kern="0" dirty="0">
                  <a:solidFill>
                    <a:srgbClr val="00664B"/>
                  </a:solidFill>
                  <a:latin typeface="Arial"/>
                  <a:cs typeface="Arial" panose="020B0604020202020204" pitchFamily="34" charset="0"/>
                </a:rPr>
                <a:t>·</a:t>
              </a:r>
            </a:p>
            <a:p>
              <a:pPr marL="0" lvl="1" algn="ctr" defTabSz="457189">
                <a:buClr>
                  <a:srgbClr val="005908"/>
                </a:buClr>
                <a:defRPr/>
              </a:pPr>
              <a:r>
                <a:rPr lang="fr-FR" sz="638" kern="0" dirty="0">
                  <a:solidFill>
                    <a:prstClr val="black"/>
                  </a:solidFill>
                  <a:latin typeface="Arial"/>
                  <a:cs typeface="Arial" panose="020B0604020202020204" pitchFamily="34" charset="0"/>
                </a:rPr>
                <a:t>Focus our sponsorship on </a:t>
              </a:r>
              <a:r>
                <a:rPr lang="fr-FR" sz="638" kern="0" dirty="0" err="1">
                  <a:solidFill>
                    <a:prstClr val="black"/>
                  </a:solidFill>
                  <a:latin typeface="Arial"/>
                  <a:cs typeface="Arial" panose="020B0604020202020204" pitchFamily="34" charset="0"/>
                </a:rPr>
                <a:t>environment</a:t>
              </a:r>
              <a:r>
                <a:rPr lang="fr-FR" sz="638" kern="0" dirty="0">
                  <a:solidFill>
                    <a:prstClr val="black"/>
                  </a:solidFill>
                  <a:latin typeface="Arial"/>
                  <a:cs typeface="Arial" panose="020B0604020202020204" pitchFamily="34" charset="0"/>
                </a:rPr>
                <a:t>, the circular economy and financial inclusion</a:t>
              </a:r>
            </a:p>
            <a:p>
              <a:pPr marL="0" lvl="1" algn="ctr" defTabSz="457189">
                <a:buClr>
                  <a:srgbClr val="005908"/>
                </a:buClr>
                <a:defRPr/>
              </a:pPr>
              <a:r>
                <a:rPr lang="fr-FR" sz="638" b="1" kern="0" dirty="0">
                  <a:solidFill>
                    <a:srgbClr val="00664B"/>
                  </a:solidFill>
                  <a:latin typeface="Arial"/>
                  <a:cs typeface="Arial" panose="020B0604020202020204" pitchFamily="34" charset="0"/>
                </a:rPr>
                <a:t>·</a:t>
              </a:r>
            </a:p>
            <a:p>
              <a:pPr marL="0" lvl="1" algn="ctr" defTabSz="457189">
                <a:buClr>
                  <a:srgbClr val="005908"/>
                </a:buClr>
                <a:defRPr/>
              </a:pPr>
              <a:r>
                <a:rPr lang="fr-FR" sz="638" kern="0" dirty="0">
                  <a:solidFill>
                    <a:prstClr val="black"/>
                  </a:solidFill>
                  <a:latin typeface="Arial"/>
                  <a:cs typeface="Arial" panose="020B0604020202020204" pitchFamily="34" charset="0"/>
                </a:rPr>
                <a:t>Managing solidarity support with the CASD Group Foundation</a:t>
              </a:r>
            </a:p>
            <a:p>
              <a:pPr marL="0" lvl="1" algn="ctr" defTabSz="457189">
                <a:buClr>
                  <a:srgbClr val="005908"/>
                </a:buClr>
                <a:defRPr/>
              </a:pPr>
              <a:r>
                <a:rPr lang="fr-FR" sz="638" b="1" kern="0" dirty="0">
                  <a:solidFill>
                    <a:srgbClr val="00664B"/>
                  </a:solidFill>
                  <a:latin typeface="Arial"/>
                  <a:cs typeface="Arial" panose="020B0604020202020204" pitchFamily="34" charset="0"/>
                </a:rPr>
                <a:t>·</a:t>
              </a:r>
            </a:p>
            <a:p>
              <a:pPr marL="0" lvl="1" algn="ctr" defTabSz="457189">
                <a:buClr>
                  <a:srgbClr val="005908"/>
                </a:buClr>
                <a:defRPr/>
              </a:pPr>
              <a:r>
                <a:rPr lang="fr-FR" sz="638" kern="0" dirty="0">
                  <a:solidFill>
                    <a:prstClr val="black"/>
                  </a:solidFill>
                  <a:latin typeface="Arial"/>
                  <a:cs typeface="Arial" panose="020B0604020202020204" pitchFamily="34" charset="0"/>
                </a:rPr>
                <a:t>Enhance the skills sponsorship program to foster the involvement of climate and inclusion </a:t>
              </a:r>
              <a:r>
                <a:rPr lang="fr-FR" sz="638" kern="0" dirty="0" err="1">
                  <a:solidFill>
                    <a:prstClr val="black"/>
                  </a:solidFill>
                  <a:latin typeface="Arial"/>
                  <a:cs typeface="Arial" panose="020B0604020202020204" pitchFamily="34" charset="0"/>
                </a:rPr>
                <a:t>employees</a:t>
              </a:r>
              <a:r>
                <a:rPr lang="fr-FR" sz="638" kern="0" dirty="0">
                  <a:solidFill>
                    <a:prstClr val="black"/>
                  </a:solidFill>
                  <a:latin typeface="Arial"/>
                  <a:cs typeface="Arial" panose="020B0604020202020204" pitchFamily="34" charset="0"/>
                </a:rPr>
                <a:t> </a:t>
              </a:r>
            </a:p>
            <a:p>
              <a:pPr marL="7144" lvl="1" algn="ctr" defTabSz="457189">
                <a:lnSpc>
                  <a:spcPts val="975"/>
                </a:lnSpc>
                <a:buClr>
                  <a:srgbClr val="007C54"/>
                </a:buClr>
                <a:defRPr/>
              </a:pPr>
              <a:endParaRPr lang="fr-FR" sz="750" kern="0" dirty="0">
                <a:solidFill>
                  <a:prstClr val="black"/>
                </a:solidFill>
                <a:latin typeface="Arial"/>
                <a:cs typeface="Arial" panose="020B0604020202020204" pitchFamily="34" charset="0"/>
              </a:endParaRPr>
            </a:p>
          </p:txBody>
        </p:sp>
        <p:sp>
          <p:nvSpPr>
            <p:cNvPr id="118" name="Rectangle 117">
              <a:extLst>
                <a:ext uri="{FF2B5EF4-FFF2-40B4-BE49-F238E27FC236}">
                  <a16:creationId xmlns:a16="http://schemas.microsoft.com/office/drawing/2014/main" id="{6088250F-4D36-9DCB-C61C-C90CE5238800}"/>
                </a:ext>
              </a:extLst>
            </p:cNvPr>
            <p:cNvSpPr/>
            <p:nvPr/>
          </p:nvSpPr>
          <p:spPr>
            <a:xfrm>
              <a:off x="2365064" y="5503895"/>
              <a:ext cx="2487603" cy="126868"/>
            </a:xfrm>
            <a:prstGeom prst="rect">
              <a:avLst/>
            </a:prstGeom>
            <a:solidFill>
              <a:srgbClr val="00664B"/>
            </a:solidFill>
            <a:ln w="9525" cap="rnd" cmpd="sng" algn="ctr">
              <a:noFill/>
              <a:prstDash val="solid"/>
              <a:round/>
              <a:headEnd type="none" w="med" len="med"/>
              <a:tailEnd type="none" w="med" len="me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cxnSp>
        <p:nvCxnSpPr>
          <p:cNvPr id="8" name="Connecteur droit 7">
            <a:extLst>
              <a:ext uri="{FF2B5EF4-FFF2-40B4-BE49-F238E27FC236}">
                <a16:creationId xmlns:a16="http://schemas.microsoft.com/office/drawing/2014/main" id="{294E315B-6F8C-6DD0-552F-FD35223D1931}"/>
              </a:ext>
            </a:extLst>
          </p:cNvPr>
          <p:cNvCxnSpPr>
            <a:cxnSpLocks/>
          </p:cNvCxnSpPr>
          <p:nvPr/>
        </p:nvCxnSpPr>
        <p:spPr>
          <a:xfrm flipV="1">
            <a:off x="619997" y="286499"/>
            <a:ext cx="0" cy="531113"/>
          </a:xfrm>
          <a:prstGeom prst="line">
            <a:avLst/>
          </a:prstGeom>
          <a:ln w="25400" cap="rnd">
            <a:solidFill>
              <a:srgbClr val="005908"/>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oupe 12">
            <a:extLst>
              <a:ext uri="{FF2B5EF4-FFF2-40B4-BE49-F238E27FC236}">
                <a16:creationId xmlns:a16="http://schemas.microsoft.com/office/drawing/2014/main" id="{865F974E-EB3D-4C17-4238-C333D3F62435}"/>
              </a:ext>
            </a:extLst>
          </p:cNvPr>
          <p:cNvGrpSpPr/>
          <p:nvPr/>
        </p:nvGrpSpPr>
        <p:grpSpPr>
          <a:xfrm>
            <a:off x="757010" y="2069702"/>
            <a:ext cx="238851" cy="238851"/>
            <a:chOff x="2468993" y="2953204"/>
            <a:chExt cx="318468" cy="318468"/>
          </a:xfrm>
        </p:grpSpPr>
        <p:sp>
          <p:nvSpPr>
            <p:cNvPr id="9" name="Ellipse 8">
              <a:extLst>
                <a:ext uri="{FF2B5EF4-FFF2-40B4-BE49-F238E27FC236}">
                  <a16:creationId xmlns:a16="http://schemas.microsoft.com/office/drawing/2014/main" id="{CD88B178-DF74-CA1A-3F9C-A32779134373}"/>
                </a:ext>
              </a:extLst>
            </p:cNvPr>
            <p:cNvSpPr/>
            <p:nvPr/>
          </p:nvSpPr>
          <p:spPr>
            <a:xfrm>
              <a:off x="2468993" y="2953204"/>
              <a:ext cx="318468" cy="318468"/>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0" name="Graphique 47">
              <a:extLst>
                <a:ext uri="{FF2B5EF4-FFF2-40B4-BE49-F238E27FC236}">
                  <a16:creationId xmlns:a16="http://schemas.microsoft.com/office/drawing/2014/main" id="{50660772-48C7-9DA9-880E-1C796CD25C0A}"/>
                </a:ext>
              </a:extLst>
            </p:cNvPr>
            <p:cNvSpPr/>
            <p:nvPr/>
          </p:nvSpPr>
          <p:spPr>
            <a:xfrm rot="5400000">
              <a:off x="2553751" y="3061336"/>
              <a:ext cx="138686" cy="10220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grpSp>
        <p:nvGrpSpPr>
          <p:cNvPr id="16" name="Groupe 15">
            <a:extLst>
              <a:ext uri="{FF2B5EF4-FFF2-40B4-BE49-F238E27FC236}">
                <a16:creationId xmlns:a16="http://schemas.microsoft.com/office/drawing/2014/main" id="{EFEFEA0E-68AD-BC9A-148D-491CCDD074E9}"/>
              </a:ext>
            </a:extLst>
          </p:cNvPr>
          <p:cNvGrpSpPr/>
          <p:nvPr/>
        </p:nvGrpSpPr>
        <p:grpSpPr>
          <a:xfrm>
            <a:off x="1982306" y="2069702"/>
            <a:ext cx="238851" cy="238851"/>
            <a:chOff x="2468993" y="2953204"/>
            <a:chExt cx="318468" cy="318468"/>
          </a:xfrm>
        </p:grpSpPr>
        <p:sp>
          <p:nvSpPr>
            <p:cNvPr id="23" name="Ellipse 22">
              <a:extLst>
                <a:ext uri="{FF2B5EF4-FFF2-40B4-BE49-F238E27FC236}">
                  <a16:creationId xmlns:a16="http://schemas.microsoft.com/office/drawing/2014/main" id="{D072050A-6DA7-7339-4886-38C70ED35668}"/>
                </a:ext>
              </a:extLst>
            </p:cNvPr>
            <p:cNvSpPr/>
            <p:nvPr/>
          </p:nvSpPr>
          <p:spPr>
            <a:xfrm>
              <a:off x="2468993" y="2953204"/>
              <a:ext cx="318468" cy="318468"/>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24" name="Graphique 47">
              <a:extLst>
                <a:ext uri="{FF2B5EF4-FFF2-40B4-BE49-F238E27FC236}">
                  <a16:creationId xmlns:a16="http://schemas.microsoft.com/office/drawing/2014/main" id="{63A4C9E7-FC1F-DA52-6992-A237FE91A8D1}"/>
                </a:ext>
              </a:extLst>
            </p:cNvPr>
            <p:cNvSpPr/>
            <p:nvPr/>
          </p:nvSpPr>
          <p:spPr>
            <a:xfrm rot="5400000">
              <a:off x="2553751" y="3061336"/>
              <a:ext cx="138686" cy="10220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grpSp>
        <p:nvGrpSpPr>
          <p:cNvPr id="25" name="Groupe 24">
            <a:extLst>
              <a:ext uri="{FF2B5EF4-FFF2-40B4-BE49-F238E27FC236}">
                <a16:creationId xmlns:a16="http://schemas.microsoft.com/office/drawing/2014/main" id="{71BD3079-D929-5E04-21AC-6E40A5A19D6E}"/>
              </a:ext>
            </a:extLst>
          </p:cNvPr>
          <p:cNvGrpSpPr/>
          <p:nvPr/>
        </p:nvGrpSpPr>
        <p:grpSpPr>
          <a:xfrm>
            <a:off x="3207602" y="2069702"/>
            <a:ext cx="238851" cy="238851"/>
            <a:chOff x="2468993" y="2953204"/>
            <a:chExt cx="318468" cy="318468"/>
          </a:xfrm>
        </p:grpSpPr>
        <p:sp>
          <p:nvSpPr>
            <p:cNvPr id="26" name="Ellipse 25">
              <a:extLst>
                <a:ext uri="{FF2B5EF4-FFF2-40B4-BE49-F238E27FC236}">
                  <a16:creationId xmlns:a16="http://schemas.microsoft.com/office/drawing/2014/main" id="{C4F961D0-6C9C-5A1B-5025-AD8CC19DE7C2}"/>
                </a:ext>
              </a:extLst>
            </p:cNvPr>
            <p:cNvSpPr/>
            <p:nvPr/>
          </p:nvSpPr>
          <p:spPr>
            <a:xfrm>
              <a:off x="2468993" y="2953204"/>
              <a:ext cx="318468" cy="318468"/>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27" name="Graphique 47">
              <a:extLst>
                <a:ext uri="{FF2B5EF4-FFF2-40B4-BE49-F238E27FC236}">
                  <a16:creationId xmlns:a16="http://schemas.microsoft.com/office/drawing/2014/main" id="{17264969-2C23-D7D9-7663-5F3FDC778AEF}"/>
                </a:ext>
              </a:extLst>
            </p:cNvPr>
            <p:cNvSpPr/>
            <p:nvPr/>
          </p:nvSpPr>
          <p:spPr>
            <a:xfrm rot="5400000">
              <a:off x="2553751" y="3061336"/>
              <a:ext cx="138686" cy="10220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grpSp>
        <p:nvGrpSpPr>
          <p:cNvPr id="28" name="Groupe 27">
            <a:extLst>
              <a:ext uri="{FF2B5EF4-FFF2-40B4-BE49-F238E27FC236}">
                <a16:creationId xmlns:a16="http://schemas.microsoft.com/office/drawing/2014/main" id="{700514A8-E0C4-81B6-1E56-942E89D85F59}"/>
              </a:ext>
            </a:extLst>
          </p:cNvPr>
          <p:cNvGrpSpPr/>
          <p:nvPr/>
        </p:nvGrpSpPr>
        <p:grpSpPr>
          <a:xfrm>
            <a:off x="4432898" y="2069702"/>
            <a:ext cx="238851" cy="238851"/>
            <a:chOff x="2468993" y="2953204"/>
            <a:chExt cx="318468" cy="318468"/>
          </a:xfrm>
        </p:grpSpPr>
        <p:sp>
          <p:nvSpPr>
            <p:cNvPr id="29" name="Ellipse 28">
              <a:extLst>
                <a:ext uri="{FF2B5EF4-FFF2-40B4-BE49-F238E27FC236}">
                  <a16:creationId xmlns:a16="http://schemas.microsoft.com/office/drawing/2014/main" id="{8F675434-47A1-39CB-356B-69B09C3242DC}"/>
                </a:ext>
              </a:extLst>
            </p:cNvPr>
            <p:cNvSpPr/>
            <p:nvPr/>
          </p:nvSpPr>
          <p:spPr>
            <a:xfrm>
              <a:off x="2468993" y="2953204"/>
              <a:ext cx="318468" cy="318468"/>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30" name="Graphique 47">
              <a:extLst>
                <a:ext uri="{FF2B5EF4-FFF2-40B4-BE49-F238E27FC236}">
                  <a16:creationId xmlns:a16="http://schemas.microsoft.com/office/drawing/2014/main" id="{2CB6D10B-9911-BAAA-97B5-A437165B3571}"/>
                </a:ext>
              </a:extLst>
            </p:cNvPr>
            <p:cNvSpPr/>
            <p:nvPr/>
          </p:nvSpPr>
          <p:spPr>
            <a:xfrm rot="5400000">
              <a:off x="2553751" y="3061336"/>
              <a:ext cx="138686" cy="10220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grpSp>
        <p:nvGrpSpPr>
          <p:cNvPr id="31" name="Groupe 30">
            <a:extLst>
              <a:ext uri="{FF2B5EF4-FFF2-40B4-BE49-F238E27FC236}">
                <a16:creationId xmlns:a16="http://schemas.microsoft.com/office/drawing/2014/main" id="{1B3DC7C5-2FB7-8590-CA4E-B8D80D4C317D}"/>
              </a:ext>
            </a:extLst>
          </p:cNvPr>
          <p:cNvGrpSpPr/>
          <p:nvPr/>
        </p:nvGrpSpPr>
        <p:grpSpPr>
          <a:xfrm>
            <a:off x="5685626" y="2069702"/>
            <a:ext cx="238851" cy="238851"/>
            <a:chOff x="2468993" y="2953204"/>
            <a:chExt cx="318468" cy="318468"/>
          </a:xfrm>
        </p:grpSpPr>
        <p:sp>
          <p:nvSpPr>
            <p:cNvPr id="32" name="Ellipse 31">
              <a:extLst>
                <a:ext uri="{FF2B5EF4-FFF2-40B4-BE49-F238E27FC236}">
                  <a16:creationId xmlns:a16="http://schemas.microsoft.com/office/drawing/2014/main" id="{214C866F-0794-A18F-2E6B-856CF0EBA229}"/>
                </a:ext>
              </a:extLst>
            </p:cNvPr>
            <p:cNvSpPr/>
            <p:nvPr/>
          </p:nvSpPr>
          <p:spPr>
            <a:xfrm>
              <a:off x="2468993" y="2953204"/>
              <a:ext cx="318468" cy="318468"/>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33" name="Graphique 47">
              <a:extLst>
                <a:ext uri="{FF2B5EF4-FFF2-40B4-BE49-F238E27FC236}">
                  <a16:creationId xmlns:a16="http://schemas.microsoft.com/office/drawing/2014/main" id="{052CF0CB-2159-0D8C-53BC-B96760CE6452}"/>
                </a:ext>
              </a:extLst>
            </p:cNvPr>
            <p:cNvSpPr/>
            <p:nvPr/>
          </p:nvSpPr>
          <p:spPr>
            <a:xfrm rot="5400000">
              <a:off x="2553751" y="3061336"/>
              <a:ext cx="138686" cy="10220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grpSp>
        <p:nvGrpSpPr>
          <p:cNvPr id="34" name="Groupe 33">
            <a:extLst>
              <a:ext uri="{FF2B5EF4-FFF2-40B4-BE49-F238E27FC236}">
                <a16:creationId xmlns:a16="http://schemas.microsoft.com/office/drawing/2014/main" id="{3CC19020-7F58-2FC7-1978-2DC8E083B16D}"/>
              </a:ext>
            </a:extLst>
          </p:cNvPr>
          <p:cNvGrpSpPr/>
          <p:nvPr/>
        </p:nvGrpSpPr>
        <p:grpSpPr>
          <a:xfrm>
            <a:off x="6920066" y="2069702"/>
            <a:ext cx="238851" cy="238851"/>
            <a:chOff x="2468993" y="2953204"/>
            <a:chExt cx="318468" cy="318468"/>
          </a:xfrm>
        </p:grpSpPr>
        <p:sp>
          <p:nvSpPr>
            <p:cNvPr id="35" name="Ellipse 34">
              <a:extLst>
                <a:ext uri="{FF2B5EF4-FFF2-40B4-BE49-F238E27FC236}">
                  <a16:creationId xmlns:a16="http://schemas.microsoft.com/office/drawing/2014/main" id="{4C0127DF-E241-D447-E9B0-235FE89771C5}"/>
                </a:ext>
              </a:extLst>
            </p:cNvPr>
            <p:cNvSpPr/>
            <p:nvPr/>
          </p:nvSpPr>
          <p:spPr>
            <a:xfrm>
              <a:off x="2468993" y="2953204"/>
              <a:ext cx="318468" cy="318468"/>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36" name="Graphique 47">
              <a:extLst>
                <a:ext uri="{FF2B5EF4-FFF2-40B4-BE49-F238E27FC236}">
                  <a16:creationId xmlns:a16="http://schemas.microsoft.com/office/drawing/2014/main" id="{6FE5E69F-7E51-95DA-863E-67A9DF835C74}"/>
                </a:ext>
              </a:extLst>
            </p:cNvPr>
            <p:cNvSpPr/>
            <p:nvPr/>
          </p:nvSpPr>
          <p:spPr>
            <a:xfrm rot="5400000">
              <a:off x="2553751" y="3061336"/>
              <a:ext cx="138686" cy="10220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grpSp>
        <p:nvGrpSpPr>
          <p:cNvPr id="37" name="Groupe 36">
            <a:extLst>
              <a:ext uri="{FF2B5EF4-FFF2-40B4-BE49-F238E27FC236}">
                <a16:creationId xmlns:a16="http://schemas.microsoft.com/office/drawing/2014/main" id="{B7FC588E-1CB9-4B2B-2E74-D34A4F52467E}"/>
              </a:ext>
            </a:extLst>
          </p:cNvPr>
          <p:cNvGrpSpPr/>
          <p:nvPr/>
        </p:nvGrpSpPr>
        <p:grpSpPr>
          <a:xfrm>
            <a:off x="8151635" y="2069702"/>
            <a:ext cx="238851" cy="238851"/>
            <a:chOff x="2468993" y="2953204"/>
            <a:chExt cx="318468" cy="318468"/>
          </a:xfrm>
        </p:grpSpPr>
        <p:sp>
          <p:nvSpPr>
            <p:cNvPr id="38" name="Ellipse 37">
              <a:extLst>
                <a:ext uri="{FF2B5EF4-FFF2-40B4-BE49-F238E27FC236}">
                  <a16:creationId xmlns:a16="http://schemas.microsoft.com/office/drawing/2014/main" id="{B5C6D7EE-D965-F2C6-89AC-B7A11DEEFFA8}"/>
                </a:ext>
              </a:extLst>
            </p:cNvPr>
            <p:cNvSpPr/>
            <p:nvPr/>
          </p:nvSpPr>
          <p:spPr>
            <a:xfrm>
              <a:off x="2468993" y="2953204"/>
              <a:ext cx="318468" cy="318468"/>
            </a:xfrm>
            <a:prstGeom prst="ellipse">
              <a:avLst/>
            </a:prstGeom>
            <a:solidFill>
              <a:srgbClr val="37373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43" name="Graphique 47">
              <a:extLst>
                <a:ext uri="{FF2B5EF4-FFF2-40B4-BE49-F238E27FC236}">
                  <a16:creationId xmlns:a16="http://schemas.microsoft.com/office/drawing/2014/main" id="{4DA4B035-AE29-178D-25D3-C5A3AB40C88E}"/>
                </a:ext>
              </a:extLst>
            </p:cNvPr>
            <p:cNvSpPr/>
            <p:nvPr/>
          </p:nvSpPr>
          <p:spPr>
            <a:xfrm rot="5400000">
              <a:off x="2553751" y="3061336"/>
              <a:ext cx="138686" cy="102202"/>
            </a:xfrm>
            <a:custGeom>
              <a:avLst/>
              <a:gdLst>
                <a:gd name="connsiteX0" fmla="*/ 2512869 w 3976254"/>
                <a:gd name="connsiteY0" fmla="*/ 866 h 2930236"/>
                <a:gd name="connsiteX1" fmla="*/ 1623580 w 3976254"/>
                <a:gd name="connsiteY1" fmla="*/ 0 h 2930236"/>
                <a:gd name="connsiteX2" fmla="*/ 2772641 w 3976254"/>
                <a:gd name="connsiteY2" fmla="*/ 1150793 h 2930236"/>
                <a:gd name="connsiteX3" fmla="*/ 866 w 3976254"/>
                <a:gd name="connsiteY3" fmla="*/ 1148195 h 2930236"/>
                <a:gd name="connsiteX4" fmla="*/ 0 w 3976254"/>
                <a:gd name="connsiteY4" fmla="*/ 1777711 h 2930236"/>
                <a:gd name="connsiteX5" fmla="*/ 2771775 w 3976254"/>
                <a:gd name="connsiteY5" fmla="*/ 1780309 h 2930236"/>
                <a:gd name="connsiteX6" fmla="*/ 1620116 w 3976254"/>
                <a:gd name="connsiteY6" fmla="*/ 2929370 h 2930236"/>
                <a:gd name="connsiteX7" fmla="*/ 2510271 w 3976254"/>
                <a:gd name="connsiteY7" fmla="*/ 2930237 h 2930236"/>
                <a:gd name="connsiteX8" fmla="*/ 3976255 w 3976254"/>
                <a:gd name="connsiteY8" fmla="*/ 1466850 h 293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254" h="2930236">
                  <a:moveTo>
                    <a:pt x="2512869" y="866"/>
                  </a:moveTo>
                  <a:lnTo>
                    <a:pt x="1623580" y="0"/>
                  </a:lnTo>
                  <a:lnTo>
                    <a:pt x="2772641" y="1150793"/>
                  </a:lnTo>
                  <a:lnTo>
                    <a:pt x="866" y="1148195"/>
                  </a:lnTo>
                  <a:lnTo>
                    <a:pt x="0" y="1777711"/>
                  </a:lnTo>
                  <a:lnTo>
                    <a:pt x="2771775" y="1780309"/>
                  </a:lnTo>
                  <a:lnTo>
                    <a:pt x="1620116" y="2929370"/>
                  </a:lnTo>
                  <a:lnTo>
                    <a:pt x="2510271" y="2930237"/>
                  </a:lnTo>
                  <a:lnTo>
                    <a:pt x="3976255" y="1466850"/>
                  </a:lnTo>
                  <a:close/>
                </a:path>
              </a:pathLst>
            </a:custGeom>
            <a:solidFill>
              <a:schemeClr val="bg1"/>
            </a:solidFill>
            <a:ln w="8653" cap="flat">
              <a:noFill/>
              <a:prstDash val="solid"/>
              <a:miter/>
            </a:ln>
          </p:spPr>
          <p:txBody>
            <a:bodyPr rtlCol="0" anchor="ctr"/>
            <a:lstStyle/>
            <a:p>
              <a:pPr defTabSz="457189"/>
              <a:endParaRPr lang="fr-FR" sz="1350" dirty="0">
                <a:solidFill>
                  <a:prstClr val="black"/>
                </a:solidFill>
                <a:latin typeface="Arial"/>
              </a:endParaRPr>
            </a:p>
          </p:txBody>
        </p:sp>
      </p:grpSp>
      <p:sp>
        <p:nvSpPr>
          <p:cNvPr id="2" name="Rectangle 1"/>
          <p:cNvSpPr/>
          <p:nvPr/>
        </p:nvSpPr>
        <p:spPr>
          <a:xfrm>
            <a:off x="8738991" y="4830596"/>
            <a:ext cx="312906" cy="230832"/>
          </a:xfrm>
          <a:prstGeom prst="rect">
            <a:avLst/>
          </a:prstGeom>
        </p:spPr>
        <p:txBody>
          <a:bodyPr wrap="none">
            <a:spAutoFit/>
          </a:bodyPr>
          <a:lstStyle/>
          <a:p>
            <a:pPr defTabSz="457189"/>
            <a:r>
              <a:rPr lang="fr-FR" sz="900" b="1" dirty="0">
                <a:solidFill>
                  <a:prstClr val="white"/>
                </a:solidFill>
                <a:latin typeface="Arial"/>
              </a:rPr>
              <a:t>64</a:t>
            </a:r>
          </a:p>
        </p:txBody>
      </p:sp>
    </p:spTree>
    <p:extLst>
      <p:ext uri="{BB962C8B-B14F-4D97-AF65-F5344CB8AC3E}">
        <p14:creationId xmlns:p14="http://schemas.microsoft.com/office/powerpoint/2010/main" val="3743080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79" name="Groupe 78">
            <a:extLst>
              <a:ext uri="{FF2B5EF4-FFF2-40B4-BE49-F238E27FC236}">
                <a16:creationId xmlns:a16="http://schemas.microsoft.com/office/drawing/2014/main" id="{EFFF3235-01E9-14D7-A979-B659C7D9AE5A}"/>
              </a:ext>
            </a:extLst>
          </p:cNvPr>
          <p:cNvGrpSpPr/>
          <p:nvPr/>
        </p:nvGrpSpPr>
        <p:grpSpPr>
          <a:xfrm>
            <a:off x="5114433" y="3698622"/>
            <a:ext cx="3213334" cy="660734"/>
            <a:chOff x="650320" y="4752766"/>
            <a:chExt cx="5153647" cy="1059707"/>
          </a:xfrm>
        </p:grpSpPr>
        <p:sp>
          <p:nvSpPr>
            <p:cNvPr id="81" name="Signalisation droite 80">
              <a:extLst>
                <a:ext uri="{FF2B5EF4-FFF2-40B4-BE49-F238E27FC236}">
                  <a16:creationId xmlns:a16="http://schemas.microsoft.com/office/drawing/2014/main" id="{ADCC135F-26FF-C750-DEAA-65BAC6C1D789}"/>
                </a:ext>
              </a:extLst>
            </p:cNvPr>
            <p:cNvSpPr/>
            <p:nvPr/>
          </p:nvSpPr>
          <p:spPr>
            <a:xfrm>
              <a:off x="1177165" y="4752766"/>
              <a:ext cx="4626802" cy="1059707"/>
            </a:xfrm>
            <a:prstGeom prst="homePlate">
              <a:avLst>
                <a:gd name="adj" fmla="val 0"/>
              </a:avLst>
            </a:prstGeom>
            <a:solidFill>
              <a:srgbClr val="002060"/>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82" name="Ellipse 81">
              <a:extLst>
                <a:ext uri="{FF2B5EF4-FFF2-40B4-BE49-F238E27FC236}">
                  <a16:creationId xmlns:a16="http://schemas.microsoft.com/office/drawing/2014/main" id="{3D66E8D3-10C9-DF92-9983-FD7C4C72CFCA}"/>
                </a:ext>
              </a:extLst>
            </p:cNvPr>
            <p:cNvSpPr/>
            <p:nvPr/>
          </p:nvSpPr>
          <p:spPr>
            <a:xfrm>
              <a:off x="650320" y="4752767"/>
              <a:ext cx="1074981" cy="1059706"/>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graphicFrame>
        <p:nvGraphicFramePr>
          <p:cNvPr id="4" name="Graphique 3">
            <a:extLst>
              <a:ext uri="{FF2B5EF4-FFF2-40B4-BE49-F238E27FC236}">
                <a16:creationId xmlns:a16="http://schemas.microsoft.com/office/drawing/2014/main" id="{750B72E1-2ADA-74C5-3746-B75FB9CA98B3}"/>
              </a:ext>
            </a:extLst>
          </p:cNvPr>
          <p:cNvGraphicFramePr/>
          <p:nvPr/>
        </p:nvGraphicFramePr>
        <p:xfrm>
          <a:off x="568654" y="1114357"/>
          <a:ext cx="3985225" cy="2256828"/>
        </p:xfrm>
        <a:graphic>
          <a:graphicData uri="http://schemas.openxmlformats.org/drawingml/2006/chart">
            <c:chart xmlns:c="http://schemas.openxmlformats.org/drawingml/2006/chart" xmlns:r="http://schemas.openxmlformats.org/officeDocument/2006/relationships" r:id="rId2"/>
          </a:graphicData>
        </a:graphic>
      </p:graphicFrame>
      <p:sp>
        <p:nvSpPr>
          <p:cNvPr id="3" name="ZoneTexte 2">
            <a:extLst>
              <a:ext uri="{FF2B5EF4-FFF2-40B4-BE49-F238E27FC236}">
                <a16:creationId xmlns:a16="http://schemas.microsoft.com/office/drawing/2014/main" id="{8D1A77A8-2D40-FB23-83C9-A202AB4BF390}"/>
              </a:ext>
            </a:extLst>
          </p:cNvPr>
          <p:cNvSpPr txBox="1"/>
          <p:nvPr/>
        </p:nvSpPr>
        <p:spPr>
          <a:xfrm>
            <a:off x="1209677" y="1877521"/>
            <a:ext cx="1242060" cy="7305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r>
              <a:rPr lang="fr-FR" sz="1050" b="1" dirty="0">
                <a:solidFill>
                  <a:prstClr val="black"/>
                </a:solidFill>
                <a:latin typeface="Arial"/>
              </a:rPr>
              <a:t>Direct carbon footprint (1% of carbon Balance sheet)</a:t>
            </a:r>
          </a:p>
        </p:txBody>
      </p:sp>
      <p:sp>
        <p:nvSpPr>
          <p:cNvPr id="20" name="Rectangle 19">
            <a:extLst>
              <a:ext uri="{FF2B5EF4-FFF2-40B4-BE49-F238E27FC236}">
                <a16:creationId xmlns:a16="http://schemas.microsoft.com/office/drawing/2014/main" id="{FAF1307F-982B-F21D-79DC-7CF5BB1719F2}"/>
              </a:ext>
            </a:extLst>
          </p:cNvPr>
          <p:cNvSpPr/>
          <p:nvPr/>
        </p:nvSpPr>
        <p:spPr>
          <a:xfrm>
            <a:off x="1108775" y="4426188"/>
            <a:ext cx="2181299" cy="230832"/>
          </a:xfrm>
          <a:prstGeom prst="rect">
            <a:avLst/>
          </a:prstGeom>
        </p:spPr>
        <p:txBody>
          <a:bodyPr wrap="square">
            <a:spAutoFit/>
          </a:bodyPr>
          <a:lstStyle/>
          <a:p>
            <a:pPr algn="ctr" defTabSz="457189">
              <a:spcAft>
                <a:spcPts val="300"/>
              </a:spcAft>
              <a:defRPr/>
            </a:pPr>
            <a:r>
              <a:rPr lang="fr-FR" sz="900" b="1" kern="0" dirty="0">
                <a:solidFill>
                  <a:srgbClr val="0070C0"/>
                </a:solidFill>
                <a:latin typeface="Arial"/>
              </a:rPr>
              <a:t>+ CARBON COMPENSATION</a:t>
            </a:r>
          </a:p>
        </p:txBody>
      </p:sp>
      <p:grpSp>
        <p:nvGrpSpPr>
          <p:cNvPr id="78" name="Groupe 77">
            <a:extLst>
              <a:ext uri="{FF2B5EF4-FFF2-40B4-BE49-F238E27FC236}">
                <a16:creationId xmlns:a16="http://schemas.microsoft.com/office/drawing/2014/main" id="{7B20488B-78C5-655A-7FA9-648FB87FE11F}"/>
              </a:ext>
            </a:extLst>
          </p:cNvPr>
          <p:cNvGrpSpPr/>
          <p:nvPr/>
        </p:nvGrpSpPr>
        <p:grpSpPr>
          <a:xfrm>
            <a:off x="487742" y="3698622"/>
            <a:ext cx="3055823" cy="660734"/>
            <a:chOff x="650320" y="4752766"/>
            <a:chExt cx="4901025" cy="1059707"/>
          </a:xfrm>
        </p:grpSpPr>
        <p:sp>
          <p:nvSpPr>
            <p:cNvPr id="30" name="Signalisation droite 29">
              <a:extLst>
                <a:ext uri="{FF2B5EF4-FFF2-40B4-BE49-F238E27FC236}">
                  <a16:creationId xmlns:a16="http://schemas.microsoft.com/office/drawing/2014/main" id="{BE0E63FD-88F5-F2C0-F098-2025A4274FCE}"/>
                </a:ext>
              </a:extLst>
            </p:cNvPr>
            <p:cNvSpPr/>
            <p:nvPr/>
          </p:nvSpPr>
          <p:spPr>
            <a:xfrm>
              <a:off x="3800239" y="4752766"/>
              <a:ext cx="1751106" cy="1059707"/>
            </a:xfrm>
            <a:prstGeom prst="homePlate">
              <a:avLst>
                <a:gd name="adj" fmla="val 0"/>
              </a:avLst>
            </a:prstGeom>
            <a:solidFill>
              <a:srgbClr val="0070C0"/>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19" name="Signalisation droite 18">
              <a:extLst>
                <a:ext uri="{FF2B5EF4-FFF2-40B4-BE49-F238E27FC236}">
                  <a16:creationId xmlns:a16="http://schemas.microsoft.com/office/drawing/2014/main" id="{BAC43D74-690C-B2E0-BED2-38038DC0D369}"/>
                </a:ext>
              </a:extLst>
            </p:cNvPr>
            <p:cNvSpPr/>
            <p:nvPr/>
          </p:nvSpPr>
          <p:spPr>
            <a:xfrm>
              <a:off x="1177167" y="4752766"/>
              <a:ext cx="3163857" cy="1059707"/>
            </a:xfrm>
            <a:prstGeom prst="homePlate">
              <a:avLst/>
            </a:prstGeom>
            <a:solidFill>
              <a:srgbClr val="002060"/>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sp>
          <p:nvSpPr>
            <p:cNvPr id="27" name="Ellipse 26">
              <a:extLst>
                <a:ext uri="{FF2B5EF4-FFF2-40B4-BE49-F238E27FC236}">
                  <a16:creationId xmlns:a16="http://schemas.microsoft.com/office/drawing/2014/main" id="{C1A2E427-BB5F-DE79-F56F-55234A8B8526}"/>
                </a:ext>
              </a:extLst>
            </p:cNvPr>
            <p:cNvSpPr/>
            <p:nvPr/>
          </p:nvSpPr>
          <p:spPr>
            <a:xfrm>
              <a:off x="650320" y="4752767"/>
              <a:ext cx="1074981" cy="1059706"/>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endParaRPr lang="fr-FR" sz="900" dirty="0">
                <a:solidFill>
                  <a:srgbClr val="FFFFFF"/>
                </a:solidFill>
                <a:latin typeface="Arial"/>
              </a:endParaRPr>
            </a:p>
          </p:txBody>
        </p:sp>
      </p:grpSp>
      <p:sp>
        <p:nvSpPr>
          <p:cNvPr id="28" name="TextBox 98">
            <a:extLst>
              <a:ext uri="{FF2B5EF4-FFF2-40B4-BE49-F238E27FC236}">
                <a16:creationId xmlns:a16="http://schemas.microsoft.com/office/drawing/2014/main" id="{60DBC208-738C-B4FD-1594-3B56457C8C43}"/>
              </a:ext>
            </a:extLst>
          </p:cNvPr>
          <p:cNvSpPr txBox="1"/>
          <p:nvPr/>
        </p:nvSpPr>
        <p:spPr>
          <a:xfrm>
            <a:off x="702997" y="3772430"/>
            <a:ext cx="724723" cy="45050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685783">
              <a:lnSpc>
                <a:spcPts val="1860"/>
              </a:lnSpc>
              <a:defRPr/>
            </a:pPr>
            <a:r>
              <a:rPr lang="fr-FR" b="1" kern="0" dirty="0">
                <a:solidFill>
                  <a:prstClr val="white"/>
                </a:solidFill>
                <a:latin typeface="Arial"/>
              </a:rPr>
              <a:t>PMT </a:t>
            </a:r>
            <a:r>
              <a:rPr lang="fr-FR" sz="825" b="1" kern="0" dirty="0">
                <a:solidFill>
                  <a:prstClr val="white"/>
                </a:solidFill>
                <a:latin typeface="Arial"/>
              </a:rPr>
              <a:t>OBJECTIVES</a:t>
            </a:r>
          </a:p>
        </p:txBody>
      </p:sp>
      <p:cxnSp>
        <p:nvCxnSpPr>
          <p:cNvPr id="29" name="Connecteur droit 28">
            <a:extLst>
              <a:ext uri="{FF2B5EF4-FFF2-40B4-BE49-F238E27FC236}">
                <a16:creationId xmlns:a16="http://schemas.microsoft.com/office/drawing/2014/main" id="{15426D18-2CA8-01DC-2E20-0D02F098EE4B}"/>
              </a:ext>
            </a:extLst>
          </p:cNvPr>
          <p:cNvCxnSpPr>
            <a:cxnSpLocks/>
          </p:cNvCxnSpPr>
          <p:nvPr/>
        </p:nvCxnSpPr>
        <p:spPr>
          <a:xfrm>
            <a:off x="1370956" y="3784747"/>
            <a:ext cx="0" cy="503840"/>
          </a:xfrm>
          <a:prstGeom prst="line">
            <a:avLst/>
          </a:prstGeom>
          <a:ln w="222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10AFCF3C-88BC-59A2-F123-8D86237DA101}"/>
              </a:ext>
            </a:extLst>
          </p:cNvPr>
          <p:cNvSpPr txBox="1"/>
          <p:nvPr/>
        </p:nvSpPr>
        <p:spPr>
          <a:xfrm>
            <a:off x="1874994" y="3651797"/>
            <a:ext cx="779635" cy="7543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r>
              <a:rPr lang="fr-FR" sz="2100" b="1" dirty="0">
                <a:solidFill>
                  <a:prstClr val="white"/>
                </a:solidFill>
                <a:latin typeface="Arial"/>
                <a:cs typeface="Arial"/>
              </a:rPr>
              <a:t>-25% </a:t>
            </a:r>
            <a:r>
              <a:rPr lang="fr-FR" sz="900" b="1" dirty="0">
                <a:solidFill>
                  <a:prstClr val="white"/>
                </a:solidFill>
                <a:latin typeface="Arial"/>
                <a:cs typeface="Arial"/>
              </a:rPr>
              <a:t>in 2025</a:t>
            </a:r>
          </a:p>
        </p:txBody>
      </p:sp>
      <p:sp>
        <p:nvSpPr>
          <p:cNvPr id="31" name="ZoneTexte 30">
            <a:extLst>
              <a:ext uri="{FF2B5EF4-FFF2-40B4-BE49-F238E27FC236}">
                <a16:creationId xmlns:a16="http://schemas.microsoft.com/office/drawing/2014/main" id="{48A24F67-63E4-F72C-4B67-34BF4F5E702F}"/>
              </a:ext>
            </a:extLst>
          </p:cNvPr>
          <p:cNvSpPr txBox="1"/>
          <p:nvPr/>
        </p:nvSpPr>
        <p:spPr>
          <a:xfrm>
            <a:off x="2755637" y="3651797"/>
            <a:ext cx="803965" cy="7543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r>
              <a:rPr lang="fr-FR" sz="2100" b="1" dirty="0">
                <a:solidFill>
                  <a:prstClr val="white"/>
                </a:solidFill>
                <a:latin typeface="Arial"/>
                <a:cs typeface="Arial"/>
              </a:rPr>
              <a:t>-50% </a:t>
            </a:r>
            <a:r>
              <a:rPr lang="fr-FR" sz="900" b="1" dirty="0">
                <a:solidFill>
                  <a:prstClr val="white"/>
                </a:solidFill>
                <a:latin typeface="Arial"/>
                <a:cs typeface="Arial"/>
              </a:rPr>
              <a:t>in 2030</a:t>
            </a:r>
          </a:p>
        </p:txBody>
      </p:sp>
      <p:graphicFrame>
        <p:nvGraphicFramePr>
          <p:cNvPr id="43" name="Graphique 42">
            <a:extLst>
              <a:ext uri="{FF2B5EF4-FFF2-40B4-BE49-F238E27FC236}">
                <a16:creationId xmlns:a16="http://schemas.microsoft.com/office/drawing/2014/main" id="{5E4B9405-450C-942C-8FEB-5E0E7D928B99}"/>
              </a:ext>
            </a:extLst>
          </p:cNvPr>
          <p:cNvGraphicFramePr/>
          <p:nvPr/>
        </p:nvGraphicFramePr>
        <p:xfrm>
          <a:off x="4046221" y="1117351"/>
          <a:ext cx="6194642" cy="2263236"/>
        </p:xfrm>
        <a:graphic>
          <a:graphicData uri="http://schemas.openxmlformats.org/drawingml/2006/chart">
            <c:chart xmlns:c="http://schemas.openxmlformats.org/drawingml/2006/chart" xmlns:r="http://schemas.openxmlformats.org/officeDocument/2006/relationships" r:id="rId3"/>
          </a:graphicData>
        </a:graphic>
      </p:graphicFrame>
      <p:sp>
        <p:nvSpPr>
          <p:cNvPr id="44" name="ZoneTexte 43">
            <a:extLst>
              <a:ext uri="{FF2B5EF4-FFF2-40B4-BE49-F238E27FC236}">
                <a16:creationId xmlns:a16="http://schemas.microsoft.com/office/drawing/2014/main" id="{C0726092-843D-2782-1B64-A5A2BB86BFBC}"/>
              </a:ext>
            </a:extLst>
          </p:cNvPr>
          <p:cNvSpPr txBox="1"/>
          <p:nvPr/>
        </p:nvSpPr>
        <p:spPr>
          <a:xfrm>
            <a:off x="5520292" y="1800513"/>
            <a:ext cx="1251386" cy="89691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89"/>
            <a:r>
              <a:rPr lang="fr-FR" sz="1050" b="1" dirty="0">
                <a:solidFill>
                  <a:prstClr val="black"/>
                </a:solidFill>
                <a:latin typeface="Arial"/>
              </a:rPr>
              <a:t>Indirect carbon footprint (99% of the Carbon Balance sheet)</a:t>
            </a:r>
          </a:p>
        </p:txBody>
      </p:sp>
      <p:grpSp>
        <p:nvGrpSpPr>
          <p:cNvPr id="60" name="Graphique 37">
            <a:extLst>
              <a:ext uri="{FF2B5EF4-FFF2-40B4-BE49-F238E27FC236}">
                <a16:creationId xmlns:a16="http://schemas.microsoft.com/office/drawing/2014/main" id="{CADDCA2B-FCAF-A4B7-88D5-C71FA9971E23}"/>
              </a:ext>
            </a:extLst>
          </p:cNvPr>
          <p:cNvGrpSpPr/>
          <p:nvPr/>
        </p:nvGrpSpPr>
        <p:grpSpPr>
          <a:xfrm>
            <a:off x="1469127" y="3843025"/>
            <a:ext cx="449362" cy="377186"/>
            <a:chOff x="3596575" y="4270176"/>
            <a:chExt cx="1278736" cy="1073348"/>
          </a:xfrm>
          <a:solidFill>
            <a:schemeClr val="bg1"/>
          </a:solidFill>
        </p:grpSpPr>
        <p:sp>
          <p:nvSpPr>
            <p:cNvPr id="61" name="Forme libre 60">
              <a:extLst>
                <a:ext uri="{FF2B5EF4-FFF2-40B4-BE49-F238E27FC236}">
                  <a16:creationId xmlns:a16="http://schemas.microsoft.com/office/drawing/2014/main" id="{AE7D12C9-FB32-CB82-A167-9B16CF6B324F}"/>
                </a:ext>
              </a:extLst>
            </p:cNvPr>
            <p:cNvSpPr/>
            <p:nvPr/>
          </p:nvSpPr>
          <p:spPr>
            <a:xfrm>
              <a:off x="3596575" y="4270176"/>
              <a:ext cx="1278736" cy="993874"/>
            </a:xfrm>
            <a:custGeom>
              <a:avLst/>
              <a:gdLst>
                <a:gd name="connsiteX0" fmla="*/ 257180 w 1278736"/>
                <a:gd name="connsiteY0" fmla="*/ 778669 h 993874"/>
                <a:gd name="connsiteX1" fmla="*/ 267003 w 1278736"/>
                <a:gd name="connsiteY1" fmla="*/ 777776 h 993874"/>
                <a:gd name="connsiteX2" fmla="*/ 493817 w 1278736"/>
                <a:gd name="connsiteY2" fmla="*/ 777776 h 993874"/>
                <a:gd name="connsiteX3" fmla="*/ 493817 w 1278736"/>
                <a:gd name="connsiteY3" fmla="*/ 934938 h 993874"/>
                <a:gd name="connsiteX4" fmla="*/ 451847 w 1278736"/>
                <a:gd name="connsiteY4" fmla="*/ 892969 h 993874"/>
                <a:gd name="connsiteX5" fmla="*/ 427737 w 1278736"/>
                <a:gd name="connsiteY5" fmla="*/ 892969 h 993874"/>
                <a:gd name="connsiteX6" fmla="*/ 427737 w 1278736"/>
                <a:gd name="connsiteY6" fmla="*/ 917079 h 993874"/>
                <a:gd name="connsiteX7" fmla="*/ 499175 w 1278736"/>
                <a:gd name="connsiteY7" fmla="*/ 988517 h 993874"/>
                <a:gd name="connsiteX8" fmla="*/ 500068 w 1278736"/>
                <a:gd name="connsiteY8" fmla="*/ 989409 h 993874"/>
                <a:gd name="connsiteX9" fmla="*/ 501853 w 1278736"/>
                <a:gd name="connsiteY9" fmla="*/ 991195 h 993874"/>
                <a:gd name="connsiteX10" fmla="*/ 503639 w 1278736"/>
                <a:gd name="connsiteY10" fmla="*/ 992981 h 993874"/>
                <a:gd name="connsiteX11" fmla="*/ 504532 w 1278736"/>
                <a:gd name="connsiteY11" fmla="*/ 992981 h 993874"/>
                <a:gd name="connsiteX12" fmla="*/ 506318 w 1278736"/>
                <a:gd name="connsiteY12" fmla="*/ 992981 h 993874"/>
                <a:gd name="connsiteX13" fmla="*/ 508997 w 1278736"/>
                <a:gd name="connsiteY13" fmla="*/ 993874 h 993874"/>
                <a:gd name="connsiteX14" fmla="*/ 511676 w 1278736"/>
                <a:gd name="connsiteY14" fmla="*/ 993874 h 993874"/>
                <a:gd name="connsiteX15" fmla="*/ 514355 w 1278736"/>
                <a:gd name="connsiteY15" fmla="*/ 993874 h 993874"/>
                <a:gd name="connsiteX16" fmla="*/ 517034 w 1278736"/>
                <a:gd name="connsiteY16" fmla="*/ 992981 h 993874"/>
                <a:gd name="connsiteX17" fmla="*/ 518820 w 1278736"/>
                <a:gd name="connsiteY17" fmla="*/ 992981 h 993874"/>
                <a:gd name="connsiteX18" fmla="*/ 519713 w 1278736"/>
                <a:gd name="connsiteY18" fmla="*/ 992981 h 993874"/>
                <a:gd name="connsiteX19" fmla="*/ 522392 w 1278736"/>
                <a:gd name="connsiteY19" fmla="*/ 991195 h 993874"/>
                <a:gd name="connsiteX20" fmla="*/ 524178 w 1278736"/>
                <a:gd name="connsiteY20" fmla="*/ 989409 h 993874"/>
                <a:gd name="connsiteX21" fmla="*/ 525071 w 1278736"/>
                <a:gd name="connsiteY21" fmla="*/ 988517 h 993874"/>
                <a:gd name="connsiteX22" fmla="*/ 526857 w 1278736"/>
                <a:gd name="connsiteY22" fmla="*/ 986731 h 993874"/>
                <a:gd name="connsiteX23" fmla="*/ 595615 w 1278736"/>
                <a:gd name="connsiteY23" fmla="*/ 917972 h 993874"/>
                <a:gd name="connsiteX24" fmla="*/ 597401 w 1278736"/>
                <a:gd name="connsiteY24" fmla="*/ 895648 h 993874"/>
                <a:gd name="connsiteX25" fmla="*/ 595615 w 1278736"/>
                <a:gd name="connsiteY25" fmla="*/ 893862 h 993874"/>
                <a:gd name="connsiteX26" fmla="*/ 571505 w 1278736"/>
                <a:gd name="connsiteY26" fmla="*/ 893862 h 993874"/>
                <a:gd name="connsiteX27" fmla="*/ 557218 w 1278736"/>
                <a:gd name="connsiteY27" fmla="*/ 908149 h 993874"/>
                <a:gd name="connsiteX28" fmla="*/ 529536 w 1278736"/>
                <a:gd name="connsiteY28" fmla="*/ 935831 h 993874"/>
                <a:gd name="connsiteX29" fmla="*/ 529536 w 1278736"/>
                <a:gd name="connsiteY29" fmla="*/ 662583 h 993874"/>
                <a:gd name="connsiteX30" fmla="*/ 525964 w 1278736"/>
                <a:gd name="connsiteY30" fmla="*/ 652760 h 993874"/>
                <a:gd name="connsiteX31" fmla="*/ 511676 w 1278736"/>
                <a:gd name="connsiteY31" fmla="*/ 645616 h 993874"/>
                <a:gd name="connsiteX32" fmla="*/ 494710 w 1278736"/>
                <a:gd name="connsiteY32" fmla="*/ 662583 h 993874"/>
                <a:gd name="connsiteX33" fmla="*/ 494710 w 1278736"/>
                <a:gd name="connsiteY33" fmla="*/ 743843 h 993874"/>
                <a:gd name="connsiteX34" fmla="*/ 267003 w 1278736"/>
                <a:gd name="connsiteY34" fmla="*/ 743843 h 993874"/>
                <a:gd name="connsiteX35" fmla="*/ 266110 w 1278736"/>
                <a:gd name="connsiteY35" fmla="*/ 743843 h 993874"/>
                <a:gd name="connsiteX36" fmla="*/ 257180 w 1278736"/>
                <a:gd name="connsiteY36" fmla="*/ 744736 h 993874"/>
                <a:gd name="connsiteX37" fmla="*/ 99125 w 1278736"/>
                <a:gd name="connsiteY37" fmla="*/ 679549 h 993874"/>
                <a:gd name="connsiteX38" fmla="*/ 33938 w 1278736"/>
                <a:gd name="connsiteY38" fmla="*/ 521493 h 993874"/>
                <a:gd name="connsiteX39" fmla="*/ 216103 w 1278736"/>
                <a:gd name="connsiteY39" fmla="*/ 301823 h 993874"/>
                <a:gd name="connsiteX40" fmla="*/ 230391 w 1278736"/>
                <a:gd name="connsiteY40" fmla="*/ 283071 h 993874"/>
                <a:gd name="connsiteX41" fmla="*/ 228605 w 1278736"/>
                <a:gd name="connsiteY41" fmla="*/ 257175 h 993874"/>
                <a:gd name="connsiteX42" fmla="*/ 293792 w 1278736"/>
                <a:gd name="connsiteY42" fmla="*/ 99119 h 993874"/>
                <a:gd name="connsiteX43" fmla="*/ 451847 w 1278736"/>
                <a:gd name="connsiteY43" fmla="*/ 33933 h 993874"/>
                <a:gd name="connsiteX44" fmla="*/ 653658 w 1278736"/>
                <a:gd name="connsiteY44" fmla="*/ 160734 h 993874"/>
                <a:gd name="connsiteX45" fmla="*/ 666160 w 1278736"/>
                <a:gd name="connsiteY45" fmla="*/ 170557 h 993874"/>
                <a:gd name="connsiteX46" fmla="*/ 681340 w 1278736"/>
                <a:gd name="connsiteY46" fmla="*/ 166092 h 993874"/>
                <a:gd name="connsiteX47" fmla="*/ 830466 w 1278736"/>
                <a:gd name="connsiteY47" fmla="*/ 108942 h 993874"/>
                <a:gd name="connsiteX48" fmla="*/ 1049243 w 1278736"/>
                <a:gd name="connsiteY48" fmla="*/ 288429 h 993874"/>
                <a:gd name="connsiteX49" fmla="*/ 1062638 w 1278736"/>
                <a:gd name="connsiteY49" fmla="*/ 301823 h 993874"/>
                <a:gd name="connsiteX50" fmla="*/ 1244804 w 1278736"/>
                <a:gd name="connsiteY50" fmla="*/ 521493 h 993874"/>
                <a:gd name="connsiteX51" fmla="*/ 1034956 w 1278736"/>
                <a:gd name="connsiteY51" fmla="*/ 744736 h 993874"/>
                <a:gd name="connsiteX52" fmla="*/ 1034063 w 1278736"/>
                <a:gd name="connsiteY52" fmla="*/ 744736 h 993874"/>
                <a:gd name="connsiteX53" fmla="*/ 1031384 w 1278736"/>
                <a:gd name="connsiteY53" fmla="*/ 744736 h 993874"/>
                <a:gd name="connsiteX54" fmla="*/ 1030491 w 1278736"/>
                <a:gd name="connsiteY54" fmla="*/ 744736 h 993874"/>
                <a:gd name="connsiteX55" fmla="*/ 1021561 w 1278736"/>
                <a:gd name="connsiteY55" fmla="*/ 745629 h 993874"/>
                <a:gd name="connsiteX56" fmla="*/ 1012632 w 1278736"/>
                <a:gd name="connsiteY56" fmla="*/ 744736 h 993874"/>
                <a:gd name="connsiteX57" fmla="*/ 1011739 w 1278736"/>
                <a:gd name="connsiteY57" fmla="*/ 744736 h 993874"/>
                <a:gd name="connsiteX58" fmla="*/ 784925 w 1278736"/>
                <a:gd name="connsiteY58" fmla="*/ 744736 h 993874"/>
                <a:gd name="connsiteX59" fmla="*/ 784925 w 1278736"/>
                <a:gd name="connsiteY59" fmla="*/ 779562 h 993874"/>
                <a:gd name="connsiteX60" fmla="*/ 1011739 w 1278736"/>
                <a:gd name="connsiteY60" fmla="*/ 779562 h 993874"/>
                <a:gd name="connsiteX61" fmla="*/ 1021561 w 1278736"/>
                <a:gd name="connsiteY61" fmla="*/ 780454 h 993874"/>
                <a:gd name="connsiteX62" fmla="*/ 1031384 w 1278736"/>
                <a:gd name="connsiteY62" fmla="*/ 779562 h 993874"/>
                <a:gd name="connsiteX63" fmla="*/ 1035849 w 1278736"/>
                <a:gd name="connsiteY63" fmla="*/ 779562 h 993874"/>
                <a:gd name="connsiteX64" fmla="*/ 1037635 w 1278736"/>
                <a:gd name="connsiteY64" fmla="*/ 779562 h 993874"/>
                <a:gd name="connsiteX65" fmla="*/ 1278736 w 1278736"/>
                <a:gd name="connsiteY65" fmla="*/ 522387 h 993874"/>
                <a:gd name="connsiteX66" fmla="*/ 1079604 w 1278736"/>
                <a:gd name="connsiteY66" fmla="*/ 271462 h 993874"/>
                <a:gd name="connsiteX67" fmla="*/ 829573 w 1278736"/>
                <a:gd name="connsiteY67" fmla="*/ 75902 h 993874"/>
                <a:gd name="connsiteX68" fmla="*/ 674197 w 1278736"/>
                <a:gd name="connsiteY68" fmla="*/ 127694 h 993874"/>
                <a:gd name="connsiteX69" fmla="*/ 451847 w 1278736"/>
                <a:gd name="connsiteY69" fmla="*/ 0 h 993874"/>
                <a:gd name="connsiteX70" fmla="*/ 193779 w 1278736"/>
                <a:gd name="connsiteY70" fmla="*/ 258068 h 993874"/>
                <a:gd name="connsiteX71" fmla="*/ 194672 w 1278736"/>
                <a:gd name="connsiteY71" fmla="*/ 272355 h 993874"/>
                <a:gd name="connsiteX72" fmla="*/ 5 w 1278736"/>
                <a:gd name="connsiteY72" fmla="*/ 522387 h 993874"/>
                <a:gd name="connsiteX73" fmla="*/ 257180 w 1278736"/>
                <a:gd name="connsiteY73" fmla="*/ 778669 h 99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78736" h="993874">
                  <a:moveTo>
                    <a:pt x="257180" y="778669"/>
                  </a:moveTo>
                  <a:cubicBezTo>
                    <a:pt x="261645" y="778669"/>
                    <a:pt x="265217" y="778669"/>
                    <a:pt x="267003" y="777776"/>
                  </a:cubicBezTo>
                  <a:lnTo>
                    <a:pt x="493817" y="777776"/>
                  </a:lnTo>
                  <a:lnTo>
                    <a:pt x="493817" y="934938"/>
                  </a:lnTo>
                  <a:lnTo>
                    <a:pt x="451847" y="892969"/>
                  </a:lnTo>
                  <a:cubicBezTo>
                    <a:pt x="444703" y="885825"/>
                    <a:pt x="433988" y="885825"/>
                    <a:pt x="427737" y="892969"/>
                  </a:cubicBezTo>
                  <a:cubicBezTo>
                    <a:pt x="420593" y="900112"/>
                    <a:pt x="420593" y="910828"/>
                    <a:pt x="427737" y="917079"/>
                  </a:cubicBezTo>
                  <a:lnTo>
                    <a:pt x="499175" y="988517"/>
                  </a:lnTo>
                  <a:cubicBezTo>
                    <a:pt x="499175" y="988517"/>
                    <a:pt x="500068" y="988517"/>
                    <a:pt x="500068" y="989409"/>
                  </a:cubicBezTo>
                  <a:cubicBezTo>
                    <a:pt x="500961" y="990302"/>
                    <a:pt x="500961" y="990302"/>
                    <a:pt x="501853" y="991195"/>
                  </a:cubicBezTo>
                  <a:cubicBezTo>
                    <a:pt x="502746" y="992088"/>
                    <a:pt x="503639" y="992088"/>
                    <a:pt x="503639" y="992981"/>
                  </a:cubicBezTo>
                  <a:cubicBezTo>
                    <a:pt x="503639" y="992981"/>
                    <a:pt x="503639" y="992981"/>
                    <a:pt x="504532" y="992981"/>
                  </a:cubicBezTo>
                  <a:cubicBezTo>
                    <a:pt x="505426" y="992981"/>
                    <a:pt x="505426" y="992981"/>
                    <a:pt x="506318" y="992981"/>
                  </a:cubicBezTo>
                  <a:cubicBezTo>
                    <a:pt x="507211" y="992981"/>
                    <a:pt x="508104" y="993874"/>
                    <a:pt x="508997" y="993874"/>
                  </a:cubicBezTo>
                  <a:cubicBezTo>
                    <a:pt x="509890" y="993874"/>
                    <a:pt x="510783" y="993874"/>
                    <a:pt x="511676" y="993874"/>
                  </a:cubicBezTo>
                  <a:cubicBezTo>
                    <a:pt x="512569" y="993874"/>
                    <a:pt x="513462" y="993874"/>
                    <a:pt x="514355" y="993874"/>
                  </a:cubicBezTo>
                  <a:cubicBezTo>
                    <a:pt x="515248" y="993874"/>
                    <a:pt x="516141" y="993874"/>
                    <a:pt x="517034" y="992981"/>
                  </a:cubicBezTo>
                  <a:cubicBezTo>
                    <a:pt x="517927" y="992981"/>
                    <a:pt x="517927" y="992981"/>
                    <a:pt x="518820" y="992981"/>
                  </a:cubicBezTo>
                  <a:cubicBezTo>
                    <a:pt x="518820" y="992981"/>
                    <a:pt x="518820" y="992981"/>
                    <a:pt x="519713" y="992981"/>
                  </a:cubicBezTo>
                  <a:cubicBezTo>
                    <a:pt x="520606" y="992981"/>
                    <a:pt x="521499" y="992088"/>
                    <a:pt x="522392" y="991195"/>
                  </a:cubicBezTo>
                  <a:cubicBezTo>
                    <a:pt x="523285" y="990302"/>
                    <a:pt x="524178" y="990302"/>
                    <a:pt x="524178" y="989409"/>
                  </a:cubicBezTo>
                  <a:cubicBezTo>
                    <a:pt x="524178" y="989409"/>
                    <a:pt x="525071" y="989409"/>
                    <a:pt x="525071" y="988517"/>
                  </a:cubicBezTo>
                  <a:lnTo>
                    <a:pt x="526857" y="986731"/>
                  </a:lnTo>
                  <a:lnTo>
                    <a:pt x="595615" y="917972"/>
                  </a:lnTo>
                  <a:cubicBezTo>
                    <a:pt x="601866" y="911721"/>
                    <a:pt x="601866" y="902791"/>
                    <a:pt x="597401" y="895648"/>
                  </a:cubicBezTo>
                  <a:cubicBezTo>
                    <a:pt x="596508" y="894755"/>
                    <a:pt x="596508" y="893862"/>
                    <a:pt x="595615" y="893862"/>
                  </a:cubicBezTo>
                  <a:cubicBezTo>
                    <a:pt x="588472" y="886718"/>
                    <a:pt x="577756" y="886718"/>
                    <a:pt x="571505" y="893862"/>
                  </a:cubicBezTo>
                  <a:lnTo>
                    <a:pt x="557218" y="908149"/>
                  </a:lnTo>
                  <a:lnTo>
                    <a:pt x="529536" y="935831"/>
                  </a:lnTo>
                  <a:lnTo>
                    <a:pt x="529536" y="662583"/>
                  </a:lnTo>
                  <a:cubicBezTo>
                    <a:pt x="529536" y="659011"/>
                    <a:pt x="527750" y="655439"/>
                    <a:pt x="525964" y="652760"/>
                  </a:cubicBezTo>
                  <a:cubicBezTo>
                    <a:pt x="523285" y="648295"/>
                    <a:pt x="517927" y="645616"/>
                    <a:pt x="511676" y="645616"/>
                  </a:cubicBezTo>
                  <a:cubicBezTo>
                    <a:pt x="501853" y="645616"/>
                    <a:pt x="494710" y="653653"/>
                    <a:pt x="494710" y="662583"/>
                  </a:cubicBezTo>
                  <a:lnTo>
                    <a:pt x="494710" y="743843"/>
                  </a:lnTo>
                  <a:lnTo>
                    <a:pt x="267003" y="743843"/>
                  </a:lnTo>
                  <a:lnTo>
                    <a:pt x="266110" y="743843"/>
                  </a:lnTo>
                  <a:cubicBezTo>
                    <a:pt x="261645" y="743843"/>
                    <a:pt x="258966" y="744736"/>
                    <a:pt x="257180" y="744736"/>
                  </a:cubicBezTo>
                  <a:cubicBezTo>
                    <a:pt x="195565" y="744736"/>
                    <a:pt x="139308" y="719733"/>
                    <a:pt x="99125" y="679549"/>
                  </a:cubicBezTo>
                  <a:cubicBezTo>
                    <a:pt x="58941" y="639365"/>
                    <a:pt x="33938" y="583109"/>
                    <a:pt x="33938" y="521493"/>
                  </a:cubicBezTo>
                  <a:cubicBezTo>
                    <a:pt x="33938" y="412552"/>
                    <a:pt x="112519" y="321469"/>
                    <a:pt x="216103" y="301823"/>
                  </a:cubicBezTo>
                  <a:cubicBezTo>
                    <a:pt x="225033" y="300037"/>
                    <a:pt x="231284" y="292001"/>
                    <a:pt x="230391" y="283071"/>
                  </a:cubicBezTo>
                  <a:cubicBezTo>
                    <a:pt x="229498" y="274141"/>
                    <a:pt x="228605" y="266105"/>
                    <a:pt x="228605" y="257175"/>
                  </a:cubicBezTo>
                  <a:cubicBezTo>
                    <a:pt x="228605" y="195560"/>
                    <a:pt x="253608" y="139303"/>
                    <a:pt x="293792" y="99119"/>
                  </a:cubicBezTo>
                  <a:cubicBezTo>
                    <a:pt x="333975" y="58936"/>
                    <a:pt x="390232" y="33933"/>
                    <a:pt x="451847" y="33933"/>
                  </a:cubicBezTo>
                  <a:cubicBezTo>
                    <a:pt x="541144" y="33933"/>
                    <a:pt x="617047" y="85725"/>
                    <a:pt x="653658" y="160734"/>
                  </a:cubicBezTo>
                  <a:cubicBezTo>
                    <a:pt x="656337" y="165199"/>
                    <a:pt x="660802" y="168771"/>
                    <a:pt x="666160" y="170557"/>
                  </a:cubicBezTo>
                  <a:cubicBezTo>
                    <a:pt x="671517" y="171450"/>
                    <a:pt x="676875" y="169664"/>
                    <a:pt x="681340" y="166092"/>
                  </a:cubicBezTo>
                  <a:cubicBezTo>
                    <a:pt x="720631" y="130373"/>
                    <a:pt x="773316" y="108942"/>
                    <a:pt x="830466" y="108942"/>
                  </a:cubicBezTo>
                  <a:cubicBezTo>
                    <a:pt x="938515" y="108942"/>
                    <a:pt x="1028705" y="185737"/>
                    <a:pt x="1049243" y="288429"/>
                  </a:cubicBezTo>
                  <a:cubicBezTo>
                    <a:pt x="1051029" y="295572"/>
                    <a:pt x="1056387" y="300930"/>
                    <a:pt x="1062638" y="301823"/>
                  </a:cubicBezTo>
                  <a:cubicBezTo>
                    <a:pt x="1166222" y="321469"/>
                    <a:pt x="1244804" y="412552"/>
                    <a:pt x="1244804" y="521493"/>
                  </a:cubicBezTo>
                  <a:cubicBezTo>
                    <a:pt x="1244804" y="640259"/>
                    <a:pt x="1151935" y="737592"/>
                    <a:pt x="1034956" y="744736"/>
                  </a:cubicBezTo>
                  <a:cubicBezTo>
                    <a:pt x="1034956" y="744736"/>
                    <a:pt x="1034063" y="744736"/>
                    <a:pt x="1034063" y="744736"/>
                  </a:cubicBezTo>
                  <a:lnTo>
                    <a:pt x="1031384" y="744736"/>
                  </a:lnTo>
                  <a:lnTo>
                    <a:pt x="1030491" y="744736"/>
                  </a:lnTo>
                  <a:cubicBezTo>
                    <a:pt x="1026026" y="744736"/>
                    <a:pt x="1023347" y="745629"/>
                    <a:pt x="1021561" y="745629"/>
                  </a:cubicBezTo>
                  <a:cubicBezTo>
                    <a:pt x="1019775" y="745629"/>
                    <a:pt x="1017097" y="745629"/>
                    <a:pt x="1012632" y="744736"/>
                  </a:cubicBezTo>
                  <a:lnTo>
                    <a:pt x="1011739" y="744736"/>
                  </a:lnTo>
                  <a:lnTo>
                    <a:pt x="784925" y="744736"/>
                  </a:lnTo>
                  <a:lnTo>
                    <a:pt x="784925" y="779562"/>
                  </a:lnTo>
                  <a:lnTo>
                    <a:pt x="1011739" y="779562"/>
                  </a:lnTo>
                  <a:cubicBezTo>
                    <a:pt x="1014418" y="779562"/>
                    <a:pt x="1017097" y="780454"/>
                    <a:pt x="1021561" y="780454"/>
                  </a:cubicBezTo>
                  <a:cubicBezTo>
                    <a:pt x="1026026" y="780454"/>
                    <a:pt x="1029598" y="780454"/>
                    <a:pt x="1031384" y="779562"/>
                  </a:cubicBezTo>
                  <a:lnTo>
                    <a:pt x="1035849" y="779562"/>
                  </a:lnTo>
                  <a:cubicBezTo>
                    <a:pt x="1036742" y="779562"/>
                    <a:pt x="1037635" y="779562"/>
                    <a:pt x="1037635" y="779562"/>
                  </a:cubicBezTo>
                  <a:cubicBezTo>
                    <a:pt x="1172473" y="770632"/>
                    <a:pt x="1278736" y="659011"/>
                    <a:pt x="1278736" y="522387"/>
                  </a:cubicBezTo>
                  <a:cubicBezTo>
                    <a:pt x="1278736" y="400050"/>
                    <a:pt x="1193904" y="298252"/>
                    <a:pt x="1079604" y="271462"/>
                  </a:cubicBezTo>
                  <a:cubicBezTo>
                    <a:pt x="1051922" y="158948"/>
                    <a:pt x="950124" y="75902"/>
                    <a:pt x="829573" y="75902"/>
                  </a:cubicBezTo>
                  <a:cubicBezTo>
                    <a:pt x="771530" y="75902"/>
                    <a:pt x="717952" y="95547"/>
                    <a:pt x="674197" y="127694"/>
                  </a:cubicBezTo>
                  <a:cubicBezTo>
                    <a:pt x="629548" y="51792"/>
                    <a:pt x="546502" y="0"/>
                    <a:pt x="451847" y="0"/>
                  </a:cubicBezTo>
                  <a:cubicBezTo>
                    <a:pt x="308972" y="0"/>
                    <a:pt x="193779" y="115193"/>
                    <a:pt x="193779" y="258068"/>
                  </a:cubicBezTo>
                  <a:cubicBezTo>
                    <a:pt x="193779" y="262533"/>
                    <a:pt x="193779" y="267891"/>
                    <a:pt x="194672" y="272355"/>
                  </a:cubicBezTo>
                  <a:cubicBezTo>
                    <a:pt x="83051" y="300930"/>
                    <a:pt x="5" y="401836"/>
                    <a:pt x="5" y="522387"/>
                  </a:cubicBezTo>
                  <a:cubicBezTo>
                    <a:pt x="-888" y="662583"/>
                    <a:pt x="115198" y="778669"/>
                    <a:pt x="257180" y="77866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62" name="Forme libre 61">
              <a:extLst>
                <a:ext uri="{FF2B5EF4-FFF2-40B4-BE49-F238E27FC236}">
                  <a16:creationId xmlns:a16="http://schemas.microsoft.com/office/drawing/2014/main" id="{5C7437E5-2DF2-3BA6-8F8A-7AB6B95403FC}"/>
                </a:ext>
              </a:extLst>
            </p:cNvPr>
            <p:cNvSpPr/>
            <p:nvPr/>
          </p:nvSpPr>
          <p:spPr>
            <a:xfrm>
              <a:off x="4449013" y="4755951"/>
              <a:ext cx="120009" cy="159841"/>
            </a:xfrm>
            <a:custGeom>
              <a:avLst/>
              <a:gdLst>
                <a:gd name="connsiteX0" fmla="*/ 11067 w 120009"/>
                <a:gd name="connsiteY0" fmla="*/ 58936 h 159841"/>
                <a:gd name="connsiteX1" fmla="*/ 32499 w 120009"/>
                <a:gd name="connsiteY1" fmla="*/ 48221 h 159841"/>
                <a:gd name="connsiteX2" fmla="*/ 53930 w 120009"/>
                <a:gd name="connsiteY2" fmla="*/ 33040 h 159841"/>
                <a:gd name="connsiteX3" fmla="*/ 53930 w 120009"/>
                <a:gd name="connsiteY3" fmla="*/ 33040 h 159841"/>
                <a:gd name="connsiteX4" fmla="*/ 76254 w 120009"/>
                <a:gd name="connsiteY4" fmla="*/ 41077 h 159841"/>
                <a:gd name="connsiteX5" fmla="*/ 81612 w 120009"/>
                <a:gd name="connsiteY5" fmla="*/ 53578 h 159841"/>
                <a:gd name="connsiteX6" fmla="*/ 81612 w 120009"/>
                <a:gd name="connsiteY6" fmla="*/ 54471 h 159841"/>
                <a:gd name="connsiteX7" fmla="*/ 78933 w 120009"/>
                <a:gd name="connsiteY7" fmla="*/ 65187 h 159841"/>
                <a:gd name="connsiteX8" fmla="*/ 64645 w 120009"/>
                <a:gd name="connsiteY8" fmla="*/ 78582 h 159841"/>
                <a:gd name="connsiteX9" fmla="*/ 43214 w 120009"/>
                <a:gd name="connsiteY9" fmla="*/ 89297 h 159841"/>
                <a:gd name="connsiteX10" fmla="*/ 11067 w 120009"/>
                <a:gd name="connsiteY10" fmla="*/ 118765 h 159841"/>
                <a:gd name="connsiteX11" fmla="*/ 2138 w 120009"/>
                <a:gd name="connsiteY11" fmla="*/ 137517 h 159841"/>
                <a:gd name="connsiteX12" fmla="*/ 4817 w 120009"/>
                <a:gd name="connsiteY12" fmla="*/ 152698 h 159841"/>
                <a:gd name="connsiteX13" fmla="*/ 19104 w 120009"/>
                <a:gd name="connsiteY13" fmla="*/ 159842 h 159841"/>
                <a:gd name="connsiteX14" fmla="*/ 103043 w 120009"/>
                <a:gd name="connsiteY14" fmla="*/ 159842 h 159841"/>
                <a:gd name="connsiteX15" fmla="*/ 120010 w 120009"/>
                <a:gd name="connsiteY15" fmla="*/ 142875 h 159841"/>
                <a:gd name="connsiteX16" fmla="*/ 103043 w 120009"/>
                <a:gd name="connsiteY16" fmla="*/ 125909 h 159841"/>
                <a:gd name="connsiteX17" fmla="*/ 50358 w 120009"/>
                <a:gd name="connsiteY17" fmla="*/ 125909 h 159841"/>
                <a:gd name="connsiteX18" fmla="*/ 57502 w 120009"/>
                <a:gd name="connsiteY18" fmla="*/ 121444 h 159841"/>
                <a:gd name="connsiteX19" fmla="*/ 93220 w 120009"/>
                <a:gd name="connsiteY19" fmla="*/ 102691 h 159841"/>
                <a:gd name="connsiteX20" fmla="*/ 110187 w 120009"/>
                <a:gd name="connsiteY20" fmla="*/ 83939 h 159841"/>
                <a:gd name="connsiteX21" fmla="*/ 118224 w 120009"/>
                <a:gd name="connsiteY21" fmla="*/ 56257 h 159841"/>
                <a:gd name="connsiteX22" fmla="*/ 118224 w 120009"/>
                <a:gd name="connsiteY22" fmla="*/ 56257 h 159841"/>
                <a:gd name="connsiteX23" fmla="*/ 118224 w 120009"/>
                <a:gd name="connsiteY23" fmla="*/ 55364 h 159841"/>
                <a:gd name="connsiteX24" fmla="*/ 103043 w 120009"/>
                <a:gd name="connsiteY24" fmla="*/ 18753 h 159841"/>
                <a:gd name="connsiteX25" fmla="*/ 55716 w 120009"/>
                <a:gd name="connsiteY25" fmla="*/ 0 h 159841"/>
                <a:gd name="connsiteX26" fmla="*/ 54823 w 120009"/>
                <a:gd name="connsiteY26" fmla="*/ 0 h 159841"/>
                <a:gd name="connsiteX27" fmla="*/ 54823 w 120009"/>
                <a:gd name="connsiteY27" fmla="*/ 0 h 159841"/>
                <a:gd name="connsiteX28" fmla="*/ 2138 w 120009"/>
                <a:gd name="connsiteY28" fmla="*/ 39291 h 159841"/>
                <a:gd name="connsiteX29" fmla="*/ 11067 w 120009"/>
                <a:gd name="connsiteY29" fmla="*/ 58936 h 1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009" h="159841">
                  <a:moveTo>
                    <a:pt x="11067" y="58936"/>
                  </a:moveTo>
                  <a:cubicBezTo>
                    <a:pt x="19997" y="61615"/>
                    <a:pt x="29820" y="57150"/>
                    <a:pt x="32499" y="48221"/>
                  </a:cubicBezTo>
                  <a:cubicBezTo>
                    <a:pt x="35178" y="39291"/>
                    <a:pt x="44107" y="33040"/>
                    <a:pt x="53930" y="33040"/>
                  </a:cubicBezTo>
                  <a:lnTo>
                    <a:pt x="53930" y="33040"/>
                  </a:lnTo>
                  <a:cubicBezTo>
                    <a:pt x="66431" y="33040"/>
                    <a:pt x="72682" y="36612"/>
                    <a:pt x="76254" y="41077"/>
                  </a:cubicBezTo>
                  <a:cubicBezTo>
                    <a:pt x="79826" y="44648"/>
                    <a:pt x="81612" y="50007"/>
                    <a:pt x="81612" y="53578"/>
                  </a:cubicBezTo>
                  <a:lnTo>
                    <a:pt x="81612" y="54471"/>
                  </a:lnTo>
                  <a:cubicBezTo>
                    <a:pt x="81612" y="58936"/>
                    <a:pt x="80719" y="62508"/>
                    <a:pt x="78933" y="65187"/>
                  </a:cubicBezTo>
                  <a:cubicBezTo>
                    <a:pt x="76254" y="69652"/>
                    <a:pt x="71789" y="74117"/>
                    <a:pt x="64645" y="78582"/>
                  </a:cubicBezTo>
                  <a:cubicBezTo>
                    <a:pt x="58395" y="82153"/>
                    <a:pt x="50358" y="85725"/>
                    <a:pt x="43214" y="89297"/>
                  </a:cubicBezTo>
                  <a:cubicBezTo>
                    <a:pt x="27141" y="96441"/>
                    <a:pt x="17318" y="108942"/>
                    <a:pt x="11067" y="118765"/>
                  </a:cubicBezTo>
                  <a:cubicBezTo>
                    <a:pt x="4817" y="128588"/>
                    <a:pt x="3031" y="136625"/>
                    <a:pt x="2138" y="137517"/>
                  </a:cubicBezTo>
                  <a:cubicBezTo>
                    <a:pt x="352" y="142875"/>
                    <a:pt x="1245" y="148233"/>
                    <a:pt x="4817" y="152698"/>
                  </a:cubicBezTo>
                  <a:cubicBezTo>
                    <a:pt x="8388" y="157163"/>
                    <a:pt x="12853" y="159842"/>
                    <a:pt x="19104" y="159842"/>
                  </a:cubicBezTo>
                  <a:lnTo>
                    <a:pt x="103043" y="159842"/>
                  </a:lnTo>
                  <a:cubicBezTo>
                    <a:pt x="112866" y="159842"/>
                    <a:pt x="120010" y="151805"/>
                    <a:pt x="120010" y="142875"/>
                  </a:cubicBezTo>
                  <a:cubicBezTo>
                    <a:pt x="120010" y="133053"/>
                    <a:pt x="111973" y="125909"/>
                    <a:pt x="103043" y="125909"/>
                  </a:cubicBezTo>
                  <a:lnTo>
                    <a:pt x="50358" y="125909"/>
                  </a:lnTo>
                  <a:cubicBezTo>
                    <a:pt x="52144" y="124123"/>
                    <a:pt x="54823" y="122337"/>
                    <a:pt x="57502" y="121444"/>
                  </a:cubicBezTo>
                  <a:cubicBezTo>
                    <a:pt x="67324" y="116979"/>
                    <a:pt x="80719" y="111621"/>
                    <a:pt x="93220" y="102691"/>
                  </a:cubicBezTo>
                  <a:cubicBezTo>
                    <a:pt x="99471" y="98227"/>
                    <a:pt x="105722" y="91976"/>
                    <a:pt x="110187" y="83939"/>
                  </a:cubicBezTo>
                  <a:cubicBezTo>
                    <a:pt x="114652" y="75902"/>
                    <a:pt x="117331" y="66973"/>
                    <a:pt x="118224" y="56257"/>
                  </a:cubicBezTo>
                  <a:lnTo>
                    <a:pt x="118224" y="56257"/>
                  </a:lnTo>
                  <a:lnTo>
                    <a:pt x="118224" y="55364"/>
                  </a:lnTo>
                  <a:cubicBezTo>
                    <a:pt x="118224" y="43756"/>
                    <a:pt x="113759" y="30361"/>
                    <a:pt x="103043" y="18753"/>
                  </a:cubicBezTo>
                  <a:cubicBezTo>
                    <a:pt x="92327" y="8037"/>
                    <a:pt x="76254" y="0"/>
                    <a:pt x="55716" y="0"/>
                  </a:cubicBezTo>
                  <a:lnTo>
                    <a:pt x="54823" y="0"/>
                  </a:lnTo>
                  <a:lnTo>
                    <a:pt x="54823" y="0"/>
                  </a:lnTo>
                  <a:cubicBezTo>
                    <a:pt x="29820" y="0"/>
                    <a:pt x="9281" y="16074"/>
                    <a:pt x="2138" y="39291"/>
                  </a:cubicBezTo>
                  <a:cubicBezTo>
                    <a:pt x="-3220" y="46434"/>
                    <a:pt x="2138" y="56257"/>
                    <a:pt x="11067" y="5893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63" name="Forme libre 62">
              <a:extLst>
                <a:ext uri="{FF2B5EF4-FFF2-40B4-BE49-F238E27FC236}">
                  <a16:creationId xmlns:a16="http://schemas.microsoft.com/office/drawing/2014/main" id="{4EB1535B-0F9F-B4C1-29EC-05D2C1521F16}"/>
                </a:ext>
              </a:extLst>
            </p:cNvPr>
            <p:cNvSpPr/>
            <p:nvPr/>
          </p:nvSpPr>
          <p:spPr>
            <a:xfrm>
              <a:off x="3902868" y="4573786"/>
              <a:ext cx="226057" cy="301823"/>
            </a:xfrm>
            <a:custGeom>
              <a:avLst/>
              <a:gdLst>
                <a:gd name="connsiteX0" fmla="*/ 224135 w 226057"/>
                <a:gd name="connsiteY0" fmla="*/ 263426 h 301823"/>
                <a:gd name="connsiteX1" fmla="*/ 200918 w 226057"/>
                <a:gd name="connsiteY1" fmla="*/ 255389 h 301823"/>
                <a:gd name="connsiteX2" fmla="*/ 150019 w 226057"/>
                <a:gd name="connsiteY2" fmla="*/ 266997 h 301823"/>
                <a:gd name="connsiteX3" fmla="*/ 67866 w 226057"/>
                <a:gd name="connsiteY3" fmla="*/ 233065 h 301823"/>
                <a:gd name="connsiteX4" fmla="*/ 33933 w 226057"/>
                <a:gd name="connsiteY4" fmla="*/ 150911 h 301823"/>
                <a:gd name="connsiteX5" fmla="*/ 67866 w 226057"/>
                <a:gd name="connsiteY5" fmla="*/ 68759 h 301823"/>
                <a:gd name="connsiteX6" fmla="*/ 150019 w 226057"/>
                <a:gd name="connsiteY6" fmla="*/ 34825 h 301823"/>
                <a:gd name="connsiteX7" fmla="*/ 200918 w 226057"/>
                <a:gd name="connsiteY7" fmla="*/ 46434 h 301823"/>
                <a:gd name="connsiteX8" fmla="*/ 224135 w 226057"/>
                <a:gd name="connsiteY8" fmla="*/ 38398 h 301823"/>
                <a:gd name="connsiteX9" fmla="*/ 216099 w 226057"/>
                <a:gd name="connsiteY9" fmla="*/ 15181 h 301823"/>
                <a:gd name="connsiteX10" fmla="*/ 150912 w 226057"/>
                <a:gd name="connsiteY10" fmla="*/ 0 h 301823"/>
                <a:gd name="connsiteX11" fmla="*/ 0 w 226057"/>
                <a:gd name="connsiteY11" fmla="*/ 150911 h 301823"/>
                <a:gd name="connsiteX12" fmla="*/ 150912 w 226057"/>
                <a:gd name="connsiteY12" fmla="*/ 301823 h 301823"/>
                <a:gd name="connsiteX13" fmla="*/ 216099 w 226057"/>
                <a:gd name="connsiteY13" fmla="*/ 286643 h 301823"/>
                <a:gd name="connsiteX14" fmla="*/ 224135 w 226057"/>
                <a:gd name="connsiteY14" fmla="*/ 263426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057" h="301823">
                  <a:moveTo>
                    <a:pt x="224135" y="263426"/>
                  </a:moveTo>
                  <a:cubicBezTo>
                    <a:pt x="219670" y="254496"/>
                    <a:pt x="209848" y="250924"/>
                    <a:pt x="200918" y="255389"/>
                  </a:cubicBezTo>
                  <a:cubicBezTo>
                    <a:pt x="185738" y="262533"/>
                    <a:pt x="168771" y="266997"/>
                    <a:pt x="150019" y="266997"/>
                  </a:cubicBezTo>
                  <a:cubicBezTo>
                    <a:pt x="117872" y="266997"/>
                    <a:pt x="88404" y="253603"/>
                    <a:pt x="67866" y="233065"/>
                  </a:cubicBezTo>
                  <a:cubicBezTo>
                    <a:pt x="46434" y="211634"/>
                    <a:pt x="33933" y="183059"/>
                    <a:pt x="33933" y="150911"/>
                  </a:cubicBezTo>
                  <a:cubicBezTo>
                    <a:pt x="33933" y="118765"/>
                    <a:pt x="47328" y="89297"/>
                    <a:pt x="67866" y="68759"/>
                  </a:cubicBezTo>
                  <a:cubicBezTo>
                    <a:pt x="89297" y="47327"/>
                    <a:pt x="117872" y="34825"/>
                    <a:pt x="150019" y="34825"/>
                  </a:cubicBezTo>
                  <a:cubicBezTo>
                    <a:pt x="167878" y="34825"/>
                    <a:pt x="184845" y="39290"/>
                    <a:pt x="200918" y="46434"/>
                  </a:cubicBezTo>
                  <a:cubicBezTo>
                    <a:pt x="209848" y="50899"/>
                    <a:pt x="219670" y="47327"/>
                    <a:pt x="224135" y="38398"/>
                  </a:cubicBezTo>
                  <a:cubicBezTo>
                    <a:pt x="228600" y="29468"/>
                    <a:pt x="225028" y="19645"/>
                    <a:pt x="216099" y="15181"/>
                  </a:cubicBezTo>
                  <a:cubicBezTo>
                    <a:pt x="196453" y="5358"/>
                    <a:pt x="174129" y="0"/>
                    <a:pt x="150912" y="0"/>
                  </a:cubicBezTo>
                  <a:cubicBezTo>
                    <a:pt x="67866" y="0"/>
                    <a:pt x="0" y="67865"/>
                    <a:pt x="0" y="150911"/>
                  </a:cubicBezTo>
                  <a:cubicBezTo>
                    <a:pt x="0" y="233958"/>
                    <a:pt x="67866" y="301823"/>
                    <a:pt x="150912" y="301823"/>
                  </a:cubicBezTo>
                  <a:cubicBezTo>
                    <a:pt x="174129" y="301823"/>
                    <a:pt x="196453" y="296466"/>
                    <a:pt x="216099" y="286643"/>
                  </a:cubicBezTo>
                  <a:cubicBezTo>
                    <a:pt x="224135" y="282178"/>
                    <a:pt x="227707" y="271462"/>
                    <a:pt x="224135" y="26342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64" name="Forme libre 63">
              <a:extLst>
                <a:ext uri="{FF2B5EF4-FFF2-40B4-BE49-F238E27FC236}">
                  <a16:creationId xmlns:a16="http://schemas.microsoft.com/office/drawing/2014/main" id="{982A45CA-2058-9EF0-A8CD-5BFD1F02B0CE}"/>
                </a:ext>
              </a:extLst>
            </p:cNvPr>
            <p:cNvSpPr/>
            <p:nvPr/>
          </p:nvSpPr>
          <p:spPr>
            <a:xfrm>
              <a:off x="4122539" y="4572892"/>
              <a:ext cx="301823" cy="301823"/>
            </a:xfrm>
            <a:custGeom>
              <a:avLst/>
              <a:gdLst>
                <a:gd name="connsiteX0" fmla="*/ 150912 w 301823"/>
                <a:gd name="connsiteY0" fmla="*/ 301824 h 301823"/>
                <a:gd name="connsiteX1" fmla="*/ 301823 w 301823"/>
                <a:gd name="connsiteY1" fmla="*/ 150912 h 301823"/>
                <a:gd name="connsiteX2" fmla="*/ 150912 w 301823"/>
                <a:gd name="connsiteY2" fmla="*/ 0 h 301823"/>
                <a:gd name="connsiteX3" fmla="*/ 0 w 301823"/>
                <a:gd name="connsiteY3" fmla="*/ 150912 h 301823"/>
                <a:gd name="connsiteX4" fmla="*/ 150912 w 301823"/>
                <a:gd name="connsiteY4" fmla="*/ 301824 h 301823"/>
                <a:gd name="connsiteX5" fmla="*/ 68759 w 301823"/>
                <a:gd name="connsiteY5" fmla="*/ 68759 h 301823"/>
                <a:gd name="connsiteX6" fmla="*/ 150912 w 301823"/>
                <a:gd name="connsiteY6" fmla="*/ 34826 h 301823"/>
                <a:gd name="connsiteX7" fmla="*/ 233065 w 301823"/>
                <a:gd name="connsiteY7" fmla="*/ 68759 h 301823"/>
                <a:gd name="connsiteX8" fmla="*/ 266998 w 301823"/>
                <a:gd name="connsiteY8" fmla="*/ 150912 h 301823"/>
                <a:gd name="connsiteX9" fmla="*/ 233065 w 301823"/>
                <a:gd name="connsiteY9" fmla="*/ 233065 h 301823"/>
                <a:gd name="connsiteX10" fmla="*/ 150912 w 301823"/>
                <a:gd name="connsiteY10" fmla="*/ 266998 h 301823"/>
                <a:gd name="connsiteX11" fmla="*/ 68759 w 301823"/>
                <a:gd name="connsiteY11" fmla="*/ 233065 h 301823"/>
                <a:gd name="connsiteX12" fmla="*/ 34826 w 301823"/>
                <a:gd name="connsiteY12" fmla="*/ 150912 h 301823"/>
                <a:gd name="connsiteX13" fmla="*/ 68759 w 301823"/>
                <a:gd name="connsiteY13" fmla="*/ 68759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823" h="301823">
                  <a:moveTo>
                    <a:pt x="150912" y="301824"/>
                  </a:moveTo>
                  <a:cubicBezTo>
                    <a:pt x="233958" y="301824"/>
                    <a:pt x="301823" y="233958"/>
                    <a:pt x="301823" y="150912"/>
                  </a:cubicBezTo>
                  <a:cubicBezTo>
                    <a:pt x="301823" y="67866"/>
                    <a:pt x="233958" y="0"/>
                    <a:pt x="150912" y="0"/>
                  </a:cubicBezTo>
                  <a:cubicBezTo>
                    <a:pt x="67866" y="0"/>
                    <a:pt x="0" y="67866"/>
                    <a:pt x="0" y="150912"/>
                  </a:cubicBezTo>
                  <a:cubicBezTo>
                    <a:pt x="0" y="234851"/>
                    <a:pt x="67866" y="301824"/>
                    <a:pt x="150912" y="301824"/>
                  </a:cubicBezTo>
                  <a:close/>
                  <a:moveTo>
                    <a:pt x="68759" y="68759"/>
                  </a:moveTo>
                  <a:cubicBezTo>
                    <a:pt x="90190" y="47328"/>
                    <a:pt x="118765" y="34826"/>
                    <a:pt x="150912" y="34826"/>
                  </a:cubicBezTo>
                  <a:cubicBezTo>
                    <a:pt x="183059" y="34826"/>
                    <a:pt x="212526" y="48221"/>
                    <a:pt x="233065" y="68759"/>
                  </a:cubicBezTo>
                  <a:cubicBezTo>
                    <a:pt x="254496" y="90190"/>
                    <a:pt x="266998" y="118765"/>
                    <a:pt x="266998" y="150912"/>
                  </a:cubicBezTo>
                  <a:cubicBezTo>
                    <a:pt x="266998" y="183059"/>
                    <a:pt x="253603" y="212527"/>
                    <a:pt x="233065" y="233065"/>
                  </a:cubicBezTo>
                  <a:cubicBezTo>
                    <a:pt x="211634" y="254496"/>
                    <a:pt x="183059" y="266998"/>
                    <a:pt x="150912" y="266998"/>
                  </a:cubicBezTo>
                  <a:cubicBezTo>
                    <a:pt x="118765" y="266998"/>
                    <a:pt x="89297" y="253603"/>
                    <a:pt x="68759" y="233065"/>
                  </a:cubicBezTo>
                  <a:cubicBezTo>
                    <a:pt x="47327" y="211634"/>
                    <a:pt x="34826" y="183059"/>
                    <a:pt x="34826" y="150912"/>
                  </a:cubicBezTo>
                  <a:cubicBezTo>
                    <a:pt x="34826" y="118765"/>
                    <a:pt x="47327" y="90190"/>
                    <a:pt x="68759" y="6875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65" name="Forme libre 64">
              <a:extLst>
                <a:ext uri="{FF2B5EF4-FFF2-40B4-BE49-F238E27FC236}">
                  <a16:creationId xmlns:a16="http://schemas.microsoft.com/office/drawing/2014/main" id="{82B81A5C-DB5E-0EFD-CEF6-7A9D37193B25}"/>
                </a:ext>
              </a:extLst>
            </p:cNvPr>
            <p:cNvSpPr/>
            <p:nvPr/>
          </p:nvSpPr>
          <p:spPr>
            <a:xfrm>
              <a:off x="4152006" y="4994374"/>
              <a:ext cx="270151" cy="349151"/>
            </a:xfrm>
            <a:custGeom>
              <a:avLst/>
              <a:gdLst>
                <a:gd name="connsiteX0" fmla="*/ 200918 w 270151"/>
                <a:gd name="connsiteY0" fmla="*/ 16967 h 349151"/>
                <a:gd name="connsiteX1" fmla="*/ 197346 w 270151"/>
                <a:gd name="connsiteY1" fmla="*/ 7144 h 349151"/>
                <a:gd name="connsiteX2" fmla="*/ 183059 w 270151"/>
                <a:gd name="connsiteY2" fmla="*/ 0 h 349151"/>
                <a:gd name="connsiteX3" fmla="*/ 166092 w 270151"/>
                <a:gd name="connsiteY3" fmla="*/ 16967 h 349151"/>
                <a:gd name="connsiteX4" fmla="*/ 166092 w 270151"/>
                <a:gd name="connsiteY4" fmla="*/ 19645 h 349151"/>
                <a:gd name="connsiteX5" fmla="*/ 97334 w 270151"/>
                <a:gd name="connsiteY5" fmla="*/ 19645 h 349151"/>
                <a:gd name="connsiteX6" fmla="*/ 96441 w 270151"/>
                <a:gd name="connsiteY6" fmla="*/ 19645 h 349151"/>
                <a:gd name="connsiteX7" fmla="*/ 87511 w 270151"/>
                <a:gd name="connsiteY7" fmla="*/ 20538 h 349151"/>
                <a:gd name="connsiteX8" fmla="*/ 78581 w 270151"/>
                <a:gd name="connsiteY8" fmla="*/ 19645 h 349151"/>
                <a:gd name="connsiteX9" fmla="*/ 77688 w 270151"/>
                <a:gd name="connsiteY9" fmla="*/ 19645 h 349151"/>
                <a:gd name="connsiteX10" fmla="*/ 0 w 270151"/>
                <a:gd name="connsiteY10" fmla="*/ 19645 h 349151"/>
                <a:gd name="connsiteX11" fmla="*/ 0 w 270151"/>
                <a:gd name="connsiteY11" fmla="*/ 54471 h 349151"/>
                <a:gd name="connsiteX12" fmla="*/ 76795 w 270151"/>
                <a:gd name="connsiteY12" fmla="*/ 54471 h 349151"/>
                <a:gd name="connsiteX13" fmla="*/ 86618 w 270151"/>
                <a:gd name="connsiteY13" fmla="*/ 55364 h 349151"/>
                <a:gd name="connsiteX14" fmla="*/ 96441 w 270151"/>
                <a:gd name="connsiteY14" fmla="*/ 54471 h 349151"/>
                <a:gd name="connsiteX15" fmla="*/ 164306 w 270151"/>
                <a:gd name="connsiteY15" fmla="*/ 54471 h 349151"/>
                <a:gd name="connsiteX16" fmla="*/ 164306 w 270151"/>
                <a:gd name="connsiteY16" fmla="*/ 291108 h 349151"/>
                <a:gd name="connsiteX17" fmla="*/ 122337 w 270151"/>
                <a:gd name="connsiteY17" fmla="*/ 249139 h 349151"/>
                <a:gd name="connsiteX18" fmla="*/ 98227 w 270151"/>
                <a:gd name="connsiteY18" fmla="*/ 249139 h 349151"/>
                <a:gd name="connsiteX19" fmla="*/ 98227 w 270151"/>
                <a:gd name="connsiteY19" fmla="*/ 273249 h 349151"/>
                <a:gd name="connsiteX20" fmla="*/ 169664 w 270151"/>
                <a:gd name="connsiteY20" fmla="*/ 344686 h 349151"/>
                <a:gd name="connsiteX21" fmla="*/ 170557 w 270151"/>
                <a:gd name="connsiteY21" fmla="*/ 345579 h 349151"/>
                <a:gd name="connsiteX22" fmla="*/ 172343 w 270151"/>
                <a:gd name="connsiteY22" fmla="*/ 347365 h 349151"/>
                <a:gd name="connsiteX23" fmla="*/ 174129 w 270151"/>
                <a:gd name="connsiteY23" fmla="*/ 348258 h 349151"/>
                <a:gd name="connsiteX24" fmla="*/ 175022 w 270151"/>
                <a:gd name="connsiteY24" fmla="*/ 348258 h 349151"/>
                <a:gd name="connsiteX25" fmla="*/ 176808 w 270151"/>
                <a:gd name="connsiteY25" fmla="*/ 348258 h 349151"/>
                <a:gd name="connsiteX26" fmla="*/ 179487 w 270151"/>
                <a:gd name="connsiteY26" fmla="*/ 349151 h 349151"/>
                <a:gd name="connsiteX27" fmla="*/ 182166 w 270151"/>
                <a:gd name="connsiteY27" fmla="*/ 349151 h 349151"/>
                <a:gd name="connsiteX28" fmla="*/ 184845 w 270151"/>
                <a:gd name="connsiteY28" fmla="*/ 349151 h 349151"/>
                <a:gd name="connsiteX29" fmla="*/ 187523 w 270151"/>
                <a:gd name="connsiteY29" fmla="*/ 348258 h 349151"/>
                <a:gd name="connsiteX30" fmla="*/ 189309 w 270151"/>
                <a:gd name="connsiteY30" fmla="*/ 348258 h 349151"/>
                <a:gd name="connsiteX31" fmla="*/ 190203 w 270151"/>
                <a:gd name="connsiteY31" fmla="*/ 348258 h 349151"/>
                <a:gd name="connsiteX32" fmla="*/ 191988 w 270151"/>
                <a:gd name="connsiteY32" fmla="*/ 347365 h 349151"/>
                <a:gd name="connsiteX33" fmla="*/ 193774 w 270151"/>
                <a:gd name="connsiteY33" fmla="*/ 345579 h 349151"/>
                <a:gd name="connsiteX34" fmla="*/ 194667 w 270151"/>
                <a:gd name="connsiteY34" fmla="*/ 344686 h 349151"/>
                <a:gd name="connsiteX35" fmla="*/ 196453 w 270151"/>
                <a:gd name="connsiteY35" fmla="*/ 342900 h 349151"/>
                <a:gd name="connsiteX36" fmla="*/ 265212 w 270151"/>
                <a:gd name="connsiteY36" fmla="*/ 274142 h 349151"/>
                <a:gd name="connsiteX37" fmla="*/ 266998 w 270151"/>
                <a:gd name="connsiteY37" fmla="*/ 251817 h 349151"/>
                <a:gd name="connsiteX38" fmla="*/ 265212 w 270151"/>
                <a:gd name="connsiteY38" fmla="*/ 250031 h 349151"/>
                <a:gd name="connsiteX39" fmla="*/ 241102 w 270151"/>
                <a:gd name="connsiteY39" fmla="*/ 250031 h 349151"/>
                <a:gd name="connsiteX40" fmla="*/ 226814 w 270151"/>
                <a:gd name="connsiteY40" fmla="*/ 264319 h 349151"/>
                <a:gd name="connsiteX41" fmla="*/ 199132 w 270151"/>
                <a:gd name="connsiteY41" fmla="*/ 292001 h 349151"/>
                <a:gd name="connsiteX42" fmla="*/ 199132 w 270151"/>
                <a:gd name="connsiteY42" fmla="*/ 16967 h 34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0151" h="349151">
                  <a:moveTo>
                    <a:pt x="200918" y="16967"/>
                  </a:moveTo>
                  <a:cubicBezTo>
                    <a:pt x="200918" y="13395"/>
                    <a:pt x="199132" y="9823"/>
                    <a:pt x="197346" y="7144"/>
                  </a:cubicBezTo>
                  <a:cubicBezTo>
                    <a:pt x="193774" y="2679"/>
                    <a:pt x="189309" y="0"/>
                    <a:pt x="183059" y="0"/>
                  </a:cubicBezTo>
                  <a:cubicBezTo>
                    <a:pt x="173236" y="0"/>
                    <a:pt x="166092" y="8037"/>
                    <a:pt x="166092" y="16967"/>
                  </a:cubicBezTo>
                  <a:lnTo>
                    <a:pt x="166092" y="19645"/>
                  </a:lnTo>
                  <a:lnTo>
                    <a:pt x="97334" y="19645"/>
                  </a:lnTo>
                  <a:lnTo>
                    <a:pt x="96441" y="19645"/>
                  </a:lnTo>
                  <a:cubicBezTo>
                    <a:pt x="91976" y="19645"/>
                    <a:pt x="89297" y="20538"/>
                    <a:pt x="87511" y="20538"/>
                  </a:cubicBezTo>
                  <a:cubicBezTo>
                    <a:pt x="85725" y="20538"/>
                    <a:pt x="83046" y="20538"/>
                    <a:pt x="78581" y="19645"/>
                  </a:cubicBezTo>
                  <a:lnTo>
                    <a:pt x="77688" y="19645"/>
                  </a:lnTo>
                  <a:lnTo>
                    <a:pt x="0" y="19645"/>
                  </a:lnTo>
                  <a:lnTo>
                    <a:pt x="0" y="54471"/>
                  </a:lnTo>
                  <a:lnTo>
                    <a:pt x="76795" y="54471"/>
                  </a:lnTo>
                  <a:cubicBezTo>
                    <a:pt x="79474" y="54471"/>
                    <a:pt x="82153" y="55364"/>
                    <a:pt x="86618" y="55364"/>
                  </a:cubicBezTo>
                  <a:cubicBezTo>
                    <a:pt x="91083" y="55364"/>
                    <a:pt x="94655" y="55364"/>
                    <a:pt x="96441" y="54471"/>
                  </a:cubicBezTo>
                  <a:lnTo>
                    <a:pt x="164306" y="54471"/>
                  </a:lnTo>
                  <a:lnTo>
                    <a:pt x="164306" y="291108"/>
                  </a:lnTo>
                  <a:lnTo>
                    <a:pt x="122337" y="249139"/>
                  </a:lnTo>
                  <a:cubicBezTo>
                    <a:pt x="115193" y="241995"/>
                    <a:pt x="104477" y="241995"/>
                    <a:pt x="98227" y="249139"/>
                  </a:cubicBezTo>
                  <a:cubicBezTo>
                    <a:pt x="91083" y="256282"/>
                    <a:pt x="91083" y="266998"/>
                    <a:pt x="98227" y="273249"/>
                  </a:cubicBezTo>
                  <a:lnTo>
                    <a:pt x="169664" y="344686"/>
                  </a:lnTo>
                  <a:cubicBezTo>
                    <a:pt x="169664" y="344686"/>
                    <a:pt x="169664" y="344686"/>
                    <a:pt x="170557" y="345579"/>
                  </a:cubicBezTo>
                  <a:cubicBezTo>
                    <a:pt x="171450" y="346472"/>
                    <a:pt x="172343" y="346472"/>
                    <a:pt x="172343" y="347365"/>
                  </a:cubicBezTo>
                  <a:cubicBezTo>
                    <a:pt x="173236" y="348258"/>
                    <a:pt x="174129" y="348258"/>
                    <a:pt x="174129" y="348258"/>
                  </a:cubicBezTo>
                  <a:cubicBezTo>
                    <a:pt x="174129" y="348258"/>
                    <a:pt x="174129" y="348258"/>
                    <a:pt x="175022" y="348258"/>
                  </a:cubicBezTo>
                  <a:cubicBezTo>
                    <a:pt x="175915" y="348258"/>
                    <a:pt x="175915" y="348258"/>
                    <a:pt x="176808" y="348258"/>
                  </a:cubicBezTo>
                  <a:cubicBezTo>
                    <a:pt x="177701" y="348258"/>
                    <a:pt x="178594" y="349151"/>
                    <a:pt x="179487" y="349151"/>
                  </a:cubicBezTo>
                  <a:cubicBezTo>
                    <a:pt x="180380" y="349151"/>
                    <a:pt x="181273" y="349151"/>
                    <a:pt x="182166" y="349151"/>
                  </a:cubicBezTo>
                  <a:cubicBezTo>
                    <a:pt x="183059" y="349151"/>
                    <a:pt x="183952" y="349151"/>
                    <a:pt x="184845" y="349151"/>
                  </a:cubicBezTo>
                  <a:cubicBezTo>
                    <a:pt x="185738" y="349151"/>
                    <a:pt x="186631" y="349151"/>
                    <a:pt x="187523" y="348258"/>
                  </a:cubicBezTo>
                  <a:cubicBezTo>
                    <a:pt x="188416" y="348258"/>
                    <a:pt x="188416" y="348258"/>
                    <a:pt x="189309" y="348258"/>
                  </a:cubicBezTo>
                  <a:cubicBezTo>
                    <a:pt x="189309" y="348258"/>
                    <a:pt x="189309" y="348258"/>
                    <a:pt x="190203" y="348258"/>
                  </a:cubicBezTo>
                  <a:cubicBezTo>
                    <a:pt x="191096" y="348258"/>
                    <a:pt x="191988" y="347365"/>
                    <a:pt x="191988" y="347365"/>
                  </a:cubicBezTo>
                  <a:cubicBezTo>
                    <a:pt x="192881" y="346472"/>
                    <a:pt x="193774" y="346472"/>
                    <a:pt x="193774" y="345579"/>
                  </a:cubicBezTo>
                  <a:cubicBezTo>
                    <a:pt x="193774" y="345579"/>
                    <a:pt x="193774" y="345579"/>
                    <a:pt x="194667" y="344686"/>
                  </a:cubicBezTo>
                  <a:lnTo>
                    <a:pt x="196453" y="342900"/>
                  </a:lnTo>
                  <a:lnTo>
                    <a:pt x="265212" y="274142"/>
                  </a:lnTo>
                  <a:cubicBezTo>
                    <a:pt x="271463" y="267891"/>
                    <a:pt x="271463" y="258961"/>
                    <a:pt x="266998" y="251817"/>
                  </a:cubicBezTo>
                  <a:cubicBezTo>
                    <a:pt x="266105" y="250925"/>
                    <a:pt x="266105" y="250031"/>
                    <a:pt x="265212" y="250031"/>
                  </a:cubicBezTo>
                  <a:cubicBezTo>
                    <a:pt x="258068" y="242888"/>
                    <a:pt x="247352" y="242888"/>
                    <a:pt x="241102" y="250031"/>
                  </a:cubicBezTo>
                  <a:lnTo>
                    <a:pt x="226814" y="264319"/>
                  </a:lnTo>
                  <a:lnTo>
                    <a:pt x="199132" y="292001"/>
                  </a:lnTo>
                  <a:lnTo>
                    <a:pt x="199132" y="16967"/>
                  </a:ln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grpSp>
      <p:grpSp>
        <p:nvGrpSpPr>
          <p:cNvPr id="66" name="Graphique 37">
            <a:extLst>
              <a:ext uri="{FF2B5EF4-FFF2-40B4-BE49-F238E27FC236}">
                <a16:creationId xmlns:a16="http://schemas.microsoft.com/office/drawing/2014/main" id="{F0B7B7EB-EF27-E369-C433-231CA9C3914F}"/>
              </a:ext>
            </a:extLst>
          </p:cNvPr>
          <p:cNvGrpSpPr/>
          <p:nvPr/>
        </p:nvGrpSpPr>
        <p:grpSpPr>
          <a:xfrm>
            <a:off x="7870859" y="237317"/>
            <a:ext cx="792009" cy="664798"/>
            <a:chOff x="3596575" y="4270176"/>
            <a:chExt cx="1278736" cy="1073348"/>
          </a:xfrm>
          <a:solidFill>
            <a:srgbClr val="002060"/>
          </a:solidFill>
        </p:grpSpPr>
        <p:sp>
          <p:nvSpPr>
            <p:cNvPr id="67" name="Forme libre 66">
              <a:extLst>
                <a:ext uri="{FF2B5EF4-FFF2-40B4-BE49-F238E27FC236}">
                  <a16:creationId xmlns:a16="http://schemas.microsoft.com/office/drawing/2014/main" id="{2EF97442-6D59-B759-C056-593315E3D3FE}"/>
                </a:ext>
              </a:extLst>
            </p:cNvPr>
            <p:cNvSpPr/>
            <p:nvPr/>
          </p:nvSpPr>
          <p:spPr>
            <a:xfrm>
              <a:off x="3596575" y="4270176"/>
              <a:ext cx="1278736" cy="993874"/>
            </a:xfrm>
            <a:custGeom>
              <a:avLst/>
              <a:gdLst>
                <a:gd name="connsiteX0" fmla="*/ 257180 w 1278736"/>
                <a:gd name="connsiteY0" fmla="*/ 778669 h 993874"/>
                <a:gd name="connsiteX1" fmla="*/ 267003 w 1278736"/>
                <a:gd name="connsiteY1" fmla="*/ 777776 h 993874"/>
                <a:gd name="connsiteX2" fmla="*/ 493817 w 1278736"/>
                <a:gd name="connsiteY2" fmla="*/ 777776 h 993874"/>
                <a:gd name="connsiteX3" fmla="*/ 493817 w 1278736"/>
                <a:gd name="connsiteY3" fmla="*/ 934938 h 993874"/>
                <a:gd name="connsiteX4" fmla="*/ 451847 w 1278736"/>
                <a:gd name="connsiteY4" fmla="*/ 892969 h 993874"/>
                <a:gd name="connsiteX5" fmla="*/ 427737 w 1278736"/>
                <a:gd name="connsiteY5" fmla="*/ 892969 h 993874"/>
                <a:gd name="connsiteX6" fmla="*/ 427737 w 1278736"/>
                <a:gd name="connsiteY6" fmla="*/ 917079 h 993874"/>
                <a:gd name="connsiteX7" fmla="*/ 499175 w 1278736"/>
                <a:gd name="connsiteY7" fmla="*/ 988517 h 993874"/>
                <a:gd name="connsiteX8" fmla="*/ 500068 w 1278736"/>
                <a:gd name="connsiteY8" fmla="*/ 989409 h 993874"/>
                <a:gd name="connsiteX9" fmla="*/ 501853 w 1278736"/>
                <a:gd name="connsiteY9" fmla="*/ 991195 h 993874"/>
                <a:gd name="connsiteX10" fmla="*/ 503639 w 1278736"/>
                <a:gd name="connsiteY10" fmla="*/ 992981 h 993874"/>
                <a:gd name="connsiteX11" fmla="*/ 504532 w 1278736"/>
                <a:gd name="connsiteY11" fmla="*/ 992981 h 993874"/>
                <a:gd name="connsiteX12" fmla="*/ 506318 w 1278736"/>
                <a:gd name="connsiteY12" fmla="*/ 992981 h 993874"/>
                <a:gd name="connsiteX13" fmla="*/ 508997 w 1278736"/>
                <a:gd name="connsiteY13" fmla="*/ 993874 h 993874"/>
                <a:gd name="connsiteX14" fmla="*/ 511676 w 1278736"/>
                <a:gd name="connsiteY14" fmla="*/ 993874 h 993874"/>
                <a:gd name="connsiteX15" fmla="*/ 514355 w 1278736"/>
                <a:gd name="connsiteY15" fmla="*/ 993874 h 993874"/>
                <a:gd name="connsiteX16" fmla="*/ 517034 w 1278736"/>
                <a:gd name="connsiteY16" fmla="*/ 992981 h 993874"/>
                <a:gd name="connsiteX17" fmla="*/ 518820 w 1278736"/>
                <a:gd name="connsiteY17" fmla="*/ 992981 h 993874"/>
                <a:gd name="connsiteX18" fmla="*/ 519713 w 1278736"/>
                <a:gd name="connsiteY18" fmla="*/ 992981 h 993874"/>
                <a:gd name="connsiteX19" fmla="*/ 522392 w 1278736"/>
                <a:gd name="connsiteY19" fmla="*/ 991195 h 993874"/>
                <a:gd name="connsiteX20" fmla="*/ 524178 w 1278736"/>
                <a:gd name="connsiteY20" fmla="*/ 989409 h 993874"/>
                <a:gd name="connsiteX21" fmla="*/ 525071 w 1278736"/>
                <a:gd name="connsiteY21" fmla="*/ 988517 h 993874"/>
                <a:gd name="connsiteX22" fmla="*/ 526857 w 1278736"/>
                <a:gd name="connsiteY22" fmla="*/ 986731 h 993874"/>
                <a:gd name="connsiteX23" fmla="*/ 595615 w 1278736"/>
                <a:gd name="connsiteY23" fmla="*/ 917972 h 993874"/>
                <a:gd name="connsiteX24" fmla="*/ 597401 w 1278736"/>
                <a:gd name="connsiteY24" fmla="*/ 895648 h 993874"/>
                <a:gd name="connsiteX25" fmla="*/ 595615 w 1278736"/>
                <a:gd name="connsiteY25" fmla="*/ 893862 h 993874"/>
                <a:gd name="connsiteX26" fmla="*/ 571505 w 1278736"/>
                <a:gd name="connsiteY26" fmla="*/ 893862 h 993874"/>
                <a:gd name="connsiteX27" fmla="*/ 557218 w 1278736"/>
                <a:gd name="connsiteY27" fmla="*/ 908149 h 993874"/>
                <a:gd name="connsiteX28" fmla="*/ 529536 w 1278736"/>
                <a:gd name="connsiteY28" fmla="*/ 935831 h 993874"/>
                <a:gd name="connsiteX29" fmla="*/ 529536 w 1278736"/>
                <a:gd name="connsiteY29" fmla="*/ 662583 h 993874"/>
                <a:gd name="connsiteX30" fmla="*/ 525964 w 1278736"/>
                <a:gd name="connsiteY30" fmla="*/ 652760 h 993874"/>
                <a:gd name="connsiteX31" fmla="*/ 511676 w 1278736"/>
                <a:gd name="connsiteY31" fmla="*/ 645616 h 993874"/>
                <a:gd name="connsiteX32" fmla="*/ 494710 w 1278736"/>
                <a:gd name="connsiteY32" fmla="*/ 662583 h 993874"/>
                <a:gd name="connsiteX33" fmla="*/ 494710 w 1278736"/>
                <a:gd name="connsiteY33" fmla="*/ 743843 h 993874"/>
                <a:gd name="connsiteX34" fmla="*/ 267003 w 1278736"/>
                <a:gd name="connsiteY34" fmla="*/ 743843 h 993874"/>
                <a:gd name="connsiteX35" fmla="*/ 266110 w 1278736"/>
                <a:gd name="connsiteY35" fmla="*/ 743843 h 993874"/>
                <a:gd name="connsiteX36" fmla="*/ 257180 w 1278736"/>
                <a:gd name="connsiteY36" fmla="*/ 744736 h 993874"/>
                <a:gd name="connsiteX37" fmla="*/ 99125 w 1278736"/>
                <a:gd name="connsiteY37" fmla="*/ 679549 h 993874"/>
                <a:gd name="connsiteX38" fmla="*/ 33938 w 1278736"/>
                <a:gd name="connsiteY38" fmla="*/ 521493 h 993874"/>
                <a:gd name="connsiteX39" fmla="*/ 216103 w 1278736"/>
                <a:gd name="connsiteY39" fmla="*/ 301823 h 993874"/>
                <a:gd name="connsiteX40" fmla="*/ 230391 w 1278736"/>
                <a:gd name="connsiteY40" fmla="*/ 283071 h 993874"/>
                <a:gd name="connsiteX41" fmla="*/ 228605 w 1278736"/>
                <a:gd name="connsiteY41" fmla="*/ 257175 h 993874"/>
                <a:gd name="connsiteX42" fmla="*/ 293792 w 1278736"/>
                <a:gd name="connsiteY42" fmla="*/ 99119 h 993874"/>
                <a:gd name="connsiteX43" fmla="*/ 451847 w 1278736"/>
                <a:gd name="connsiteY43" fmla="*/ 33933 h 993874"/>
                <a:gd name="connsiteX44" fmla="*/ 653658 w 1278736"/>
                <a:gd name="connsiteY44" fmla="*/ 160734 h 993874"/>
                <a:gd name="connsiteX45" fmla="*/ 666160 w 1278736"/>
                <a:gd name="connsiteY45" fmla="*/ 170557 h 993874"/>
                <a:gd name="connsiteX46" fmla="*/ 681340 w 1278736"/>
                <a:gd name="connsiteY46" fmla="*/ 166092 h 993874"/>
                <a:gd name="connsiteX47" fmla="*/ 830466 w 1278736"/>
                <a:gd name="connsiteY47" fmla="*/ 108942 h 993874"/>
                <a:gd name="connsiteX48" fmla="*/ 1049243 w 1278736"/>
                <a:gd name="connsiteY48" fmla="*/ 288429 h 993874"/>
                <a:gd name="connsiteX49" fmla="*/ 1062638 w 1278736"/>
                <a:gd name="connsiteY49" fmla="*/ 301823 h 993874"/>
                <a:gd name="connsiteX50" fmla="*/ 1244804 w 1278736"/>
                <a:gd name="connsiteY50" fmla="*/ 521493 h 993874"/>
                <a:gd name="connsiteX51" fmla="*/ 1034956 w 1278736"/>
                <a:gd name="connsiteY51" fmla="*/ 744736 h 993874"/>
                <a:gd name="connsiteX52" fmla="*/ 1034063 w 1278736"/>
                <a:gd name="connsiteY52" fmla="*/ 744736 h 993874"/>
                <a:gd name="connsiteX53" fmla="*/ 1031384 w 1278736"/>
                <a:gd name="connsiteY53" fmla="*/ 744736 h 993874"/>
                <a:gd name="connsiteX54" fmla="*/ 1030491 w 1278736"/>
                <a:gd name="connsiteY54" fmla="*/ 744736 h 993874"/>
                <a:gd name="connsiteX55" fmla="*/ 1021561 w 1278736"/>
                <a:gd name="connsiteY55" fmla="*/ 745629 h 993874"/>
                <a:gd name="connsiteX56" fmla="*/ 1012632 w 1278736"/>
                <a:gd name="connsiteY56" fmla="*/ 744736 h 993874"/>
                <a:gd name="connsiteX57" fmla="*/ 1011739 w 1278736"/>
                <a:gd name="connsiteY57" fmla="*/ 744736 h 993874"/>
                <a:gd name="connsiteX58" fmla="*/ 784925 w 1278736"/>
                <a:gd name="connsiteY58" fmla="*/ 744736 h 993874"/>
                <a:gd name="connsiteX59" fmla="*/ 784925 w 1278736"/>
                <a:gd name="connsiteY59" fmla="*/ 779562 h 993874"/>
                <a:gd name="connsiteX60" fmla="*/ 1011739 w 1278736"/>
                <a:gd name="connsiteY60" fmla="*/ 779562 h 993874"/>
                <a:gd name="connsiteX61" fmla="*/ 1021561 w 1278736"/>
                <a:gd name="connsiteY61" fmla="*/ 780454 h 993874"/>
                <a:gd name="connsiteX62" fmla="*/ 1031384 w 1278736"/>
                <a:gd name="connsiteY62" fmla="*/ 779562 h 993874"/>
                <a:gd name="connsiteX63" fmla="*/ 1035849 w 1278736"/>
                <a:gd name="connsiteY63" fmla="*/ 779562 h 993874"/>
                <a:gd name="connsiteX64" fmla="*/ 1037635 w 1278736"/>
                <a:gd name="connsiteY64" fmla="*/ 779562 h 993874"/>
                <a:gd name="connsiteX65" fmla="*/ 1278736 w 1278736"/>
                <a:gd name="connsiteY65" fmla="*/ 522387 h 993874"/>
                <a:gd name="connsiteX66" fmla="*/ 1079604 w 1278736"/>
                <a:gd name="connsiteY66" fmla="*/ 271462 h 993874"/>
                <a:gd name="connsiteX67" fmla="*/ 829573 w 1278736"/>
                <a:gd name="connsiteY67" fmla="*/ 75902 h 993874"/>
                <a:gd name="connsiteX68" fmla="*/ 674197 w 1278736"/>
                <a:gd name="connsiteY68" fmla="*/ 127694 h 993874"/>
                <a:gd name="connsiteX69" fmla="*/ 451847 w 1278736"/>
                <a:gd name="connsiteY69" fmla="*/ 0 h 993874"/>
                <a:gd name="connsiteX70" fmla="*/ 193779 w 1278736"/>
                <a:gd name="connsiteY70" fmla="*/ 258068 h 993874"/>
                <a:gd name="connsiteX71" fmla="*/ 194672 w 1278736"/>
                <a:gd name="connsiteY71" fmla="*/ 272355 h 993874"/>
                <a:gd name="connsiteX72" fmla="*/ 5 w 1278736"/>
                <a:gd name="connsiteY72" fmla="*/ 522387 h 993874"/>
                <a:gd name="connsiteX73" fmla="*/ 257180 w 1278736"/>
                <a:gd name="connsiteY73" fmla="*/ 778669 h 99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78736" h="993874">
                  <a:moveTo>
                    <a:pt x="257180" y="778669"/>
                  </a:moveTo>
                  <a:cubicBezTo>
                    <a:pt x="261645" y="778669"/>
                    <a:pt x="265217" y="778669"/>
                    <a:pt x="267003" y="777776"/>
                  </a:cubicBezTo>
                  <a:lnTo>
                    <a:pt x="493817" y="777776"/>
                  </a:lnTo>
                  <a:lnTo>
                    <a:pt x="493817" y="934938"/>
                  </a:lnTo>
                  <a:lnTo>
                    <a:pt x="451847" y="892969"/>
                  </a:lnTo>
                  <a:cubicBezTo>
                    <a:pt x="444703" y="885825"/>
                    <a:pt x="433988" y="885825"/>
                    <a:pt x="427737" y="892969"/>
                  </a:cubicBezTo>
                  <a:cubicBezTo>
                    <a:pt x="420593" y="900112"/>
                    <a:pt x="420593" y="910828"/>
                    <a:pt x="427737" y="917079"/>
                  </a:cubicBezTo>
                  <a:lnTo>
                    <a:pt x="499175" y="988517"/>
                  </a:lnTo>
                  <a:cubicBezTo>
                    <a:pt x="499175" y="988517"/>
                    <a:pt x="500068" y="988517"/>
                    <a:pt x="500068" y="989409"/>
                  </a:cubicBezTo>
                  <a:cubicBezTo>
                    <a:pt x="500961" y="990302"/>
                    <a:pt x="500961" y="990302"/>
                    <a:pt x="501853" y="991195"/>
                  </a:cubicBezTo>
                  <a:cubicBezTo>
                    <a:pt x="502746" y="992088"/>
                    <a:pt x="503639" y="992088"/>
                    <a:pt x="503639" y="992981"/>
                  </a:cubicBezTo>
                  <a:cubicBezTo>
                    <a:pt x="503639" y="992981"/>
                    <a:pt x="503639" y="992981"/>
                    <a:pt x="504532" y="992981"/>
                  </a:cubicBezTo>
                  <a:cubicBezTo>
                    <a:pt x="505426" y="992981"/>
                    <a:pt x="505426" y="992981"/>
                    <a:pt x="506318" y="992981"/>
                  </a:cubicBezTo>
                  <a:cubicBezTo>
                    <a:pt x="507211" y="992981"/>
                    <a:pt x="508104" y="993874"/>
                    <a:pt x="508997" y="993874"/>
                  </a:cubicBezTo>
                  <a:cubicBezTo>
                    <a:pt x="509890" y="993874"/>
                    <a:pt x="510783" y="993874"/>
                    <a:pt x="511676" y="993874"/>
                  </a:cubicBezTo>
                  <a:cubicBezTo>
                    <a:pt x="512569" y="993874"/>
                    <a:pt x="513462" y="993874"/>
                    <a:pt x="514355" y="993874"/>
                  </a:cubicBezTo>
                  <a:cubicBezTo>
                    <a:pt x="515248" y="993874"/>
                    <a:pt x="516141" y="993874"/>
                    <a:pt x="517034" y="992981"/>
                  </a:cubicBezTo>
                  <a:cubicBezTo>
                    <a:pt x="517927" y="992981"/>
                    <a:pt x="517927" y="992981"/>
                    <a:pt x="518820" y="992981"/>
                  </a:cubicBezTo>
                  <a:cubicBezTo>
                    <a:pt x="518820" y="992981"/>
                    <a:pt x="518820" y="992981"/>
                    <a:pt x="519713" y="992981"/>
                  </a:cubicBezTo>
                  <a:cubicBezTo>
                    <a:pt x="520606" y="992981"/>
                    <a:pt x="521499" y="992088"/>
                    <a:pt x="522392" y="991195"/>
                  </a:cubicBezTo>
                  <a:cubicBezTo>
                    <a:pt x="523285" y="990302"/>
                    <a:pt x="524178" y="990302"/>
                    <a:pt x="524178" y="989409"/>
                  </a:cubicBezTo>
                  <a:cubicBezTo>
                    <a:pt x="524178" y="989409"/>
                    <a:pt x="525071" y="989409"/>
                    <a:pt x="525071" y="988517"/>
                  </a:cubicBezTo>
                  <a:lnTo>
                    <a:pt x="526857" y="986731"/>
                  </a:lnTo>
                  <a:lnTo>
                    <a:pt x="595615" y="917972"/>
                  </a:lnTo>
                  <a:cubicBezTo>
                    <a:pt x="601866" y="911721"/>
                    <a:pt x="601866" y="902791"/>
                    <a:pt x="597401" y="895648"/>
                  </a:cubicBezTo>
                  <a:cubicBezTo>
                    <a:pt x="596508" y="894755"/>
                    <a:pt x="596508" y="893862"/>
                    <a:pt x="595615" y="893862"/>
                  </a:cubicBezTo>
                  <a:cubicBezTo>
                    <a:pt x="588472" y="886718"/>
                    <a:pt x="577756" y="886718"/>
                    <a:pt x="571505" y="893862"/>
                  </a:cubicBezTo>
                  <a:lnTo>
                    <a:pt x="557218" y="908149"/>
                  </a:lnTo>
                  <a:lnTo>
                    <a:pt x="529536" y="935831"/>
                  </a:lnTo>
                  <a:lnTo>
                    <a:pt x="529536" y="662583"/>
                  </a:lnTo>
                  <a:cubicBezTo>
                    <a:pt x="529536" y="659011"/>
                    <a:pt x="527750" y="655439"/>
                    <a:pt x="525964" y="652760"/>
                  </a:cubicBezTo>
                  <a:cubicBezTo>
                    <a:pt x="523285" y="648295"/>
                    <a:pt x="517927" y="645616"/>
                    <a:pt x="511676" y="645616"/>
                  </a:cubicBezTo>
                  <a:cubicBezTo>
                    <a:pt x="501853" y="645616"/>
                    <a:pt x="494710" y="653653"/>
                    <a:pt x="494710" y="662583"/>
                  </a:cubicBezTo>
                  <a:lnTo>
                    <a:pt x="494710" y="743843"/>
                  </a:lnTo>
                  <a:lnTo>
                    <a:pt x="267003" y="743843"/>
                  </a:lnTo>
                  <a:lnTo>
                    <a:pt x="266110" y="743843"/>
                  </a:lnTo>
                  <a:cubicBezTo>
                    <a:pt x="261645" y="743843"/>
                    <a:pt x="258966" y="744736"/>
                    <a:pt x="257180" y="744736"/>
                  </a:cubicBezTo>
                  <a:cubicBezTo>
                    <a:pt x="195565" y="744736"/>
                    <a:pt x="139308" y="719733"/>
                    <a:pt x="99125" y="679549"/>
                  </a:cubicBezTo>
                  <a:cubicBezTo>
                    <a:pt x="58941" y="639365"/>
                    <a:pt x="33938" y="583109"/>
                    <a:pt x="33938" y="521493"/>
                  </a:cubicBezTo>
                  <a:cubicBezTo>
                    <a:pt x="33938" y="412552"/>
                    <a:pt x="112519" y="321469"/>
                    <a:pt x="216103" y="301823"/>
                  </a:cubicBezTo>
                  <a:cubicBezTo>
                    <a:pt x="225033" y="300037"/>
                    <a:pt x="231284" y="292001"/>
                    <a:pt x="230391" y="283071"/>
                  </a:cubicBezTo>
                  <a:cubicBezTo>
                    <a:pt x="229498" y="274141"/>
                    <a:pt x="228605" y="266105"/>
                    <a:pt x="228605" y="257175"/>
                  </a:cubicBezTo>
                  <a:cubicBezTo>
                    <a:pt x="228605" y="195560"/>
                    <a:pt x="253608" y="139303"/>
                    <a:pt x="293792" y="99119"/>
                  </a:cubicBezTo>
                  <a:cubicBezTo>
                    <a:pt x="333975" y="58936"/>
                    <a:pt x="390232" y="33933"/>
                    <a:pt x="451847" y="33933"/>
                  </a:cubicBezTo>
                  <a:cubicBezTo>
                    <a:pt x="541144" y="33933"/>
                    <a:pt x="617047" y="85725"/>
                    <a:pt x="653658" y="160734"/>
                  </a:cubicBezTo>
                  <a:cubicBezTo>
                    <a:pt x="656337" y="165199"/>
                    <a:pt x="660802" y="168771"/>
                    <a:pt x="666160" y="170557"/>
                  </a:cubicBezTo>
                  <a:cubicBezTo>
                    <a:pt x="671517" y="171450"/>
                    <a:pt x="676875" y="169664"/>
                    <a:pt x="681340" y="166092"/>
                  </a:cubicBezTo>
                  <a:cubicBezTo>
                    <a:pt x="720631" y="130373"/>
                    <a:pt x="773316" y="108942"/>
                    <a:pt x="830466" y="108942"/>
                  </a:cubicBezTo>
                  <a:cubicBezTo>
                    <a:pt x="938515" y="108942"/>
                    <a:pt x="1028705" y="185737"/>
                    <a:pt x="1049243" y="288429"/>
                  </a:cubicBezTo>
                  <a:cubicBezTo>
                    <a:pt x="1051029" y="295572"/>
                    <a:pt x="1056387" y="300930"/>
                    <a:pt x="1062638" y="301823"/>
                  </a:cubicBezTo>
                  <a:cubicBezTo>
                    <a:pt x="1166222" y="321469"/>
                    <a:pt x="1244804" y="412552"/>
                    <a:pt x="1244804" y="521493"/>
                  </a:cubicBezTo>
                  <a:cubicBezTo>
                    <a:pt x="1244804" y="640259"/>
                    <a:pt x="1151935" y="737592"/>
                    <a:pt x="1034956" y="744736"/>
                  </a:cubicBezTo>
                  <a:cubicBezTo>
                    <a:pt x="1034956" y="744736"/>
                    <a:pt x="1034063" y="744736"/>
                    <a:pt x="1034063" y="744736"/>
                  </a:cubicBezTo>
                  <a:lnTo>
                    <a:pt x="1031384" y="744736"/>
                  </a:lnTo>
                  <a:lnTo>
                    <a:pt x="1030491" y="744736"/>
                  </a:lnTo>
                  <a:cubicBezTo>
                    <a:pt x="1026026" y="744736"/>
                    <a:pt x="1023347" y="745629"/>
                    <a:pt x="1021561" y="745629"/>
                  </a:cubicBezTo>
                  <a:cubicBezTo>
                    <a:pt x="1019775" y="745629"/>
                    <a:pt x="1017097" y="745629"/>
                    <a:pt x="1012632" y="744736"/>
                  </a:cubicBezTo>
                  <a:lnTo>
                    <a:pt x="1011739" y="744736"/>
                  </a:lnTo>
                  <a:lnTo>
                    <a:pt x="784925" y="744736"/>
                  </a:lnTo>
                  <a:lnTo>
                    <a:pt x="784925" y="779562"/>
                  </a:lnTo>
                  <a:lnTo>
                    <a:pt x="1011739" y="779562"/>
                  </a:lnTo>
                  <a:cubicBezTo>
                    <a:pt x="1014418" y="779562"/>
                    <a:pt x="1017097" y="780454"/>
                    <a:pt x="1021561" y="780454"/>
                  </a:cubicBezTo>
                  <a:cubicBezTo>
                    <a:pt x="1026026" y="780454"/>
                    <a:pt x="1029598" y="780454"/>
                    <a:pt x="1031384" y="779562"/>
                  </a:cubicBezTo>
                  <a:lnTo>
                    <a:pt x="1035849" y="779562"/>
                  </a:lnTo>
                  <a:cubicBezTo>
                    <a:pt x="1036742" y="779562"/>
                    <a:pt x="1037635" y="779562"/>
                    <a:pt x="1037635" y="779562"/>
                  </a:cubicBezTo>
                  <a:cubicBezTo>
                    <a:pt x="1172473" y="770632"/>
                    <a:pt x="1278736" y="659011"/>
                    <a:pt x="1278736" y="522387"/>
                  </a:cubicBezTo>
                  <a:cubicBezTo>
                    <a:pt x="1278736" y="400050"/>
                    <a:pt x="1193904" y="298252"/>
                    <a:pt x="1079604" y="271462"/>
                  </a:cubicBezTo>
                  <a:cubicBezTo>
                    <a:pt x="1051922" y="158948"/>
                    <a:pt x="950124" y="75902"/>
                    <a:pt x="829573" y="75902"/>
                  </a:cubicBezTo>
                  <a:cubicBezTo>
                    <a:pt x="771530" y="75902"/>
                    <a:pt x="717952" y="95547"/>
                    <a:pt x="674197" y="127694"/>
                  </a:cubicBezTo>
                  <a:cubicBezTo>
                    <a:pt x="629548" y="51792"/>
                    <a:pt x="546502" y="0"/>
                    <a:pt x="451847" y="0"/>
                  </a:cubicBezTo>
                  <a:cubicBezTo>
                    <a:pt x="308972" y="0"/>
                    <a:pt x="193779" y="115193"/>
                    <a:pt x="193779" y="258068"/>
                  </a:cubicBezTo>
                  <a:cubicBezTo>
                    <a:pt x="193779" y="262533"/>
                    <a:pt x="193779" y="267891"/>
                    <a:pt x="194672" y="272355"/>
                  </a:cubicBezTo>
                  <a:cubicBezTo>
                    <a:pt x="83051" y="300930"/>
                    <a:pt x="5" y="401836"/>
                    <a:pt x="5" y="522387"/>
                  </a:cubicBezTo>
                  <a:cubicBezTo>
                    <a:pt x="-888" y="662583"/>
                    <a:pt x="115198" y="778669"/>
                    <a:pt x="257180" y="778669"/>
                  </a:cubicBezTo>
                  <a:close/>
                </a:path>
              </a:pathLst>
            </a:custGeom>
            <a:grpFill/>
            <a:ln w="8930" cap="flat">
              <a:solidFill>
                <a:srgbClr val="002060"/>
              </a:solidFill>
              <a:prstDash val="solid"/>
              <a:miter/>
            </a:ln>
          </p:spPr>
          <p:txBody>
            <a:bodyPr rtlCol="0" anchor="ctr"/>
            <a:lstStyle/>
            <a:p>
              <a:pPr defTabSz="457189"/>
              <a:endParaRPr lang="fr-FR" sz="1350">
                <a:solidFill>
                  <a:prstClr val="black"/>
                </a:solidFill>
                <a:latin typeface="Arial"/>
              </a:endParaRPr>
            </a:p>
          </p:txBody>
        </p:sp>
        <p:sp>
          <p:nvSpPr>
            <p:cNvPr id="68" name="Forme libre 67">
              <a:extLst>
                <a:ext uri="{FF2B5EF4-FFF2-40B4-BE49-F238E27FC236}">
                  <a16:creationId xmlns:a16="http://schemas.microsoft.com/office/drawing/2014/main" id="{F1A6EA28-B8B1-EEF0-5F3A-E97B57C9D283}"/>
                </a:ext>
              </a:extLst>
            </p:cNvPr>
            <p:cNvSpPr/>
            <p:nvPr/>
          </p:nvSpPr>
          <p:spPr>
            <a:xfrm>
              <a:off x="4449013" y="4755951"/>
              <a:ext cx="120009" cy="159841"/>
            </a:xfrm>
            <a:custGeom>
              <a:avLst/>
              <a:gdLst>
                <a:gd name="connsiteX0" fmla="*/ 11067 w 120009"/>
                <a:gd name="connsiteY0" fmla="*/ 58936 h 159841"/>
                <a:gd name="connsiteX1" fmla="*/ 32499 w 120009"/>
                <a:gd name="connsiteY1" fmla="*/ 48221 h 159841"/>
                <a:gd name="connsiteX2" fmla="*/ 53930 w 120009"/>
                <a:gd name="connsiteY2" fmla="*/ 33040 h 159841"/>
                <a:gd name="connsiteX3" fmla="*/ 53930 w 120009"/>
                <a:gd name="connsiteY3" fmla="*/ 33040 h 159841"/>
                <a:gd name="connsiteX4" fmla="*/ 76254 w 120009"/>
                <a:gd name="connsiteY4" fmla="*/ 41077 h 159841"/>
                <a:gd name="connsiteX5" fmla="*/ 81612 w 120009"/>
                <a:gd name="connsiteY5" fmla="*/ 53578 h 159841"/>
                <a:gd name="connsiteX6" fmla="*/ 81612 w 120009"/>
                <a:gd name="connsiteY6" fmla="*/ 54471 h 159841"/>
                <a:gd name="connsiteX7" fmla="*/ 78933 w 120009"/>
                <a:gd name="connsiteY7" fmla="*/ 65187 h 159841"/>
                <a:gd name="connsiteX8" fmla="*/ 64645 w 120009"/>
                <a:gd name="connsiteY8" fmla="*/ 78582 h 159841"/>
                <a:gd name="connsiteX9" fmla="*/ 43214 w 120009"/>
                <a:gd name="connsiteY9" fmla="*/ 89297 h 159841"/>
                <a:gd name="connsiteX10" fmla="*/ 11067 w 120009"/>
                <a:gd name="connsiteY10" fmla="*/ 118765 h 159841"/>
                <a:gd name="connsiteX11" fmla="*/ 2138 w 120009"/>
                <a:gd name="connsiteY11" fmla="*/ 137517 h 159841"/>
                <a:gd name="connsiteX12" fmla="*/ 4817 w 120009"/>
                <a:gd name="connsiteY12" fmla="*/ 152698 h 159841"/>
                <a:gd name="connsiteX13" fmla="*/ 19104 w 120009"/>
                <a:gd name="connsiteY13" fmla="*/ 159842 h 159841"/>
                <a:gd name="connsiteX14" fmla="*/ 103043 w 120009"/>
                <a:gd name="connsiteY14" fmla="*/ 159842 h 159841"/>
                <a:gd name="connsiteX15" fmla="*/ 120010 w 120009"/>
                <a:gd name="connsiteY15" fmla="*/ 142875 h 159841"/>
                <a:gd name="connsiteX16" fmla="*/ 103043 w 120009"/>
                <a:gd name="connsiteY16" fmla="*/ 125909 h 159841"/>
                <a:gd name="connsiteX17" fmla="*/ 50358 w 120009"/>
                <a:gd name="connsiteY17" fmla="*/ 125909 h 159841"/>
                <a:gd name="connsiteX18" fmla="*/ 57502 w 120009"/>
                <a:gd name="connsiteY18" fmla="*/ 121444 h 159841"/>
                <a:gd name="connsiteX19" fmla="*/ 93220 w 120009"/>
                <a:gd name="connsiteY19" fmla="*/ 102691 h 159841"/>
                <a:gd name="connsiteX20" fmla="*/ 110187 w 120009"/>
                <a:gd name="connsiteY20" fmla="*/ 83939 h 159841"/>
                <a:gd name="connsiteX21" fmla="*/ 118224 w 120009"/>
                <a:gd name="connsiteY21" fmla="*/ 56257 h 159841"/>
                <a:gd name="connsiteX22" fmla="*/ 118224 w 120009"/>
                <a:gd name="connsiteY22" fmla="*/ 56257 h 159841"/>
                <a:gd name="connsiteX23" fmla="*/ 118224 w 120009"/>
                <a:gd name="connsiteY23" fmla="*/ 55364 h 159841"/>
                <a:gd name="connsiteX24" fmla="*/ 103043 w 120009"/>
                <a:gd name="connsiteY24" fmla="*/ 18753 h 159841"/>
                <a:gd name="connsiteX25" fmla="*/ 55716 w 120009"/>
                <a:gd name="connsiteY25" fmla="*/ 0 h 159841"/>
                <a:gd name="connsiteX26" fmla="*/ 54823 w 120009"/>
                <a:gd name="connsiteY26" fmla="*/ 0 h 159841"/>
                <a:gd name="connsiteX27" fmla="*/ 54823 w 120009"/>
                <a:gd name="connsiteY27" fmla="*/ 0 h 159841"/>
                <a:gd name="connsiteX28" fmla="*/ 2138 w 120009"/>
                <a:gd name="connsiteY28" fmla="*/ 39291 h 159841"/>
                <a:gd name="connsiteX29" fmla="*/ 11067 w 120009"/>
                <a:gd name="connsiteY29" fmla="*/ 58936 h 1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009" h="159841">
                  <a:moveTo>
                    <a:pt x="11067" y="58936"/>
                  </a:moveTo>
                  <a:cubicBezTo>
                    <a:pt x="19997" y="61615"/>
                    <a:pt x="29820" y="57150"/>
                    <a:pt x="32499" y="48221"/>
                  </a:cubicBezTo>
                  <a:cubicBezTo>
                    <a:pt x="35178" y="39291"/>
                    <a:pt x="44107" y="33040"/>
                    <a:pt x="53930" y="33040"/>
                  </a:cubicBezTo>
                  <a:lnTo>
                    <a:pt x="53930" y="33040"/>
                  </a:lnTo>
                  <a:cubicBezTo>
                    <a:pt x="66431" y="33040"/>
                    <a:pt x="72682" y="36612"/>
                    <a:pt x="76254" y="41077"/>
                  </a:cubicBezTo>
                  <a:cubicBezTo>
                    <a:pt x="79826" y="44648"/>
                    <a:pt x="81612" y="50007"/>
                    <a:pt x="81612" y="53578"/>
                  </a:cubicBezTo>
                  <a:lnTo>
                    <a:pt x="81612" y="54471"/>
                  </a:lnTo>
                  <a:cubicBezTo>
                    <a:pt x="81612" y="58936"/>
                    <a:pt x="80719" y="62508"/>
                    <a:pt x="78933" y="65187"/>
                  </a:cubicBezTo>
                  <a:cubicBezTo>
                    <a:pt x="76254" y="69652"/>
                    <a:pt x="71789" y="74117"/>
                    <a:pt x="64645" y="78582"/>
                  </a:cubicBezTo>
                  <a:cubicBezTo>
                    <a:pt x="58395" y="82153"/>
                    <a:pt x="50358" y="85725"/>
                    <a:pt x="43214" y="89297"/>
                  </a:cubicBezTo>
                  <a:cubicBezTo>
                    <a:pt x="27141" y="96441"/>
                    <a:pt x="17318" y="108942"/>
                    <a:pt x="11067" y="118765"/>
                  </a:cubicBezTo>
                  <a:cubicBezTo>
                    <a:pt x="4817" y="128588"/>
                    <a:pt x="3031" y="136625"/>
                    <a:pt x="2138" y="137517"/>
                  </a:cubicBezTo>
                  <a:cubicBezTo>
                    <a:pt x="352" y="142875"/>
                    <a:pt x="1245" y="148233"/>
                    <a:pt x="4817" y="152698"/>
                  </a:cubicBezTo>
                  <a:cubicBezTo>
                    <a:pt x="8388" y="157163"/>
                    <a:pt x="12853" y="159842"/>
                    <a:pt x="19104" y="159842"/>
                  </a:cubicBezTo>
                  <a:lnTo>
                    <a:pt x="103043" y="159842"/>
                  </a:lnTo>
                  <a:cubicBezTo>
                    <a:pt x="112866" y="159842"/>
                    <a:pt x="120010" y="151805"/>
                    <a:pt x="120010" y="142875"/>
                  </a:cubicBezTo>
                  <a:cubicBezTo>
                    <a:pt x="120010" y="133053"/>
                    <a:pt x="111973" y="125909"/>
                    <a:pt x="103043" y="125909"/>
                  </a:cubicBezTo>
                  <a:lnTo>
                    <a:pt x="50358" y="125909"/>
                  </a:lnTo>
                  <a:cubicBezTo>
                    <a:pt x="52144" y="124123"/>
                    <a:pt x="54823" y="122337"/>
                    <a:pt x="57502" y="121444"/>
                  </a:cubicBezTo>
                  <a:cubicBezTo>
                    <a:pt x="67324" y="116979"/>
                    <a:pt x="80719" y="111621"/>
                    <a:pt x="93220" y="102691"/>
                  </a:cubicBezTo>
                  <a:cubicBezTo>
                    <a:pt x="99471" y="98227"/>
                    <a:pt x="105722" y="91976"/>
                    <a:pt x="110187" y="83939"/>
                  </a:cubicBezTo>
                  <a:cubicBezTo>
                    <a:pt x="114652" y="75902"/>
                    <a:pt x="117331" y="66973"/>
                    <a:pt x="118224" y="56257"/>
                  </a:cubicBezTo>
                  <a:lnTo>
                    <a:pt x="118224" y="56257"/>
                  </a:lnTo>
                  <a:lnTo>
                    <a:pt x="118224" y="55364"/>
                  </a:lnTo>
                  <a:cubicBezTo>
                    <a:pt x="118224" y="43756"/>
                    <a:pt x="113759" y="30361"/>
                    <a:pt x="103043" y="18753"/>
                  </a:cubicBezTo>
                  <a:cubicBezTo>
                    <a:pt x="92327" y="8037"/>
                    <a:pt x="76254" y="0"/>
                    <a:pt x="55716" y="0"/>
                  </a:cubicBezTo>
                  <a:lnTo>
                    <a:pt x="54823" y="0"/>
                  </a:lnTo>
                  <a:lnTo>
                    <a:pt x="54823" y="0"/>
                  </a:lnTo>
                  <a:cubicBezTo>
                    <a:pt x="29820" y="0"/>
                    <a:pt x="9281" y="16074"/>
                    <a:pt x="2138" y="39291"/>
                  </a:cubicBezTo>
                  <a:cubicBezTo>
                    <a:pt x="-3220" y="46434"/>
                    <a:pt x="2138" y="56257"/>
                    <a:pt x="11067" y="58936"/>
                  </a:cubicBezTo>
                  <a:close/>
                </a:path>
              </a:pathLst>
            </a:custGeom>
            <a:grpFill/>
            <a:ln w="8930" cap="flat">
              <a:solidFill>
                <a:srgbClr val="002060"/>
              </a:solidFill>
              <a:prstDash val="solid"/>
              <a:miter/>
            </a:ln>
          </p:spPr>
          <p:txBody>
            <a:bodyPr rtlCol="0" anchor="ctr"/>
            <a:lstStyle/>
            <a:p>
              <a:pPr defTabSz="457189"/>
              <a:endParaRPr lang="fr-FR" sz="1350">
                <a:solidFill>
                  <a:prstClr val="black"/>
                </a:solidFill>
                <a:latin typeface="Arial"/>
              </a:endParaRPr>
            </a:p>
          </p:txBody>
        </p:sp>
        <p:sp>
          <p:nvSpPr>
            <p:cNvPr id="69" name="Forme libre 68">
              <a:extLst>
                <a:ext uri="{FF2B5EF4-FFF2-40B4-BE49-F238E27FC236}">
                  <a16:creationId xmlns:a16="http://schemas.microsoft.com/office/drawing/2014/main" id="{0BA34E59-D698-FDDA-49DA-2E950D7F29AF}"/>
                </a:ext>
              </a:extLst>
            </p:cNvPr>
            <p:cNvSpPr/>
            <p:nvPr/>
          </p:nvSpPr>
          <p:spPr>
            <a:xfrm>
              <a:off x="3902868" y="4573786"/>
              <a:ext cx="226057" cy="301823"/>
            </a:xfrm>
            <a:custGeom>
              <a:avLst/>
              <a:gdLst>
                <a:gd name="connsiteX0" fmla="*/ 224135 w 226057"/>
                <a:gd name="connsiteY0" fmla="*/ 263426 h 301823"/>
                <a:gd name="connsiteX1" fmla="*/ 200918 w 226057"/>
                <a:gd name="connsiteY1" fmla="*/ 255389 h 301823"/>
                <a:gd name="connsiteX2" fmla="*/ 150019 w 226057"/>
                <a:gd name="connsiteY2" fmla="*/ 266997 h 301823"/>
                <a:gd name="connsiteX3" fmla="*/ 67866 w 226057"/>
                <a:gd name="connsiteY3" fmla="*/ 233065 h 301823"/>
                <a:gd name="connsiteX4" fmla="*/ 33933 w 226057"/>
                <a:gd name="connsiteY4" fmla="*/ 150911 h 301823"/>
                <a:gd name="connsiteX5" fmla="*/ 67866 w 226057"/>
                <a:gd name="connsiteY5" fmla="*/ 68759 h 301823"/>
                <a:gd name="connsiteX6" fmla="*/ 150019 w 226057"/>
                <a:gd name="connsiteY6" fmla="*/ 34825 h 301823"/>
                <a:gd name="connsiteX7" fmla="*/ 200918 w 226057"/>
                <a:gd name="connsiteY7" fmla="*/ 46434 h 301823"/>
                <a:gd name="connsiteX8" fmla="*/ 224135 w 226057"/>
                <a:gd name="connsiteY8" fmla="*/ 38398 h 301823"/>
                <a:gd name="connsiteX9" fmla="*/ 216099 w 226057"/>
                <a:gd name="connsiteY9" fmla="*/ 15181 h 301823"/>
                <a:gd name="connsiteX10" fmla="*/ 150912 w 226057"/>
                <a:gd name="connsiteY10" fmla="*/ 0 h 301823"/>
                <a:gd name="connsiteX11" fmla="*/ 0 w 226057"/>
                <a:gd name="connsiteY11" fmla="*/ 150911 h 301823"/>
                <a:gd name="connsiteX12" fmla="*/ 150912 w 226057"/>
                <a:gd name="connsiteY12" fmla="*/ 301823 h 301823"/>
                <a:gd name="connsiteX13" fmla="*/ 216099 w 226057"/>
                <a:gd name="connsiteY13" fmla="*/ 286643 h 301823"/>
                <a:gd name="connsiteX14" fmla="*/ 224135 w 226057"/>
                <a:gd name="connsiteY14" fmla="*/ 263426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057" h="301823">
                  <a:moveTo>
                    <a:pt x="224135" y="263426"/>
                  </a:moveTo>
                  <a:cubicBezTo>
                    <a:pt x="219670" y="254496"/>
                    <a:pt x="209848" y="250924"/>
                    <a:pt x="200918" y="255389"/>
                  </a:cubicBezTo>
                  <a:cubicBezTo>
                    <a:pt x="185738" y="262533"/>
                    <a:pt x="168771" y="266997"/>
                    <a:pt x="150019" y="266997"/>
                  </a:cubicBezTo>
                  <a:cubicBezTo>
                    <a:pt x="117872" y="266997"/>
                    <a:pt x="88404" y="253603"/>
                    <a:pt x="67866" y="233065"/>
                  </a:cubicBezTo>
                  <a:cubicBezTo>
                    <a:pt x="46434" y="211634"/>
                    <a:pt x="33933" y="183059"/>
                    <a:pt x="33933" y="150911"/>
                  </a:cubicBezTo>
                  <a:cubicBezTo>
                    <a:pt x="33933" y="118765"/>
                    <a:pt x="47328" y="89297"/>
                    <a:pt x="67866" y="68759"/>
                  </a:cubicBezTo>
                  <a:cubicBezTo>
                    <a:pt x="89297" y="47327"/>
                    <a:pt x="117872" y="34825"/>
                    <a:pt x="150019" y="34825"/>
                  </a:cubicBezTo>
                  <a:cubicBezTo>
                    <a:pt x="167878" y="34825"/>
                    <a:pt x="184845" y="39290"/>
                    <a:pt x="200918" y="46434"/>
                  </a:cubicBezTo>
                  <a:cubicBezTo>
                    <a:pt x="209848" y="50899"/>
                    <a:pt x="219670" y="47327"/>
                    <a:pt x="224135" y="38398"/>
                  </a:cubicBezTo>
                  <a:cubicBezTo>
                    <a:pt x="228600" y="29468"/>
                    <a:pt x="225028" y="19645"/>
                    <a:pt x="216099" y="15181"/>
                  </a:cubicBezTo>
                  <a:cubicBezTo>
                    <a:pt x="196453" y="5358"/>
                    <a:pt x="174129" y="0"/>
                    <a:pt x="150912" y="0"/>
                  </a:cubicBezTo>
                  <a:cubicBezTo>
                    <a:pt x="67866" y="0"/>
                    <a:pt x="0" y="67865"/>
                    <a:pt x="0" y="150911"/>
                  </a:cubicBezTo>
                  <a:cubicBezTo>
                    <a:pt x="0" y="233958"/>
                    <a:pt x="67866" y="301823"/>
                    <a:pt x="150912" y="301823"/>
                  </a:cubicBezTo>
                  <a:cubicBezTo>
                    <a:pt x="174129" y="301823"/>
                    <a:pt x="196453" y="296466"/>
                    <a:pt x="216099" y="286643"/>
                  </a:cubicBezTo>
                  <a:cubicBezTo>
                    <a:pt x="224135" y="282178"/>
                    <a:pt x="227707" y="271462"/>
                    <a:pt x="224135" y="263426"/>
                  </a:cubicBezTo>
                  <a:close/>
                </a:path>
              </a:pathLst>
            </a:custGeom>
            <a:grpFill/>
            <a:ln w="8930" cap="flat">
              <a:solidFill>
                <a:srgbClr val="002060"/>
              </a:solidFill>
              <a:prstDash val="solid"/>
              <a:miter/>
            </a:ln>
          </p:spPr>
          <p:txBody>
            <a:bodyPr rtlCol="0" anchor="ctr"/>
            <a:lstStyle/>
            <a:p>
              <a:pPr defTabSz="457189"/>
              <a:endParaRPr lang="fr-FR" sz="1350">
                <a:solidFill>
                  <a:prstClr val="black"/>
                </a:solidFill>
                <a:latin typeface="Arial"/>
              </a:endParaRPr>
            </a:p>
          </p:txBody>
        </p:sp>
        <p:sp>
          <p:nvSpPr>
            <p:cNvPr id="70" name="Forme libre 69">
              <a:extLst>
                <a:ext uri="{FF2B5EF4-FFF2-40B4-BE49-F238E27FC236}">
                  <a16:creationId xmlns:a16="http://schemas.microsoft.com/office/drawing/2014/main" id="{2542011B-F8CE-76A5-ADC5-3AC232C1F6A0}"/>
                </a:ext>
              </a:extLst>
            </p:cNvPr>
            <p:cNvSpPr/>
            <p:nvPr/>
          </p:nvSpPr>
          <p:spPr>
            <a:xfrm>
              <a:off x="4122539" y="4572892"/>
              <a:ext cx="301823" cy="301823"/>
            </a:xfrm>
            <a:custGeom>
              <a:avLst/>
              <a:gdLst>
                <a:gd name="connsiteX0" fmla="*/ 150912 w 301823"/>
                <a:gd name="connsiteY0" fmla="*/ 301824 h 301823"/>
                <a:gd name="connsiteX1" fmla="*/ 301823 w 301823"/>
                <a:gd name="connsiteY1" fmla="*/ 150912 h 301823"/>
                <a:gd name="connsiteX2" fmla="*/ 150912 w 301823"/>
                <a:gd name="connsiteY2" fmla="*/ 0 h 301823"/>
                <a:gd name="connsiteX3" fmla="*/ 0 w 301823"/>
                <a:gd name="connsiteY3" fmla="*/ 150912 h 301823"/>
                <a:gd name="connsiteX4" fmla="*/ 150912 w 301823"/>
                <a:gd name="connsiteY4" fmla="*/ 301824 h 301823"/>
                <a:gd name="connsiteX5" fmla="*/ 68759 w 301823"/>
                <a:gd name="connsiteY5" fmla="*/ 68759 h 301823"/>
                <a:gd name="connsiteX6" fmla="*/ 150912 w 301823"/>
                <a:gd name="connsiteY6" fmla="*/ 34826 h 301823"/>
                <a:gd name="connsiteX7" fmla="*/ 233065 w 301823"/>
                <a:gd name="connsiteY7" fmla="*/ 68759 h 301823"/>
                <a:gd name="connsiteX8" fmla="*/ 266998 w 301823"/>
                <a:gd name="connsiteY8" fmla="*/ 150912 h 301823"/>
                <a:gd name="connsiteX9" fmla="*/ 233065 w 301823"/>
                <a:gd name="connsiteY9" fmla="*/ 233065 h 301823"/>
                <a:gd name="connsiteX10" fmla="*/ 150912 w 301823"/>
                <a:gd name="connsiteY10" fmla="*/ 266998 h 301823"/>
                <a:gd name="connsiteX11" fmla="*/ 68759 w 301823"/>
                <a:gd name="connsiteY11" fmla="*/ 233065 h 301823"/>
                <a:gd name="connsiteX12" fmla="*/ 34826 w 301823"/>
                <a:gd name="connsiteY12" fmla="*/ 150912 h 301823"/>
                <a:gd name="connsiteX13" fmla="*/ 68759 w 301823"/>
                <a:gd name="connsiteY13" fmla="*/ 68759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823" h="301823">
                  <a:moveTo>
                    <a:pt x="150912" y="301824"/>
                  </a:moveTo>
                  <a:cubicBezTo>
                    <a:pt x="233958" y="301824"/>
                    <a:pt x="301823" y="233958"/>
                    <a:pt x="301823" y="150912"/>
                  </a:cubicBezTo>
                  <a:cubicBezTo>
                    <a:pt x="301823" y="67866"/>
                    <a:pt x="233958" y="0"/>
                    <a:pt x="150912" y="0"/>
                  </a:cubicBezTo>
                  <a:cubicBezTo>
                    <a:pt x="67866" y="0"/>
                    <a:pt x="0" y="67866"/>
                    <a:pt x="0" y="150912"/>
                  </a:cubicBezTo>
                  <a:cubicBezTo>
                    <a:pt x="0" y="234851"/>
                    <a:pt x="67866" y="301824"/>
                    <a:pt x="150912" y="301824"/>
                  </a:cubicBezTo>
                  <a:close/>
                  <a:moveTo>
                    <a:pt x="68759" y="68759"/>
                  </a:moveTo>
                  <a:cubicBezTo>
                    <a:pt x="90190" y="47328"/>
                    <a:pt x="118765" y="34826"/>
                    <a:pt x="150912" y="34826"/>
                  </a:cubicBezTo>
                  <a:cubicBezTo>
                    <a:pt x="183059" y="34826"/>
                    <a:pt x="212526" y="48221"/>
                    <a:pt x="233065" y="68759"/>
                  </a:cubicBezTo>
                  <a:cubicBezTo>
                    <a:pt x="254496" y="90190"/>
                    <a:pt x="266998" y="118765"/>
                    <a:pt x="266998" y="150912"/>
                  </a:cubicBezTo>
                  <a:cubicBezTo>
                    <a:pt x="266998" y="183059"/>
                    <a:pt x="253603" y="212527"/>
                    <a:pt x="233065" y="233065"/>
                  </a:cubicBezTo>
                  <a:cubicBezTo>
                    <a:pt x="211634" y="254496"/>
                    <a:pt x="183059" y="266998"/>
                    <a:pt x="150912" y="266998"/>
                  </a:cubicBezTo>
                  <a:cubicBezTo>
                    <a:pt x="118765" y="266998"/>
                    <a:pt x="89297" y="253603"/>
                    <a:pt x="68759" y="233065"/>
                  </a:cubicBezTo>
                  <a:cubicBezTo>
                    <a:pt x="47327" y="211634"/>
                    <a:pt x="34826" y="183059"/>
                    <a:pt x="34826" y="150912"/>
                  </a:cubicBezTo>
                  <a:cubicBezTo>
                    <a:pt x="34826" y="118765"/>
                    <a:pt x="47327" y="90190"/>
                    <a:pt x="68759" y="68759"/>
                  </a:cubicBezTo>
                  <a:close/>
                </a:path>
              </a:pathLst>
            </a:custGeom>
            <a:grpFill/>
            <a:ln w="8930" cap="flat">
              <a:solidFill>
                <a:srgbClr val="002060"/>
              </a:solidFill>
              <a:prstDash val="solid"/>
              <a:miter/>
            </a:ln>
          </p:spPr>
          <p:txBody>
            <a:bodyPr rtlCol="0" anchor="ctr"/>
            <a:lstStyle/>
            <a:p>
              <a:pPr defTabSz="457189"/>
              <a:endParaRPr lang="fr-FR" sz="1350">
                <a:solidFill>
                  <a:prstClr val="black"/>
                </a:solidFill>
                <a:latin typeface="Arial"/>
              </a:endParaRPr>
            </a:p>
          </p:txBody>
        </p:sp>
        <p:sp>
          <p:nvSpPr>
            <p:cNvPr id="71" name="Forme libre 70">
              <a:extLst>
                <a:ext uri="{FF2B5EF4-FFF2-40B4-BE49-F238E27FC236}">
                  <a16:creationId xmlns:a16="http://schemas.microsoft.com/office/drawing/2014/main" id="{5053037D-856F-3BC9-F4EE-0356E76484A4}"/>
                </a:ext>
              </a:extLst>
            </p:cNvPr>
            <p:cNvSpPr/>
            <p:nvPr/>
          </p:nvSpPr>
          <p:spPr>
            <a:xfrm>
              <a:off x="4152006" y="4994374"/>
              <a:ext cx="270151" cy="349151"/>
            </a:xfrm>
            <a:custGeom>
              <a:avLst/>
              <a:gdLst>
                <a:gd name="connsiteX0" fmla="*/ 200918 w 270151"/>
                <a:gd name="connsiteY0" fmla="*/ 16967 h 349151"/>
                <a:gd name="connsiteX1" fmla="*/ 197346 w 270151"/>
                <a:gd name="connsiteY1" fmla="*/ 7144 h 349151"/>
                <a:gd name="connsiteX2" fmla="*/ 183059 w 270151"/>
                <a:gd name="connsiteY2" fmla="*/ 0 h 349151"/>
                <a:gd name="connsiteX3" fmla="*/ 166092 w 270151"/>
                <a:gd name="connsiteY3" fmla="*/ 16967 h 349151"/>
                <a:gd name="connsiteX4" fmla="*/ 166092 w 270151"/>
                <a:gd name="connsiteY4" fmla="*/ 19645 h 349151"/>
                <a:gd name="connsiteX5" fmla="*/ 97334 w 270151"/>
                <a:gd name="connsiteY5" fmla="*/ 19645 h 349151"/>
                <a:gd name="connsiteX6" fmla="*/ 96441 w 270151"/>
                <a:gd name="connsiteY6" fmla="*/ 19645 h 349151"/>
                <a:gd name="connsiteX7" fmla="*/ 87511 w 270151"/>
                <a:gd name="connsiteY7" fmla="*/ 20538 h 349151"/>
                <a:gd name="connsiteX8" fmla="*/ 78581 w 270151"/>
                <a:gd name="connsiteY8" fmla="*/ 19645 h 349151"/>
                <a:gd name="connsiteX9" fmla="*/ 77688 w 270151"/>
                <a:gd name="connsiteY9" fmla="*/ 19645 h 349151"/>
                <a:gd name="connsiteX10" fmla="*/ 0 w 270151"/>
                <a:gd name="connsiteY10" fmla="*/ 19645 h 349151"/>
                <a:gd name="connsiteX11" fmla="*/ 0 w 270151"/>
                <a:gd name="connsiteY11" fmla="*/ 54471 h 349151"/>
                <a:gd name="connsiteX12" fmla="*/ 76795 w 270151"/>
                <a:gd name="connsiteY12" fmla="*/ 54471 h 349151"/>
                <a:gd name="connsiteX13" fmla="*/ 86618 w 270151"/>
                <a:gd name="connsiteY13" fmla="*/ 55364 h 349151"/>
                <a:gd name="connsiteX14" fmla="*/ 96441 w 270151"/>
                <a:gd name="connsiteY14" fmla="*/ 54471 h 349151"/>
                <a:gd name="connsiteX15" fmla="*/ 164306 w 270151"/>
                <a:gd name="connsiteY15" fmla="*/ 54471 h 349151"/>
                <a:gd name="connsiteX16" fmla="*/ 164306 w 270151"/>
                <a:gd name="connsiteY16" fmla="*/ 291108 h 349151"/>
                <a:gd name="connsiteX17" fmla="*/ 122337 w 270151"/>
                <a:gd name="connsiteY17" fmla="*/ 249139 h 349151"/>
                <a:gd name="connsiteX18" fmla="*/ 98227 w 270151"/>
                <a:gd name="connsiteY18" fmla="*/ 249139 h 349151"/>
                <a:gd name="connsiteX19" fmla="*/ 98227 w 270151"/>
                <a:gd name="connsiteY19" fmla="*/ 273249 h 349151"/>
                <a:gd name="connsiteX20" fmla="*/ 169664 w 270151"/>
                <a:gd name="connsiteY20" fmla="*/ 344686 h 349151"/>
                <a:gd name="connsiteX21" fmla="*/ 170557 w 270151"/>
                <a:gd name="connsiteY21" fmla="*/ 345579 h 349151"/>
                <a:gd name="connsiteX22" fmla="*/ 172343 w 270151"/>
                <a:gd name="connsiteY22" fmla="*/ 347365 h 349151"/>
                <a:gd name="connsiteX23" fmla="*/ 174129 w 270151"/>
                <a:gd name="connsiteY23" fmla="*/ 348258 h 349151"/>
                <a:gd name="connsiteX24" fmla="*/ 175022 w 270151"/>
                <a:gd name="connsiteY24" fmla="*/ 348258 h 349151"/>
                <a:gd name="connsiteX25" fmla="*/ 176808 w 270151"/>
                <a:gd name="connsiteY25" fmla="*/ 348258 h 349151"/>
                <a:gd name="connsiteX26" fmla="*/ 179487 w 270151"/>
                <a:gd name="connsiteY26" fmla="*/ 349151 h 349151"/>
                <a:gd name="connsiteX27" fmla="*/ 182166 w 270151"/>
                <a:gd name="connsiteY27" fmla="*/ 349151 h 349151"/>
                <a:gd name="connsiteX28" fmla="*/ 184845 w 270151"/>
                <a:gd name="connsiteY28" fmla="*/ 349151 h 349151"/>
                <a:gd name="connsiteX29" fmla="*/ 187523 w 270151"/>
                <a:gd name="connsiteY29" fmla="*/ 348258 h 349151"/>
                <a:gd name="connsiteX30" fmla="*/ 189309 w 270151"/>
                <a:gd name="connsiteY30" fmla="*/ 348258 h 349151"/>
                <a:gd name="connsiteX31" fmla="*/ 190203 w 270151"/>
                <a:gd name="connsiteY31" fmla="*/ 348258 h 349151"/>
                <a:gd name="connsiteX32" fmla="*/ 191988 w 270151"/>
                <a:gd name="connsiteY32" fmla="*/ 347365 h 349151"/>
                <a:gd name="connsiteX33" fmla="*/ 193774 w 270151"/>
                <a:gd name="connsiteY33" fmla="*/ 345579 h 349151"/>
                <a:gd name="connsiteX34" fmla="*/ 194667 w 270151"/>
                <a:gd name="connsiteY34" fmla="*/ 344686 h 349151"/>
                <a:gd name="connsiteX35" fmla="*/ 196453 w 270151"/>
                <a:gd name="connsiteY35" fmla="*/ 342900 h 349151"/>
                <a:gd name="connsiteX36" fmla="*/ 265212 w 270151"/>
                <a:gd name="connsiteY36" fmla="*/ 274142 h 349151"/>
                <a:gd name="connsiteX37" fmla="*/ 266998 w 270151"/>
                <a:gd name="connsiteY37" fmla="*/ 251817 h 349151"/>
                <a:gd name="connsiteX38" fmla="*/ 265212 w 270151"/>
                <a:gd name="connsiteY38" fmla="*/ 250031 h 349151"/>
                <a:gd name="connsiteX39" fmla="*/ 241102 w 270151"/>
                <a:gd name="connsiteY39" fmla="*/ 250031 h 349151"/>
                <a:gd name="connsiteX40" fmla="*/ 226814 w 270151"/>
                <a:gd name="connsiteY40" fmla="*/ 264319 h 349151"/>
                <a:gd name="connsiteX41" fmla="*/ 199132 w 270151"/>
                <a:gd name="connsiteY41" fmla="*/ 292001 h 349151"/>
                <a:gd name="connsiteX42" fmla="*/ 199132 w 270151"/>
                <a:gd name="connsiteY42" fmla="*/ 16967 h 34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0151" h="349151">
                  <a:moveTo>
                    <a:pt x="200918" y="16967"/>
                  </a:moveTo>
                  <a:cubicBezTo>
                    <a:pt x="200918" y="13395"/>
                    <a:pt x="199132" y="9823"/>
                    <a:pt x="197346" y="7144"/>
                  </a:cubicBezTo>
                  <a:cubicBezTo>
                    <a:pt x="193774" y="2679"/>
                    <a:pt x="189309" y="0"/>
                    <a:pt x="183059" y="0"/>
                  </a:cubicBezTo>
                  <a:cubicBezTo>
                    <a:pt x="173236" y="0"/>
                    <a:pt x="166092" y="8037"/>
                    <a:pt x="166092" y="16967"/>
                  </a:cubicBezTo>
                  <a:lnTo>
                    <a:pt x="166092" y="19645"/>
                  </a:lnTo>
                  <a:lnTo>
                    <a:pt x="97334" y="19645"/>
                  </a:lnTo>
                  <a:lnTo>
                    <a:pt x="96441" y="19645"/>
                  </a:lnTo>
                  <a:cubicBezTo>
                    <a:pt x="91976" y="19645"/>
                    <a:pt x="89297" y="20538"/>
                    <a:pt x="87511" y="20538"/>
                  </a:cubicBezTo>
                  <a:cubicBezTo>
                    <a:pt x="85725" y="20538"/>
                    <a:pt x="83046" y="20538"/>
                    <a:pt x="78581" y="19645"/>
                  </a:cubicBezTo>
                  <a:lnTo>
                    <a:pt x="77688" y="19645"/>
                  </a:lnTo>
                  <a:lnTo>
                    <a:pt x="0" y="19645"/>
                  </a:lnTo>
                  <a:lnTo>
                    <a:pt x="0" y="54471"/>
                  </a:lnTo>
                  <a:lnTo>
                    <a:pt x="76795" y="54471"/>
                  </a:lnTo>
                  <a:cubicBezTo>
                    <a:pt x="79474" y="54471"/>
                    <a:pt x="82153" y="55364"/>
                    <a:pt x="86618" y="55364"/>
                  </a:cubicBezTo>
                  <a:cubicBezTo>
                    <a:pt x="91083" y="55364"/>
                    <a:pt x="94655" y="55364"/>
                    <a:pt x="96441" y="54471"/>
                  </a:cubicBezTo>
                  <a:lnTo>
                    <a:pt x="164306" y="54471"/>
                  </a:lnTo>
                  <a:lnTo>
                    <a:pt x="164306" y="291108"/>
                  </a:lnTo>
                  <a:lnTo>
                    <a:pt x="122337" y="249139"/>
                  </a:lnTo>
                  <a:cubicBezTo>
                    <a:pt x="115193" y="241995"/>
                    <a:pt x="104477" y="241995"/>
                    <a:pt x="98227" y="249139"/>
                  </a:cubicBezTo>
                  <a:cubicBezTo>
                    <a:pt x="91083" y="256282"/>
                    <a:pt x="91083" y="266998"/>
                    <a:pt x="98227" y="273249"/>
                  </a:cubicBezTo>
                  <a:lnTo>
                    <a:pt x="169664" y="344686"/>
                  </a:lnTo>
                  <a:cubicBezTo>
                    <a:pt x="169664" y="344686"/>
                    <a:pt x="169664" y="344686"/>
                    <a:pt x="170557" y="345579"/>
                  </a:cubicBezTo>
                  <a:cubicBezTo>
                    <a:pt x="171450" y="346472"/>
                    <a:pt x="172343" y="346472"/>
                    <a:pt x="172343" y="347365"/>
                  </a:cubicBezTo>
                  <a:cubicBezTo>
                    <a:pt x="173236" y="348258"/>
                    <a:pt x="174129" y="348258"/>
                    <a:pt x="174129" y="348258"/>
                  </a:cubicBezTo>
                  <a:cubicBezTo>
                    <a:pt x="174129" y="348258"/>
                    <a:pt x="174129" y="348258"/>
                    <a:pt x="175022" y="348258"/>
                  </a:cubicBezTo>
                  <a:cubicBezTo>
                    <a:pt x="175915" y="348258"/>
                    <a:pt x="175915" y="348258"/>
                    <a:pt x="176808" y="348258"/>
                  </a:cubicBezTo>
                  <a:cubicBezTo>
                    <a:pt x="177701" y="348258"/>
                    <a:pt x="178594" y="349151"/>
                    <a:pt x="179487" y="349151"/>
                  </a:cubicBezTo>
                  <a:cubicBezTo>
                    <a:pt x="180380" y="349151"/>
                    <a:pt x="181273" y="349151"/>
                    <a:pt x="182166" y="349151"/>
                  </a:cubicBezTo>
                  <a:cubicBezTo>
                    <a:pt x="183059" y="349151"/>
                    <a:pt x="183952" y="349151"/>
                    <a:pt x="184845" y="349151"/>
                  </a:cubicBezTo>
                  <a:cubicBezTo>
                    <a:pt x="185738" y="349151"/>
                    <a:pt x="186631" y="349151"/>
                    <a:pt x="187523" y="348258"/>
                  </a:cubicBezTo>
                  <a:cubicBezTo>
                    <a:pt x="188416" y="348258"/>
                    <a:pt x="188416" y="348258"/>
                    <a:pt x="189309" y="348258"/>
                  </a:cubicBezTo>
                  <a:cubicBezTo>
                    <a:pt x="189309" y="348258"/>
                    <a:pt x="189309" y="348258"/>
                    <a:pt x="190203" y="348258"/>
                  </a:cubicBezTo>
                  <a:cubicBezTo>
                    <a:pt x="191096" y="348258"/>
                    <a:pt x="191988" y="347365"/>
                    <a:pt x="191988" y="347365"/>
                  </a:cubicBezTo>
                  <a:cubicBezTo>
                    <a:pt x="192881" y="346472"/>
                    <a:pt x="193774" y="346472"/>
                    <a:pt x="193774" y="345579"/>
                  </a:cubicBezTo>
                  <a:cubicBezTo>
                    <a:pt x="193774" y="345579"/>
                    <a:pt x="193774" y="345579"/>
                    <a:pt x="194667" y="344686"/>
                  </a:cubicBezTo>
                  <a:lnTo>
                    <a:pt x="196453" y="342900"/>
                  </a:lnTo>
                  <a:lnTo>
                    <a:pt x="265212" y="274142"/>
                  </a:lnTo>
                  <a:cubicBezTo>
                    <a:pt x="271463" y="267891"/>
                    <a:pt x="271463" y="258961"/>
                    <a:pt x="266998" y="251817"/>
                  </a:cubicBezTo>
                  <a:cubicBezTo>
                    <a:pt x="266105" y="250925"/>
                    <a:pt x="266105" y="250031"/>
                    <a:pt x="265212" y="250031"/>
                  </a:cubicBezTo>
                  <a:cubicBezTo>
                    <a:pt x="258068" y="242888"/>
                    <a:pt x="247352" y="242888"/>
                    <a:pt x="241102" y="250031"/>
                  </a:cubicBezTo>
                  <a:lnTo>
                    <a:pt x="226814" y="264319"/>
                  </a:lnTo>
                  <a:lnTo>
                    <a:pt x="199132" y="292001"/>
                  </a:lnTo>
                  <a:lnTo>
                    <a:pt x="199132" y="16967"/>
                  </a:lnTo>
                  <a:close/>
                </a:path>
              </a:pathLst>
            </a:custGeom>
            <a:grpFill/>
            <a:ln w="8930" cap="flat">
              <a:solidFill>
                <a:srgbClr val="002060"/>
              </a:solidFill>
              <a:prstDash val="solid"/>
              <a:miter/>
            </a:ln>
          </p:spPr>
          <p:txBody>
            <a:bodyPr rtlCol="0" anchor="ctr"/>
            <a:lstStyle/>
            <a:p>
              <a:pPr defTabSz="457189"/>
              <a:endParaRPr lang="fr-FR" sz="1350">
                <a:solidFill>
                  <a:prstClr val="black"/>
                </a:solidFill>
                <a:latin typeface="Arial"/>
              </a:endParaRPr>
            </a:p>
          </p:txBody>
        </p:sp>
      </p:grpSp>
      <p:sp>
        <p:nvSpPr>
          <p:cNvPr id="72" name="Titre 1">
            <a:extLst>
              <a:ext uri="{FF2B5EF4-FFF2-40B4-BE49-F238E27FC236}">
                <a16:creationId xmlns:a16="http://schemas.microsoft.com/office/drawing/2014/main" id="{EAD6792F-F8A3-02D0-4AA3-FBD9E72983AC}"/>
              </a:ext>
            </a:extLst>
          </p:cNvPr>
          <p:cNvSpPr txBox="1">
            <a:spLocks/>
          </p:cNvSpPr>
          <p:nvPr/>
        </p:nvSpPr>
        <p:spPr>
          <a:xfrm>
            <a:off x="877137" y="278868"/>
            <a:ext cx="6118025" cy="581698"/>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7E93A5"/>
                </a:solidFill>
                <a:latin typeface="+mj-lt"/>
                <a:ea typeface="+mj-ea"/>
                <a:cs typeface="+mj-cs"/>
                <a:sym typeface="+mj-lt"/>
              </a:defRPr>
            </a:lvl1pPr>
          </a:lstStyle>
          <a:p>
            <a:pPr defTabSz="914378"/>
            <a:r>
              <a:rPr lang="fr-FR" sz="2100" dirty="0">
                <a:solidFill>
                  <a:prstClr val="black"/>
                </a:solidFill>
                <a:latin typeface="Avenir Next LT Pro"/>
              </a:rPr>
              <a:t>We want to reduce our</a:t>
            </a:r>
            <a:r>
              <a:rPr lang="fr-FR" sz="2100" dirty="0">
                <a:solidFill>
                  <a:srgbClr val="002060"/>
                </a:solidFill>
                <a:latin typeface="Avenir Next LT Pro"/>
              </a:rPr>
              <a:t> direct and indirect</a:t>
            </a:r>
            <a:r>
              <a:rPr lang="fr-FR" sz="2100" dirty="0">
                <a:solidFill>
                  <a:prstClr val="black"/>
                </a:solidFill>
                <a:latin typeface="Avenir Next LT Pro"/>
              </a:rPr>
              <a:t> carbon footprint</a:t>
            </a:r>
          </a:p>
        </p:txBody>
      </p:sp>
      <p:sp>
        <p:nvSpPr>
          <p:cNvPr id="74" name="ZoneTexte 73">
            <a:extLst>
              <a:ext uri="{FF2B5EF4-FFF2-40B4-BE49-F238E27FC236}">
                <a16:creationId xmlns:a16="http://schemas.microsoft.com/office/drawing/2014/main" id="{54519E4E-4F9D-44F1-62FC-6825BEDB1535}"/>
              </a:ext>
            </a:extLst>
          </p:cNvPr>
          <p:cNvSpPr txBox="1"/>
          <p:nvPr/>
        </p:nvSpPr>
        <p:spPr>
          <a:xfrm>
            <a:off x="233021" y="485579"/>
            <a:ext cx="1518665" cy="3032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marL="0" lvl="1" defTabSz="457189">
              <a:lnSpc>
                <a:spcPts val="1050"/>
              </a:lnSpc>
              <a:buClr>
                <a:srgbClr val="007C54"/>
              </a:buClr>
              <a:defRPr/>
            </a:pPr>
            <a:r>
              <a:rPr lang="fr-FR" sz="3600" b="1" dirty="0">
                <a:solidFill>
                  <a:srgbClr val="002060"/>
                </a:solidFill>
                <a:latin typeface="Arial"/>
              </a:rPr>
              <a:t>5</a:t>
            </a:r>
          </a:p>
        </p:txBody>
      </p:sp>
      <p:sp>
        <p:nvSpPr>
          <p:cNvPr id="83" name="TextBox 98">
            <a:extLst>
              <a:ext uri="{FF2B5EF4-FFF2-40B4-BE49-F238E27FC236}">
                <a16:creationId xmlns:a16="http://schemas.microsoft.com/office/drawing/2014/main" id="{67BAAE34-CDB7-4063-1594-AAAC7D7752D6}"/>
              </a:ext>
            </a:extLst>
          </p:cNvPr>
          <p:cNvSpPr txBox="1"/>
          <p:nvPr/>
        </p:nvSpPr>
        <p:spPr>
          <a:xfrm>
            <a:off x="5282617" y="3772430"/>
            <a:ext cx="724723" cy="45050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685783">
              <a:lnSpc>
                <a:spcPts val="1860"/>
              </a:lnSpc>
              <a:defRPr/>
            </a:pPr>
            <a:r>
              <a:rPr lang="fr-FR" b="1" kern="0" dirty="0">
                <a:solidFill>
                  <a:prstClr val="white"/>
                </a:solidFill>
                <a:latin typeface="Arial"/>
              </a:rPr>
              <a:t>PMT </a:t>
            </a:r>
            <a:r>
              <a:rPr lang="fr-FR" sz="825" b="1" kern="0" dirty="0">
                <a:solidFill>
                  <a:prstClr val="white"/>
                </a:solidFill>
                <a:latin typeface="Arial"/>
              </a:rPr>
              <a:t>OBJECTIVES</a:t>
            </a:r>
          </a:p>
        </p:txBody>
      </p:sp>
      <p:cxnSp>
        <p:nvCxnSpPr>
          <p:cNvPr id="84" name="Connecteur droit 83">
            <a:extLst>
              <a:ext uri="{FF2B5EF4-FFF2-40B4-BE49-F238E27FC236}">
                <a16:creationId xmlns:a16="http://schemas.microsoft.com/office/drawing/2014/main" id="{06D0DFB2-267E-B24D-26E0-0BE894B227FA}"/>
              </a:ext>
            </a:extLst>
          </p:cNvPr>
          <p:cNvCxnSpPr>
            <a:cxnSpLocks/>
          </p:cNvCxnSpPr>
          <p:nvPr/>
        </p:nvCxnSpPr>
        <p:spPr>
          <a:xfrm>
            <a:off x="5950576" y="3784747"/>
            <a:ext cx="0" cy="503840"/>
          </a:xfrm>
          <a:prstGeom prst="line">
            <a:avLst/>
          </a:prstGeom>
          <a:ln w="222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85" name="ZoneTexte 84">
            <a:extLst>
              <a:ext uri="{FF2B5EF4-FFF2-40B4-BE49-F238E27FC236}">
                <a16:creationId xmlns:a16="http://schemas.microsoft.com/office/drawing/2014/main" id="{3998EC65-532A-42E9-D97D-2DE3D3E04050}"/>
              </a:ext>
            </a:extLst>
          </p:cNvPr>
          <p:cNvSpPr txBox="1"/>
          <p:nvPr/>
        </p:nvSpPr>
        <p:spPr>
          <a:xfrm>
            <a:off x="6534049" y="3659477"/>
            <a:ext cx="1885412" cy="7543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457189"/>
            <a:r>
              <a:rPr lang="fr-FR" sz="2100" b="1" dirty="0">
                <a:solidFill>
                  <a:prstClr val="white"/>
                </a:solidFill>
                <a:latin typeface="Arial"/>
                <a:cs typeface="Arial"/>
              </a:rPr>
              <a:t>-50% </a:t>
            </a:r>
            <a:r>
              <a:rPr lang="fr-FR" sz="900" b="1" dirty="0">
                <a:solidFill>
                  <a:prstClr val="white"/>
                </a:solidFill>
                <a:latin typeface="Arial"/>
                <a:cs typeface="Arial"/>
              </a:rPr>
              <a:t>of </a:t>
            </a:r>
            <a:r>
              <a:rPr lang="fr-FR" sz="900" b="1" dirty="0" err="1">
                <a:solidFill>
                  <a:prstClr val="white"/>
                </a:solidFill>
                <a:latin typeface="Arial"/>
                <a:cs typeface="Arial"/>
              </a:rPr>
              <a:t>financing</a:t>
            </a:r>
            <a:r>
              <a:rPr lang="fr-FR" sz="900" b="1" dirty="0">
                <a:solidFill>
                  <a:prstClr val="white"/>
                </a:solidFill>
                <a:latin typeface="Arial"/>
                <a:cs typeface="Arial"/>
              </a:rPr>
              <a:t> car emissions </a:t>
            </a:r>
            <a:r>
              <a:rPr lang="fr-FR" sz="900" b="1" dirty="0" err="1">
                <a:solidFill>
                  <a:prstClr val="white"/>
                </a:solidFill>
                <a:latin typeface="Arial"/>
                <a:cs typeface="Arial"/>
              </a:rPr>
              <a:t>thanks</a:t>
            </a:r>
            <a:r>
              <a:rPr lang="fr-FR" sz="900" b="1" dirty="0">
                <a:solidFill>
                  <a:prstClr val="white"/>
                </a:solidFill>
                <a:latin typeface="Arial"/>
                <a:cs typeface="Arial"/>
              </a:rPr>
              <a:t> in 2030</a:t>
            </a:r>
          </a:p>
        </p:txBody>
      </p:sp>
      <p:grpSp>
        <p:nvGrpSpPr>
          <p:cNvPr id="86" name="Graphique 37">
            <a:extLst>
              <a:ext uri="{FF2B5EF4-FFF2-40B4-BE49-F238E27FC236}">
                <a16:creationId xmlns:a16="http://schemas.microsoft.com/office/drawing/2014/main" id="{CD69E1A7-19E5-F5AA-E56A-F11ACBFF7B1B}"/>
              </a:ext>
            </a:extLst>
          </p:cNvPr>
          <p:cNvGrpSpPr/>
          <p:nvPr/>
        </p:nvGrpSpPr>
        <p:grpSpPr>
          <a:xfrm>
            <a:off x="6048747" y="3843025"/>
            <a:ext cx="449362" cy="377186"/>
            <a:chOff x="3596575" y="4270176"/>
            <a:chExt cx="1278736" cy="1073348"/>
          </a:xfrm>
          <a:solidFill>
            <a:schemeClr val="bg1"/>
          </a:solidFill>
        </p:grpSpPr>
        <p:sp>
          <p:nvSpPr>
            <p:cNvPr id="87" name="Forme libre 86">
              <a:extLst>
                <a:ext uri="{FF2B5EF4-FFF2-40B4-BE49-F238E27FC236}">
                  <a16:creationId xmlns:a16="http://schemas.microsoft.com/office/drawing/2014/main" id="{760DB73A-AD91-6FF9-1666-FD19B9703A44}"/>
                </a:ext>
              </a:extLst>
            </p:cNvPr>
            <p:cNvSpPr/>
            <p:nvPr/>
          </p:nvSpPr>
          <p:spPr>
            <a:xfrm>
              <a:off x="3596575" y="4270176"/>
              <a:ext cx="1278736" cy="993874"/>
            </a:xfrm>
            <a:custGeom>
              <a:avLst/>
              <a:gdLst>
                <a:gd name="connsiteX0" fmla="*/ 257180 w 1278736"/>
                <a:gd name="connsiteY0" fmla="*/ 778669 h 993874"/>
                <a:gd name="connsiteX1" fmla="*/ 267003 w 1278736"/>
                <a:gd name="connsiteY1" fmla="*/ 777776 h 993874"/>
                <a:gd name="connsiteX2" fmla="*/ 493817 w 1278736"/>
                <a:gd name="connsiteY2" fmla="*/ 777776 h 993874"/>
                <a:gd name="connsiteX3" fmla="*/ 493817 w 1278736"/>
                <a:gd name="connsiteY3" fmla="*/ 934938 h 993874"/>
                <a:gd name="connsiteX4" fmla="*/ 451847 w 1278736"/>
                <a:gd name="connsiteY4" fmla="*/ 892969 h 993874"/>
                <a:gd name="connsiteX5" fmla="*/ 427737 w 1278736"/>
                <a:gd name="connsiteY5" fmla="*/ 892969 h 993874"/>
                <a:gd name="connsiteX6" fmla="*/ 427737 w 1278736"/>
                <a:gd name="connsiteY6" fmla="*/ 917079 h 993874"/>
                <a:gd name="connsiteX7" fmla="*/ 499175 w 1278736"/>
                <a:gd name="connsiteY7" fmla="*/ 988517 h 993874"/>
                <a:gd name="connsiteX8" fmla="*/ 500068 w 1278736"/>
                <a:gd name="connsiteY8" fmla="*/ 989409 h 993874"/>
                <a:gd name="connsiteX9" fmla="*/ 501853 w 1278736"/>
                <a:gd name="connsiteY9" fmla="*/ 991195 h 993874"/>
                <a:gd name="connsiteX10" fmla="*/ 503639 w 1278736"/>
                <a:gd name="connsiteY10" fmla="*/ 992981 h 993874"/>
                <a:gd name="connsiteX11" fmla="*/ 504532 w 1278736"/>
                <a:gd name="connsiteY11" fmla="*/ 992981 h 993874"/>
                <a:gd name="connsiteX12" fmla="*/ 506318 w 1278736"/>
                <a:gd name="connsiteY12" fmla="*/ 992981 h 993874"/>
                <a:gd name="connsiteX13" fmla="*/ 508997 w 1278736"/>
                <a:gd name="connsiteY13" fmla="*/ 993874 h 993874"/>
                <a:gd name="connsiteX14" fmla="*/ 511676 w 1278736"/>
                <a:gd name="connsiteY14" fmla="*/ 993874 h 993874"/>
                <a:gd name="connsiteX15" fmla="*/ 514355 w 1278736"/>
                <a:gd name="connsiteY15" fmla="*/ 993874 h 993874"/>
                <a:gd name="connsiteX16" fmla="*/ 517034 w 1278736"/>
                <a:gd name="connsiteY16" fmla="*/ 992981 h 993874"/>
                <a:gd name="connsiteX17" fmla="*/ 518820 w 1278736"/>
                <a:gd name="connsiteY17" fmla="*/ 992981 h 993874"/>
                <a:gd name="connsiteX18" fmla="*/ 519713 w 1278736"/>
                <a:gd name="connsiteY18" fmla="*/ 992981 h 993874"/>
                <a:gd name="connsiteX19" fmla="*/ 522392 w 1278736"/>
                <a:gd name="connsiteY19" fmla="*/ 991195 h 993874"/>
                <a:gd name="connsiteX20" fmla="*/ 524178 w 1278736"/>
                <a:gd name="connsiteY20" fmla="*/ 989409 h 993874"/>
                <a:gd name="connsiteX21" fmla="*/ 525071 w 1278736"/>
                <a:gd name="connsiteY21" fmla="*/ 988517 h 993874"/>
                <a:gd name="connsiteX22" fmla="*/ 526857 w 1278736"/>
                <a:gd name="connsiteY22" fmla="*/ 986731 h 993874"/>
                <a:gd name="connsiteX23" fmla="*/ 595615 w 1278736"/>
                <a:gd name="connsiteY23" fmla="*/ 917972 h 993874"/>
                <a:gd name="connsiteX24" fmla="*/ 597401 w 1278736"/>
                <a:gd name="connsiteY24" fmla="*/ 895648 h 993874"/>
                <a:gd name="connsiteX25" fmla="*/ 595615 w 1278736"/>
                <a:gd name="connsiteY25" fmla="*/ 893862 h 993874"/>
                <a:gd name="connsiteX26" fmla="*/ 571505 w 1278736"/>
                <a:gd name="connsiteY26" fmla="*/ 893862 h 993874"/>
                <a:gd name="connsiteX27" fmla="*/ 557218 w 1278736"/>
                <a:gd name="connsiteY27" fmla="*/ 908149 h 993874"/>
                <a:gd name="connsiteX28" fmla="*/ 529536 w 1278736"/>
                <a:gd name="connsiteY28" fmla="*/ 935831 h 993874"/>
                <a:gd name="connsiteX29" fmla="*/ 529536 w 1278736"/>
                <a:gd name="connsiteY29" fmla="*/ 662583 h 993874"/>
                <a:gd name="connsiteX30" fmla="*/ 525964 w 1278736"/>
                <a:gd name="connsiteY30" fmla="*/ 652760 h 993874"/>
                <a:gd name="connsiteX31" fmla="*/ 511676 w 1278736"/>
                <a:gd name="connsiteY31" fmla="*/ 645616 h 993874"/>
                <a:gd name="connsiteX32" fmla="*/ 494710 w 1278736"/>
                <a:gd name="connsiteY32" fmla="*/ 662583 h 993874"/>
                <a:gd name="connsiteX33" fmla="*/ 494710 w 1278736"/>
                <a:gd name="connsiteY33" fmla="*/ 743843 h 993874"/>
                <a:gd name="connsiteX34" fmla="*/ 267003 w 1278736"/>
                <a:gd name="connsiteY34" fmla="*/ 743843 h 993874"/>
                <a:gd name="connsiteX35" fmla="*/ 266110 w 1278736"/>
                <a:gd name="connsiteY35" fmla="*/ 743843 h 993874"/>
                <a:gd name="connsiteX36" fmla="*/ 257180 w 1278736"/>
                <a:gd name="connsiteY36" fmla="*/ 744736 h 993874"/>
                <a:gd name="connsiteX37" fmla="*/ 99125 w 1278736"/>
                <a:gd name="connsiteY37" fmla="*/ 679549 h 993874"/>
                <a:gd name="connsiteX38" fmla="*/ 33938 w 1278736"/>
                <a:gd name="connsiteY38" fmla="*/ 521493 h 993874"/>
                <a:gd name="connsiteX39" fmla="*/ 216103 w 1278736"/>
                <a:gd name="connsiteY39" fmla="*/ 301823 h 993874"/>
                <a:gd name="connsiteX40" fmla="*/ 230391 w 1278736"/>
                <a:gd name="connsiteY40" fmla="*/ 283071 h 993874"/>
                <a:gd name="connsiteX41" fmla="*/ 228605 w 1278736"/>
                <a:gd name="connsiteY41" fmla="*/ 257175 h 993874"/>
                <a:gd name="connsiteX42" fmla="*/ 293792 w 1278736"/>
                <a:gd name="connsiteY42" fmla="*/ 99119 h 993874"/>
                <a:gd name="connsiteX43" fmla="*/ 451847 w 1278736"/>
                <a:gd name="connsiteY43" fmla="*/ 33933 h 993874"/>
                <a:gd name="connsiteX44" fmla="*/ 653658 w 1278736"/>
                <a:gd name="connsiteY44" fmla="*/ 160734 h 993874"/>
                <a:gd name="connsiteX45" fmla="*/ 666160 w 1278736"/>
                <a:gd name="connsiteY45" fmla="*/ 170557 h 993874"/>
                <a:gd name="connsiteX46" fmla="*/ 681340 w 1278736"/>
                <a:gd name="connsiteY46" fmla="*/ 166092 h 993874"/>
                <a:gd name="connsiteX47" fmla="*/ 830466 w 1278736"/>
                <a:gd name="connsiteY47" fmla="*/ 108942 h 993874"/>
                <a:gd name="connsiteX48" fmla="*/ 1049243 w 1278736"/>
                <a:gd name="connsiteY48" fmla="*/ 288429 h 993874"/>
                <a:gd name="connsiteX49" fmla="*/ 1062638 w 1278736"/>
                <a:gd name="connsiteY49" fmla="*/ 301823 h 993874"/>
                <a:gd name="connsiteX50" fmla="*/ 1244804 w 1278736"/>
                <a:gd name="connsiteY50" fmla="*/ 521493 h 993874"/>
                <a:gd name="connsiteX51" fmla="*/ 1034956 w 1278736"/>
                <a:gd name="connsiteY51" fmla="*/ 744736 h 993874"/>
                <a:gd name="connsiteX52" fmla="*/ 1034063 w 1278736"/>
                <a:gd name="connsiteY52" fmla="*/ 744736 h 993874"/>
                <a:gd name="connsiteX53" fmla="*/ 1031384 w 1278736"/>
                <a:gd name="connsiteY53" fmla="*/ 744736 h 993874"/>
                <a:gd name="connsiteX54" fmla="*/ 1030491 w 1278736"/>
                <a:gd name="connsiteY54" fmla="*/ 744736 h 993874"/>
                <a:gd name="connsiteX55" fmla="*/ 1021561 w 1278736"/>
                <a:gd name="connsiteY55" fmla="*/ 745629 h 993874"/>
                <a:gd name="connsiteX56" fmla="*/ 1012632 w 1278736"/>
                <a:gd name="connsiteY56" fmla="*/ 744736 h 993874"/>
                <a:gd name="connsiteX57" fmla="*/ 1011739 w 1278736"/>
                <a:gd name="connsiteY57" fmla="*/ 744736 h 993874"/>
                <a:gd name="connsiteX58" fmla="*/ 784925 w 1278736"/>
                <a:gd name="connsiteY58" fmla="*/ 744736 h 993874"/>
                <a:gd name="connsiteX59" fmla="*/ 784925 w 1278736"/>
                <a:gd name="connsiteY59" fmla="*/ 779562 h 993874"/>
                <a:gd name="connsiteX60" fmla="*/ 1011739 w 1278736"/>
                <a:gd name="connsiteY60" fmla="*/ 779562 h 993874"/>
                <a:gd name="connsiteX61" fmla="*/ 1021561 w 1278736"/>
                <a:gd name="connsiteY61" fmla="*/ 780454 h 993874"/>
                <a:gd name="connsiteX62" fmla="*/ 1031384 w 1278736"/>
                <a:gd name="connsiteY62" fmla="*/ 779562 h 993874"/>
                <a:gd name="connsiteX63" fmla="*/ 1035849 w 1278736"/>
                <a:gd name="connsiteY63" fmla="*/ 779562 h 993874"/>
                <a:gd name="connsiteX64" fmla="*/ 1037635 w 1278736"/>
                <a:gd name="connsiteY64" fmla="*/ 779562 h 993874"/>
                <a:gd name="connsiteX65" fmla="*/ 1278736 w 1278736"/>
                <a:gd name="connsiteY65" fmla="*/ 522387 h 993874"/>
                <a:gd name="connsiteX66" fmla="*/ 1079604 w 1278736"/>
                <a:gd name="connsiteY66" fmla="*/ 271462 h 993874"/>
                <a:gd name="connsiteX67" fmla="*/ 829573 w 1278736"/>
                <a:gd name="connsiteY67" fmla="*/ 75902 h 993874"/>
                <a:gd name="connsiteX68" fmla="*/ 674197 w 1278736"/>
                <a:gd name="connsiteY68" fmla="*/ 127694 h 993874"/>
                <a:gd name="connsiteX69" fmla="*/ 451847 w 1278736"/>
                <a:gd name="connsiteY69" fmla="*/ 0 h 993874"/>
                <a:gd name="connsiteX70" fmla="*/ 193779 w 1278736"/>
                <a:gd name="connsiteY70" fmla="*/ 258068 h 993874"/>
                <a:gd name="connsiteX71" fmla="*/ 194672 w 1278736"/>
                <a:gd name="connsiteY71" fmla="*/ 272355 h 993874"/>
                <a:gd name="connsiteX72" fmla="*/ 5 w 1278736"/>
                <a:gd name="connsiteY72" fmla="*/ 522387 h 993874"/>
                <a:gd name="connsiteX73" fmla="*/ 257180 w 1278736"/>
                <a:gd name="connsiteY73" fmla="*/ 778669 h 99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78736" h="993874">
                  <a:moveTo>
                    <a:pt x="257180" y="778669"/>
                  </a:moveTo>
                  <a:cubicBezTo>
                    <a:pt x="261645" y="778669"/>
                    <a:pt x="265217" y="778669"/>
                    <a:pt x="267003" y="777776"/>
                  </a:cubicBezTo>
                  <a:lnTo>
                    <a:pt x="493817" y="777776"/>
                  </a:lnTo>
                  <a:lnTo>
                    <a:pt x="493817" y="934938"/>
                  </a:lnTo>
                  <a:lnTo>
                    <a:pt x="451847" y="892969"/>
                  </a:lnTo>
                  <a:cubicBezTo>
                    <a:pt x="444703" y="885825"/>
                    <a:pt x="433988" y="885825"/>
                    <a:pt x="427737" y="892969"/>
                  </a:cubicBezTo>
                  <a:cubicBezTo>
                    <a:pt x="420593" y="900112"/>
                    <a:pt x="420593" y="910828"/>
                    <a:pt x="427737" y="917079"/>
                  </a:cubicBezTo>
                  <a:lnTo>
                    <a:pt x="499175" y="988517"/>
                  </a:lnTo>
                  <a:cubicBezTo>
                    <a:pt x="499175" y="988517"/>
                    <a:pt x="500068" y="988517"/>
                    <a:pt x="500068" y="989409"/>
                  </a:cubicBezTo>
                  <a:cubicBezTo>
                    <a:pt x="500961" y="990302"/>
                    <a:pt x="500961" y="990302"/>
                    <a:pt x="501853" y="991195"/>
                  </a:cubicBezTo>
                  <a:cubicBezTo>
                    <a:pt x="502746" y="992088"/>
                    <a:pt x="503639" y="992088"/>
                    <a:pt x="503639" y="992981"/>
                  </a:cubicBezTo>
                  <a:cubicBezTo>
                    <a:pt x="503639" y="992981"/>
                    <a:pt x="503639" y="992981"/>
                    <a:pt x="504532" y="992981"/>
                  </a:cubicBezTo>
                  <a:cubicBezTo>
                    <a:pt x="505426" y="992981"/>
                    <a:pt x="505426" y="992981"/>
                    <a:pt x="506318" y="992981"/>
                  </a:cubicBezTo>
                  <a:cubicBezTo>
                    <a:pt x="507211" y="992981"/>
                    <a:pt x="508104" y="993874"/>
                    <a:pt x="508997" y="993874"/>
                  </a:cubicBezTo>
                  <a:cubicBezTo>
                    <a:pt x="509890" y="993874"/>
                    <a:pt x="510783" y="993874"/>
                    <a:pt x="511676" y="993874"/>
                  </a:cubicBezTo>
                  <a:cubicBezTo>
                    <a:pt x="512569" y="993874"/>
                    <a:pt x="513462" y="993874"/>
                    <a:pt x="514355" y="993874"/>
                  </a:cubicBezTo>
                  <a:cubicBezTo>
                    <a:pt x="515248" y="993874"/>
                    <a:pt x="516141" y="993874"/>
                    <a:pt x="517034" y="992981"/>
                  </a:cubicBezTo>
                  <a:cubicBezTo>
                    <a:pt x="517927" y="992981"/>
                    <a:pt x="517927" y="992981"/>
                    <a:pt x="518820" y="992981"/>
                  </a:cubicBezTo>
                  <a:cubicBezTo>
                    <a:pt x="518820" y="992981"/>
                    <a:pt x="518820" y="992981"/>
                    <a:pt x="519713" y="992981"/>
                  </a:cubicBezTo>
                  <a:cubicBezTo>
                    <a:pt x="520606" y="992981"/>
                    <a:pt x="521499" y="992088"/>
                    <a:pt x="522392" y="991195"/>
                  </a:cubicBezTo>
                  <a:cubicBezTo>
                    <a:pt x="523285" y="990302"/>
                    <a:pt x="524178" y="990302"/>
                    <a:pt x="524178" y="989409"/>
                  </a:cubicBezTo>
                  <a:cubicBezTo>
                    <a:pt x="524178" y="989409"/>
                    <a:pt x="525071" y="989409"/>
                    <a:pt x="525071" y="988517"/>
                  </a:cubicBezTo>
                  <a:lnTo>
                    <a:pt x="526857" y="986731"/>
                  </a:lnTo>
                  <a:lnTo>
                    <a:pt x="595615" y="917972"/>
                  </a:lnTo>
                  <a:cubicBezTo>
                    <a:pt x="601866" y="911721"/>
                    <a:pt x="601866" y="902791"/>
                    <a:pt x="597401" y="895648"/>
                  </a:cubicBezTo>
                  <a:cubicBezTo>
                    <a:pt x="596508" y="894755"/>
                    <a:pt x="596508" y="893862"/>
                    <a:pt x="595615" y="893862"/>
                  </a:cubicBezTo>
                  <a:cubicBezTo>
                    <a:pt x="588472" y="886718"/>
                    <a:pt x="577756" y="886718"/>
                    <a:pt x="571505" y="893862"/>
                  </a:cubicBezTo>
                  <a:lnTo>
                    <a:pt x="557218" y="908149"/>
                  </a:lnTo>
                  <a:lnTo>
                    <a:pt x="529536" y="935831"/>
                  </a:lnTo>
                  <a:lnTo>
                    <a:pt x="529536" y="662583"/>
                  </a:lnTo>
                  <a:cubicBezTo>
                    <a:pt x="529536" y="659011"/>
                    <a:pt x="527750" y="655439"/>
                    <a:pt x="525964" y="652760"/>
                  </a:cubicBezTo>
                  <a:cubicBezTo>
                    <a:pt x="523285" y="648295"/>
                    <a:pt x="517927" y="645616"/>
                    <a:pt x="511676" y="645616"/>
                  </a:cubicBezTo>
                  <a:cubicBezTo>
                    <a:pt x="501853" y="645616"/>
                    <a:pt x="494710" y="653653"/>
                    <a:pt x="494710" y="662583"/>
                  </a:cubicBezTo>
                  <a:lnTo>
                    <a:pt x="494710" y="743843"/>
                  </a:lnTo>
                  <a:lnTo>
                    <a:pt x="267003" y="743843"/>
                  </a:lnTo>
                  <a:lnTo>
                    <a:pt x="266110" y="743843"/>
                  </a:lnTo>
                  <a:cubicBezTo>
                    <a:pt x="261645" y="743843"/>
                    <a:pt x="258966" y="744736"/>
                    <a:pt x="257180" y="744736"/>
                  </a:cubicBezTo>
                  <a:cubicBezTo>
                    <a:pt x="195565" y="744736"/>
                    <a:pt x="139308" y="719733"/>
                    <a:pt x="99125" y="679549"/>
                  </a:cubicBezTo>
                  <a:cubicBezTo>
                    <a:pt x="58941" y="639365"/>
                    <a:pt x="33938" y="583109"/>
                    <a:pt x="33938" y="521493"/>
                  </a:cubicBezTo>
                  <a:cubicBezTo>
                    <a:pt x="33938" y="412552"/>
                    <a:pt x="112519" y="321469"/>
                    <a:pt x="216103" y="301823"/>
                  </a:cubicBezTo>
                  <a:cubicBezTo>
                    <a:pt x="225033" y="300037"/>
                    <a:pt x="231284" y="292001"/>
                    <a:pt x="230391" y="283071"/>
                  </a:cubicBezTo>
                  <a:cubicBezTo>
                    <a:pt x="229498" y="274141"/>
                    <a:pt x="228605" y="266105"/>
                    <a:pt x="228605" y="257175"/>
                  </a:cubicBezTo>
                  <a:cubicBezTo>
                    <a:pt x="228605" y="195560"/>
                    <a:pt x="253608" y="139303"/>
                    <a:pt x="293792" y="99119"/>
                  </a:cubicBezTo>
                  <a:cubicBezTo>
                    <a:pt x="333975" y="58936"/>
                    <a:pt x="390232" y="33933"/>
                    <a:pt x="451847" y="33933"/>
                  </a:cubicBezTo>
                  <a:cubicBezTo>
                    <a:pt x="541144" y="33933"/>
                    <a:pt x="617047" y="85725"/>
                    <a:pt x="653658" y="160734"/>
                  </a:cubicBezTo>
                  <a:cubicBezTo>
                    <a:pt x="656337" y="165199"/>
                    <a:pt x="660802" y="168771"/>
                    <a:pt x="666160" y="170557"/>
                  </a:cubicBezTo>
                  <a:cubicBezTo>
                    <a:pt x="671517" y="171450"/>
                    <a:pt x="676875" y="169664"/>
                    <a:pt x="681340" y="166092"/>
                  </a:cubicBezTo>
                  <a:cubicBezTo>
                    <a:pt x="720631" y="130373"/>
                    <a:pt x="773316" y="108942"/>
                    <a:pt x="830466" y="108942"/>
                  </a:cubicBezTo>
                  <a:cubicBezTo>
                    <a:pt x="938515" y="108942"/>
                    <a:pt x="1028705" y="185737"/>
                    <a:pt x="1049243" y="288429"/>
                  </a:cubicBezTo>
                  <a:cubicBezTo>
                    <a:pt x="1051029" y="295572"/>
                    <a:pt x="1056387" y="300930"/>
                    <a:pt x="1062638" y="301823"/>
                  </a:cubicBezTo>
                  <a:cubicBezTo>
                    <a:pt x="1166222" y="321469"/>
                    <a:pt x="1244804" y="412552"/>
                    <a:pt x="1244804" y="521493"/>
                  </a:cubicBezTo>
                  <a:cubicBezTo>
                    <a:pt x="1244804" y="640259"/>
                    <a:pt x="1151935" y="737592"/>
                    <a:pt x="1034956" y="744736"/>
                  </a:cubicBezTo>
                  <a:cubicBezTo>
                    <a:pt x="1034956" y="744736"/>
                    <a:pt x="1034063" y="744736"/>
                    <a:pt x="1034063" y="744736"/>
                  </a:cubicBezTo>
                  <a:lnTo>
                    <a:pt x="1031384" y="744736"/>
                  </a:lnTo>
                  <a:lnTo>
                    <a:pt x="1030491" y="744736"/>
                  </a:lnTo>
                  <a:cubicBezTo>
                    <a:pt x="1026026" y="744736"/>
                    <a:pt x="1023347" y="745629"/>
                    <a:pt x="1021561" y="745629"/>
                  </a:cubicBezTo>
                  <a:cubicBezTo>
                    <a:pt x="1019775" y="745629"/>
                    <a:pt x="1017097" y="745629"/>
                    <a:pt x="1012632" y="744736"/>
                  </a:cubicBezTo>
                  <a:lnTo>
                    <a:pt x="1011739" y="744736"/>
                  </a:lnTo>
                  <a:lnTo>
                    <a:pt x="784925" y="744736"/>
                  </a:lnTo>
                  <a:lnTo>
                    <a:pt x="784925" y="779562"/>
                  </a:lnTo>
                  <a:lnTo>
                    <a:pt x="1011739" y="779562"/>
                  </a:lnTo>
                  <a:cubicBezTo>
                    <a:pt x="1014418" y="779562"/>
                    <a:pt x="1017097" y="780454"/>
                    <a:pt x="1021561" y="780454"/>
                  </a:cubicBezTo>
                  <a:cubicBezTo>
                    <a:pt x="1026026" y="780454"/>
                    <a:pt x="1029598" y="780454"/>
                    <a:pt x="1031384" y="779562"/>
                  </a:cubicBezTo>
                  <a:lnTo>
                    <a:pt x="1035849" y="779562"/>
                  </a:lnTo>
                  <a:cubicBezTo>
                    <a:pt x="1036742" y="779562"/>
                    <a:pt x="1037635" y="779562"/>
                    <a:pt x="1037635" y="779562"/>
                  </a:cubicBezTo>
                  <a:cubicBezTo>
                    <a:pt x="1172473" y="770632"/>
                    <a:pt x="1278736" y="659011"/>
                    <a:pt x="1278736" y="522387"/>
                  </a:cubicBezTo>
                  <a:cubicBezTo>
                    <a:pt x="1278736" y="400050"/>
                    <a:pt x="1193904" y="298252"/>
                    <a:pt x="1079604" y="271462"/>
                  </a:cubicBezTo>
                  <a:cubicBezTo>
                    <a:pt x="1051922" y="158948"/>
                    <a:pt x="950124" y="75902"/>
                    <a:pt x="829573" y="75902"/>
                  </a:cubicBezTo>
                  <a:cubicBezTo>
                    <a:pt x="771530" y="75902"/>
                    <a:pt x="717952" y="95547"/>
                    <a:pt x="674197" y="127694"/>
                  </a:cubicBezTo>
                  <a:cubicBezTo>
                    <a:pt x="629548" y="51792"/>
                    <a:pt x="546502" y="0"/>
                    <a:pt x="451847" y="0"/>
                  </a:cubicBezTo>
                  <a:cubicBezTo>
                    <a:pt x="308972" y="0"/>
                    <a:pt x="193779" y="115193"/>
                    <a:pt x="193779" y="258068"/>
                  </a:cubicBezTo>
                  <a:cubicBezTo>
                    <a:pt x="193779" y="262533"/>
                    <a:pt x="193779" y="267891"/>
                    <a:pt x="194672" y="272355"/>
                  </a:cubicBezTo>
                  <a:cubicBezTo>
                    <a:pt x="83051" y="300930"/>
                    <a:pt x="5" y="401836"/>
                    <a:pt x="5" y="522387"/>
                  </a:cubicBezTo>
                  <a:cubicBezTo>
                    <a:pt x="-888" y="662583"/>
                    <a:pt x="115198" y="778669"/>
                    <a:pt x="257180" y="77866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88" name="Forme libre 87">
              <a:extLst>
                <a:ext uri="{FF2B5EF4-FFF2-40B4-BE49-F238E27FC236}">
                  <a16:creationId xmlns:a16="http://schemas.microsoft.com/office/drawing/2014/main" id="{94DA628E-B6EE-ABDD-0F1D-62BB672A3484}"/>
                </a:ext>
              </a:extLst>
            </p:cNvPr>
            <p:cNvSpPr/>
            <p:nvPr/>
          </p:nvSpPr>
          <p:spPr>
            <a:xfrm>
              <a:off x="4449013" y="4755951"/>
              <a:ext cx="120009" cy="159841"/>
            </a:xfrm>
            <a:custGeom>
              <a:avLst/>
              <a:gdLst>
                <a:gd name="connsiteX0" fmla="*/ 11067 w 120009"/>
                <a:gd name="connsiteY0" fmla="*/ 58936 h 159841"/>
                <a:gd name="connsiteX1" fmla="*/ 32499 w 120009"/>
                <a:gd name="connsiteY1" fmla="*/ 48221 h 159841"/>
                <a:gd name="connsiteX2" fmla="*/ 53930 w 120009"/>
                <a:gd name="connsiteY2" fmla="*/ 33040 h 159841"/>
                <a:gd name="connsiteX3" fmla="*/ 53930 w 120009"/>
                <a:gd name="connsiteY3" fmla="*/ 33040 h 159841"/>
                <a:gd name="connsiteX4" fmla="*/ 76254 w 120009"/>
                <a:gd name="connsiteY4" fmla="*/ 41077 h 159841"/>
                <a:gd name="connsiteX5" fmla="*/ 81612 w 120009"/>
                <a:gd name="connsiteY5" fmla="*/ 53578 h 159841"/>
                <a:gd name="connsiteX6" fmla="*/ 81612 w 120009"/>
                <a:gd name="connsiteY6" fmla="*/ 54471 h 159841"/>
                <a:gd name="connsiteX7" fmla="*/ 78933 w 120009"/>
                <a:gd name="connsiteY7" fmla="*/ 65187 h 159841"/>
                <a:gd name="connsiteX8" fmla="*/ 64645 w 120009"/>
                <a:gd name="connsiteY8" fmla="*/ 78582 h 159841"/>
                <a:gd name="connsiteX9" fmla="*/ 43214 w 120009"/>
                <a:gd name="connsiteY9" fmla="*/ 89297 h 159841"/>
                <a:gd name="connsiteX10" fmla="*/ 11067 w 120009"/>
                <a:gd name="connsiteY10" fmla="*/ 118765 h 159841"/>
                <a:gd name="connsiteX11" fmla="*/ 2138 w 120009"/>
                <a:gd name="connsiteY11" fmla="*/ 137517 h 159841"/>
                <a:gd name="connsiteX12" fmla="*/ 4817 w 120009"/>
                <a:gd name="connsiteY12" fmla="*/ 152698 h 159841"/>
                <a:gd name="connsiteX13" fmla="*/ 19104 w 120009"/>
                <a:gd name="connsiteY13" fmla="*/ 159842 h 159841"/>
                <a:gd name="connsiteX14" fmla="*/ 103043 w 120009"/>
                <a:gd name="connsiteY14" fmla="*/ 159842 h 159841"/>
                <a:gd name="connsiteX15" fmla="*/ 120010 w 120009"/>
                <a:gd name="connsiteY15" fmla="*/ 142875 h 159841"/>
                <a:gd name="connsiteX16" fmla="*/ 103043 w 120009"/>
                <a:gd name="connsiteY16" fmla="*/ 125909 h 159841"/>
                <a:gd name="connsiteX17" fmla="*/ 50358 w 120009"/>
                <a:gd name="connsiteY17" fmla="*/ 125909 h 159841"/>
                <a:gd name="connsiteX18" fmla="*/ 57502 w 120009"/>
                <a:gd name="connsiteY18" fmla="*/ 121444 h 159841"/>
                <a:gd name="connsiteX19" fmla="*/ 93220 w 120009"/>
                <a:gd name="connsiteY19" fmla="*/ 102691 h 159841"/>
                <a:gd name="connsiteX20" fmla="*/ 110187 w 120009"/>
                <a:gd name="connsiteY20" fmla="*/ 83939 h 159841"/>
                <a:gd name="connsiteX21" fmla="*/ 118224 w 120009"/>
                <a:gd name="connsiteY21" fmla="*/ 56257 h 159841"/>
                <a:gd name="connsiteX22" fmla="*/ 118224 w 120009"/>
                <a:gd name="connsiteY22" fmla="*/ 56257 h 159841"/>
                <a:gd name="connsiteX23" fmla="*/ 118224 w 120009"/>
                <a:gd name="connsiteY23" fmla="*/ 55364 h 159841"/>
                <a:gd name="connsiteX24" fmla="*/ 103043 w 120009"/>
                <a:gd name="connsiteY24" fmla="*/ 18753 h 159841"/>
                <a:gd name="connsiteX25" fmla="*/ 55716 w 120009"/>
                <a:gd name="connsiteY25" fmla="*/ 0 h 159841"/>
                <a:gd name="connsiteX26" fmla="*/ 54823 w 120009"/>
                <a:gd name="connsiteY26" fmla="*/ 0 h 159841"/>
                <a:gd name="connsiteX27" fmla="*/ 54823 w 120009"/>
                <a:gd name="connsiteY27" fmla="*/ 0 h 159841"/>
                <a:gd name="connsiteX28" fmla="*/ 2138 w 120009"/>
                <a:gd name="connsiteY28" fmla="*/ 39291 h 159841"/>
                <a:gd name="connsiteX29" fmla="*/ 11067 w 120009"/>
                <a:gd name="connsiteY29" fmla="*/ 58936 h 1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009" h="159841">
                  <a:moveTo>
                    <a:pt x="11067" y="58936"/>
                  </a:moveTo>
                  <a:cubicBezTo>
                    <a:pt x="19997" y="61615"/>
                    <a:pt x="29820" y="57150"/>
                    <a:pt x="32499" y="48221"/>
                  </a:cubicBezTo>
                  <a:cubicBezTo>
                    <a:pt x="35178" y="39291"/>
                    <a:pt x="44107" y="33040"/>
                    <a:pt x="53930" y="33040"/>
                  </a:cubicBezTo>
                  <a:lnTo>
                    <a:pt x="53930" y="33040"/>
                  </a:lnTo>
                  <a:cubicBezTo>
                    <a:pt x="66431" y="33040"/>
                    <a:pt x="72682" y="36612"/>
                    <a:pt x="76254" y="41077"/>
                  </a:cubicBezTo>
                  <a:cubicBezTo>
                    <a:pt x="79826" y="44648"/>
                    <a:pt x="81612" y="50007"/>
                    <a:pt x="81612" y="53578"/>
                  </a:cubicBezTo>
                  <a:lnTo>
                    <a:pt x="81612" y="54471"/>
                  </a:lnTo>
                  <a:cubicBezTo>
                    <a:pt x="81612" y="58936"/>
                    <a:pt x="80719" y="62508"/>
                    <a:pt x="78933" y="65187"/>
                  </a:cubicBezTo>
                  <a:cubicBezTo>
                    <a:pt x="76254" y="69652"/>
                    <a:pt x="71789" y="74117"/>
                    <a:pt x="64645" y="78582"/>
                  </a:cubicBezTo>
                  <a:cubicBezTo>
                    <a:pt x="58395" y="82153"/>
                    <a:pt x="50358" y="85725"/>
                    <a:pt x="43214" y="89297"/>
                  </a:cubicBezTo>
                  <a:cubicBezTo>
                    <a:pt x="27141" y="96441"/>
                    <a:pt x="17318" y="108942"/>
                    <a:pt x="11067" y="118765"/>
                  </a:cubicBezTo>
                  <a:cubicBezTo>
                    <a:pt x="4817" y="128588"/>
                    <a:pt x="3031" y="136625"/>
                    <a:pt x="2138" y="137517"/>
                  </a:cubicBezTo>
                  <a:cubicBezTo>
                    <a:pt x="352" y="142875"/>
                    <a:pt x="1245" y="148233"/>
                    <a:pt x="4817" y="152698"/>
                  </a:cubicBezTo>
                  <a:cubicBezTo>
                    <a:pt x="8388" y="157163"/>
                    <a:pt x="12853" y="159842"/>
                    <a:pt x="19104" y="159842"/>
                  </a:cubicBezTo>
                  <a:lnTo>
                    <a:pt x="103043" y="159842"/>
                  </a:lnTo>
                  <a:cubicBezTo>
                    <a:pt x="112866" y="159842"/>
                    <a:pt x="120010" y="151805"/>
                    <a:pt x="120010" y="142875"/>
                  </a:cubicBezTo>
                  <a:cubicBezTo>
                    <a:pt x="120010" y="133053"/>
                    <a:pt x="111973" y="125909"/>
                    <a:pt x="103043" y="125909"/>
                  </a:cubicBezTo>
                  <a:lnTo>
                    <a:pt x="50358" y="125909"/>
                  </a:lnTo>
                  <a:cubicBezTo>
                    <a:pt x="52144" y="124123"/>
                    <a:pt x="54823" y="122337"/>
                    <a:pt x="57502" y="121444"/>
                  </a:cubicBezTo>
                  <a:cubicBezTo>
                    <a:pt x="67324" y="116979"/>
                    <a:pt x="80719" y="111621"/>
                    <a:pt x="93220" y="102691"/>
                  </a:cubicBezTo>
                  <a:cubicBezTo>
                    <a:pt x="99471" y="98227"/>
                    <a:pt x="105722" y="91976"/>
                    <a:pt x="110187" y="83939"/>
                  </a:cubicBezTo>
                  <a:cubicBezTo>
                    <a:pt x="114652" y="75902"/>
                    <a:pt x="117331" y="66973"/>
                    <a:pt x="118224" y="56257"/>
                  </a:cubicBezTo>
                  <a:lnTo>
                    <a:pt x="118224" y="56257"/>
                  </a:lnTo>
                  <a:lnTo>
                    <a:pt x="118224" y="55364"/>
                  </a:lnTo>
                  <a:cubicBezTo>
                    <a:pt x="118224" y="43756"/>
                    <a:pt x="113759" y="30361"/>
                    <a:pt x="103043" y="18753"/>
                  </a:cubicBezTo>
                  <a:cubicBezTo>
                    <a:pt x="92327" y="8037"/>
                    <a:pt x="76254" y="0"/>
                    <a:pt x="55716" y="0"/>
                  </a:cubicBezTo>
                  <a:lnTo>
                    <a:pt x="54823" y="0"/>
                  </a:lnTo>
                  <a:lnTo>
                    <a:pt x="54823" y="0"/>
                  </a:lnTo>
                  <a:cubicBezTo>
                    <a:pt x="29820" y="0"/>
                    <a:pt x="9281" y="16074"/>
                    <a:pt x="2138" y="39291"/>
                  </a:cubicBezTo>
                  <a:cubicBezTo>
                    <a:pt x="-3220" y="46434"/>
                    <a:pt x="2138" y="56257"/>
                    <a:pt x="11067" y="5893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89" name="Forme libre 88">
              <a:extLst>
                <a:ext uri="{FF2B5EF4-FFF2-40B4-BE49-F238E27FC236}">
                  <a16:creationId xmlns:a16="http://schemas.microsoft.com/office/drawing/2014/main" id="{A2161112-0BF8-9B5A-CED4-D94D83A45DCB}"/>
                </a:ext>
              </a:extLst>
            </p:cNvPr>
            <p:cNvSpPr/>
            <p:nvPr/>
          </p:nvSpPr>
          <p:spPr>
            <a:xfrm>
              <a:off x="3902868" y="4573786"/>
              <a:ext cx="226057" cy="301823"/>
            </a:xfrm>
            <a:custGeom>
              <a:avLst/>
              <a:gdLst>
                <a:gd name="connsiteX0" fmla="*/ 224135 w 226057"/>
                <a:gd name="connsiteY0" fmla="*/ 263426 h 301823"/>
                <a:gd name="connsiteX1" fmla="*/ 200918 w 226057"/>
                <a:gd name="connsiteY1" fmla="*/ 255389 h 301823"/>
                <a:gd name="connsiteX2" fmla="*/ 150019 w 226057"/>
                <a:gd name="connsiteY2" fmla="*/ 266997 h 301823"/>
                <a:gd name="connsiteX3" fmla="*/ 67866 w 226057"/>
                <a:gd name="connsiteY3" fmla="*/ 233065 h 301823"/>
                <a:gd name="connsiteX4" fmla="*/ 33933 w 226057"/>
                <a:gd name="connsiteY4" fmla="*/ 150911 h 301823"/>
                <a:gd name="connsiteX5" fmla="*/ 67866 w 226057"/>
                <a:gd name="connsiteY5" fmla="*/ 68759 h 301823"/>
                <a:gd name="connsiteX6" fmla="*/ 150019 w 226057"/>
                <a:gd name="connsiteY6" fmla="*/ 34825 h 301823"/>
                <a:gd name="connsiteX7" fmla="*/ 200918 w 226057"/>
                <a:gd name="connsiteY7" fmla="*/ 46434 h 301823"/>
                <a:gd name="connsiteX8" fmla="*/ 224135 w 226057"/>
                <a:gd name="connsiteY8" fmla="*/ 38398 h 301823"/>
                <a:gd name="connsiteX9" fmla="*/ 216099 w 226057"/>
                <a:gd name="connsiteY9" fmla="*/ 15181 h 301823"/>
                <a:gd name="connsiteX10" fmla="*/ 150912 w 226057"/>
                <a:gd name="connsiteY10" fmla="*/ 0 h 301823"/>
                <a:gd name="connsiteX11" fmla="*/ 0 w 226057"/>
                <a:gd name="connsiteY11" fmla="*/ 150911 h 301823"/>
                <a:gd name="connsiteX12" fmla="*/ 150912 w 226057"/>
                <a:gd name="connsiteY12" fmla="*/ 301823 h 301823"/>
                <a:gd name="connsiteX13" fmla="*/ 216099 w 226057"/>
                <a:gd name="connsiteY13" fmla="*/ 286643 h 301823"/>
                <a:gd name="connsiteX14" fmla="*/ 224135 w 226057"/>
                <a:gd name="connsiteY14" fmla="*/ 263426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057" h="301823">
                  <a:moveTo>
                    <a:pt x="224135" y="263426"/>
                  </a:moveTo>
                  <a:cubicBezTo>
                    <a:pt x="219670" y="254496"/>
                    <a:pt x="209848" y="250924"/>
                    <a:pt x="200918" y="255389"/>
                  </a:cubicBezTo>
                  <a:cubicBezTo>
                    <a:pt x="185738" y="262533"/>
                    <a:pt x="168771" y="266997"/>
                    <a:pt x="150019" y="266997"/>
                  </a:cubicBezTo>
                  <a:cubicBezTo>
                    <a:pt x="117872" y="266997"/>
                    <a:pt x="88404" y="253603"/>
                    <a:pt x="67866" y="233065"/>
                  </a:cubicBezTo>
                  <a:cubicBezTo>
                    <a:pt x="46434" y="211634"/>
                    <a:pt x="33933" y="183059"/>
                    <a:pt x="33933" y="150911"/>
                  </a:cubicBezTo>
                  <a:cubicBezTo>
                    <a:pt x="33933" y="118765"/>
                    <a:pt x="47328" y="89297"/>
                    <a:pt x="67866" y="68759"/>
                  </a:cubicBezTo>
                  <a:cubicBezTo>
                    <a:pt x="89297" y="47327"/>
                    <a:pt x="117872" y="34825"/>
                    <a:pt x="150019" y="34825"/>
                  </a:cubicBezTo>
                  <a:cubicBezTo>
                    <a:pt x="167878" y="34825"/>
                    <a:pt x="184845" y="39290"/>
                    <a:pt x="200918" y="46434"/>
                  </a:cubicBezTo>
                  <a:cubicBezTo>
                    <a:pt x="209848" y="50899"/>
                    <a:pt x="219670" y="47327"/>
                    <a:pt x="224135" y="38398"/>
                  </a:cubicBezTo>
                  <a:cubicBezTo>
                    <a:pt x="228600" y="29468"/>
                    <a:pt x="225028" y="19645"/>
                    <a:pt x="216099" y="15181"/>
                  </a:cubicBezTo>
                  <a:cubicBezTo>
                    <a:pt x="196453" y="5358"/>
                    <a:pt x="174129" y="0"/>
                    <a:pt x="150912" y="0"/>
                  </a:cubicBezTo>
                  <a:cubicBezTo>
                    <a:pt x="67866" y="0"/>
                    <a:pt x="0" y="67865"/>
                    <a:pt x="0" y="150911"/>
                  </a:cubicBezTo>
                  <a:cubicBezTo>
                    <a:pt x="0" y="233958"/>
                    <a:pt x="67866" y="301823"/>
                    <a:pt x="150912" y="301823"/>
                  </a:cubicBezTo>
                  <a:cubicBezTo>
                    <a:pt x="174129" y="301823"/>
                    <a:pt x="196453" y="296466"/>
                    <a:pt x="216099" y="286643"/>
                  </a:cubicBezTo>
                  <a:cubicBezTo>
                    <a:pt x="224135" y="282178"/>
                    <a:pt x="227707" y="271462"/>
                    <a:pt x="224135" y="263426"/>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90" name="Forme libre 89">
              <a:extLst>
                <a:ext uri="{FF2B5EF4-FFF2-40B4-BE49-F238E27FC236}">
                  <a16:creationId xmlns:a16="http://schemas.microsoft.com/office/drawing/2014/main" id="{0BFF3ECD-65D7-B430-3A7E-49744BD2ECFA}"/>
                </a:ext>
              </a:extLst>
            </p:cNvPr>
            <p:cNvSpPr/>
            <p:nvPr/>
          </p:nvSpPr>
          <p:spPr>
            <a:xfrm>
              <a:off x="4122539" y="4572892"/>
              <a:ext cx="301823" cy="301823"/>
            </a:xfrm>
            <a:custGeom>
              <a:avLst/>
              <a:gdLst>
                <a:gd name="connsiteX0" fmla="*/ 150912 w 301823"/>
                <a:gd name="connsiteY0" fmla="*/ 301824 h 301823"/>
                <a:gd name="connsiteX1" fmla="*/ 301823 w 301823"/>
                <a:gd name="connsiteY1" fmla="*/ 150912 h 301823"/>
                <a:gd name="connsiteX2" fmla="*/ 150912 w 301823"/>
                <a:gd name="connsiteY2" fmla="*/ 0 h 301823"/>
                <a:gd name="connsiteX3" fmla="*/ 0 w 301823"/>
                <a:gd name="connsiteY3" fmla="*/ 150912 h 301823"/>
                <a:gd name="connsiteX4" fmla="*/ 150912 w 301823"/>
                <a:gd name="connsiteY4" fmla="*/ 301824 h 301823"/>
                <a:gd name="connsiteX5" fmla="*/ 68759 w 301823"/>
                <a:gd name="connsiteY5" fmla="*/ 68759 h 301823"/>
                <a:gd name="connsiteX6" fmla="*/ 150912 w 301823"/>
                <a:gd name="connsiteY6" fmla="*/ 34826 h 301823"/>
                <a:gd name="connsiteX7" fmla="*/ 233065 w 301823"/>
                <a:gd name="connsiteY7" fmla="*/ 68759 h 301823"/>
                <a:gd name="connsiteX8" fmla="*/ 266998 w 301823"/>
                <a:gd name="connsiteY8" fmla="*/ 150912 h 301823"/>
                <a:gd name="connsiteX9" fmla="*/ 233065 w 301823"/>
                <a:gd name="connsiteY9" fmla="*/ 233065 h 301823"/>
                <a:gd name="connsiteX10" fmla="*/ 150912 w 301823"/>
                <a:gd name="connsiteY10" fmla="*/ 266998 h 301823"/>
                <a:gd name="connsiteX11" fmla="*/ 68759 w 301823"/>
                <a:gd name="connsiteY11" fmla="*/ 233065 h 301823"/>
                <a:gd name="connsiteX12" fmla="*/ 34826 w 301823"/>
                <a:gd name="connsiteY12" fmla="*/ 150912 h 301823"/>
                <a:gd name="connsiteX13" fmla="*/ 68759 w 301823"/>
                <a:gd name="connsiteY13" fmla="*/ 68759 h 30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823" h="301823">
                  <a:moveTo>
                    <a:pt x="150912" y="301824"/>
                  </a:moveTo>
                  <a:cubicBezTo>
                    <a:pt x="233958" y="301824"/>
                    <a:pt x="301823" y="233958"/>
                    <a:pt x="301823" y="150912"/>
                  </a:cubicBezTo>
                  <a:cubicBezTo>
                    <a:pt x="301823" y="67866"/>
                    <a:pt x="233958" y="0"/>
                    <a:pt x="150912" y="0"/>
                  </a:cubicBezTo>
                  <a:cubicBezTo>
                    <a:pt x="67866" y="0"/>
                    <a:pt x="0" y="67866"/>
                    <a:pt x="0" y="150912"/>
                  </a:cubicBezTo>
                  <a:cubicBezTo>
                    <a:pt x="0" y="234851"/>
                    <a:pt x="67866" y="301824"/>
                    <a:pt x="150912" y="301824"/>
                  </a:cubicBezTo>
                  <a:close/>
                  <a:moveTo>
                    <a:pt x="68759" y="68759"/>
                  </a:moveTo>
                  <a:cubicBezTo>
                    <a:pt x="90190" y="47328"/>
                    <a:pt x="118765" y="34826"/>
                    <a:pt x="150912" y="34826"/>
                  </a:cubicBezTo>
                  <a:cubicBezTo>
                    <a:pt x="183059" y="34826"/>
                    <a:pt x="212526" y="48221"/>
                    <a:pt x="233065" y="68759"/>
                  </a:cubicBezTo>
                  <a:cubicBezTo>
                    <a:pt x="254496" y="90190"/>
                    <a:pt x="266998" y="118765"/>
                    <a:pt x="266998" y="150912"/>
                  </a:cubicBezTo>
                  <a:cubicBezTo>
                    <a:pt x="266998" y="183059"/>
                    <a:pt x="253603" y="212527"/>
                    <a:pt x="233065" y="233065"/>
                  </a:cubicBezTo>
                  <a:cubicBezTo>
                    <a:pt x="211634" y="254496"/>
                    <a:pt x="183059" y="266998"/>
                    <a:pt x="150912" y="266998"/>
                  </a:cubicBezTo>
                  <a:cubicBezTo>
                    <a:pt x="118765" y="266998"/>
                    <a:pt x="89297" y="253603"/>
                    <a:pt x="68759" y="233065"/>
                  </a:cubicBezTo>
                  <a:cubicBezTo>
                    <a:pt x="47327" y="211634"/>
                    <a:pt x="34826" y="183059"/>
                    <a:pt x="34826" y="150912"/>
                  </a:cubicBezTo>
                  <a:cubicBezTo>
                    <a:pt x="34826" y="118765"/>
                    <a:pt x="47327" y="90190"/>
                    <a:pt x="68759" y="68759"/>
                  </a:cubicBez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sp>
          <p:nvSpPr>
            <p:cNvPr id="91" name="Forme libre 90">
              <a:extLst>
                <a:ext uri="{FF2B5EF4-FFF2-40B4-BE49-F238E27FC236}">
                  <a16:creationId xmlns:a16="http://schemas.microsoft.com/office/drawing/2014/main" id="{B315BD4F-E94A-9D1D-1CE4-51EE4B5A2245}"/>
                </a:ext>
              </a:extLst>
            </p:cNvPr>
            <p:cNvSpPr/>
            <p:nvPr/>
          </p:nvSpPr>
          <p:spPr>
            <a:xfrm>
              <a:off x="4152006" y="4994374"/>
              <a:ext cx="270151" cy="349151"/>
            </a:xfrm>
            <a:custGeom>
              <a:avLst/>
              <a:gdLst>
                <a:gd name="connsiteX0" fmla="*/ 200918 w 270151"/>
                <a:gd name="connsiteY0" fmla="*/ 16967 h 349151"/>
                <a:gd name="connsiteX1" fmla="*/ 197346 w 270151"/>
                <a:gd name="connsiteY1" fmla="*/ 7144 h 349151"/>
                <a:gd name="connsiteX2" fmla="*/ 183059 w 270151"/>
                <a:gd name="connsiteY2" fmla="*/ 0 h 349151"/>
                <a:gd name="connsiteX3" fmla="*/ 166092 w 270151"/>
                <a:gd name="connsiteY3" fmla="*/ 16967 h 349151"/>
                <a:gd name="connsiteX4" fmla="*/ 166092 w 270151"/>
                <a:gd name="connsiteY4" fmla="*/ 19645 h 349151"/>
                <a:gd name="connsiteX5" fmla="*/ 97334 w 270151"/>
                <a:gd name="connsiteY5" fmla="*/ 19645 h 349151"/>
                <a:gd name="connsiteX6" fmla="*/ 96441 w 270151"/>
                <a:gd name="connsiteY6" fmla="*/ 19645 h 349151"/>
                <a:gd name="connsiteX7" fmla="*/ 87511 w 270151"/>
                <a:gd name="connsiteY7" fmla="*/ 20538 h 349151"/>
                <a:gd name="connsiteX8" fmla="*/ 78581 w 270151"/>
                <a:gd name="connsiteY8" fmla="*/ 19645 h 349151"/>
                <a:gd name="connsiteX9" fmla="*/ 77688 w 270151"/>
                <a:gd name="connsiteY9" fmla="*/ 19645 h 349151"/>
                <a:gd name="connsiteX10" fmla="*/ 0 w 270151"/>
                <a:gd name="connsiteY10" fmla="*/ 19645 h 349151"/>
                <a:gd name="connsiteX11" fmla="*/ 0 w 270151"/>
                <a:gd name="connsiteY11" fmla="*/ 54471 h 349151"/>
                <a:gd name="connsiteX12" fmla="*/ 76795 w 270151"/>
                <a:gd name="connsiteY12" fmla="*/ 54471 h 349151"/>
                <a:gd name="connsiteX13" fmla="*/ 86618 w 270151"/>
                <a:gd name="connsiteY13" fmla="*/ 55364 h 349151"/>
                <a:gd name="connsiteX14" fmla="*/ 96441 w 270151"/>
                <a:gd name="connsiteY14" fmla="*/ 54471 h 349151"/>
                <a:gd name="connsiteX15" fmla="*/ 164306 w 270151"/>
                <a:gd name="connsiteY15" fmla="*/ 54471 h 349151"/>
                <a:gd name="connsiteX16" fmla="*/ 164306 w 270151"/>
                <a:gd name="connsiteY16" fmla="*/ 291108 h 349151"/>
                <a:gd name="connsiteX17" fmla="*/ 122337 w 270151"/>
                <a:gd name="connsiteY17" fmla="*/ 249139 h 349151"/>
                <a:gd name="connsiteX18" fmla="*/ 98227 w 270151"/>
                <a:gd name="connsiteY18" fmla="*/ 249139 h 349151"/>
                <a:gd name="connsiteX19" fmla="*/ 98227 w 270151"/>
                <a:gd name="connsiteY19" fmla="*/ 273249 h 349151"/>
                <a:gd name="connsiteX20" fmla="*/ 169664 w 270151"/>
                <a:gd name="connsiteY20" fmla="*/ 344686 h 349151"/>
                <a:gd name="connsiteX21" fmla="*/ 170557 w 270151"/>
                <a:gd name="connsiteY21" fmla="*/ 345579 h 349151"/>
                <a:gd name="connsiteX22" fmla="*/ 172343 w 270151"/>
                <a:gd name="connsiteY22" fmla="*/ 347365 h 349151"/>
                <a:gd name="connsiteX23" fmla="*/ 174129 w 270151"/>
                <a:gd name="connsiteY23" fmla="*/ 348258 h 349151"/>
                <a:gd name="connsiteX24" fmla="*/ 175022 w 270151"/>
                <a:gd name="connsiteY24" fmla="*/ 348258 h 349151"/>
                <a:gd name="connsiteX25" fmla="*/ 176808 w 270151"/>
                <a:gd name="connsiteY25" fmla="*/ 348258 h 349151"/>
                <a:gd name="connsiteX26" fmla="*/ 179487 w 270151"/>
                <a:gd name="connsiteY26" fmla="*/ 349151 h 349151"/>
                <a:gd name="connsiteX27" fmla="*/ 182166 w 270151"/>
                <a:gd name="connsiteY27" fmla="*/ 349151 h 349151"/>
                <a:gd name="connsiteX28" fmla="*/ 184845 w 270151"/>
                <a:gd name="connsiteY28" fmla="*/ 349151 h 349151"/>
                <a:gd name="connsiteX29" fmla="*/ 187523 w 270151"/>
                <a:gd name="connsiteY29" fmla="*/ 348258 h 349151"/>
                <a:gd name="connsiteX30" fmla="*/ 189309 w 270151"/>
                <a:gd name="connsiteY30" fmla="*/ 348258 h 349151"/>
                <a:gd name="connsiteX31" fmla="*/ 190203 w 270151"/>
                <a:gd name="connsiteY31" fmla="*/ 348258 h 349151"/>
                <a:gd name="connsiteX32" fmla="*/ 191988 w 270151"/>
                <a:gd name="connsiteY32" fmla="*/ 347365 h 349151"/>
                <a:gd name="connsiteX33" fmla="*/ 193774 w 270151"/>
                <a:gd name="connsiteY33" fmla="*/ 345579 h 349151"/>
                <a:gd name="connsiteX34" fmla="*/ 194667 w 270151"/>
                <a:gd name="connsiteY34" fmla="*/ 344686 h 349151"/>
                <a:gd name="connsiteX35" fmla="*/ 196453 w 270151"/>
                <a:gd name="connsiteY35" fmla="*/ 342900 h 349151"/>
                <a:gd name="connsiteX36" fmla="*/ 265212 w 270151"/>
                <a:gd name="connsiteY36" fmla="*/ 274142 h 349151"/>
                <a:gd name="connsiteX37" fmla="*/ 266998 w 270151"/>
                <a:gd name="connsiteY37" fmla="*/ 251817 h 349151"/>
                <a:gd name="connsiteX38" fmla="*/ 265212 w 270151"/>
                <a:gd name="connsiteY38" fmla="*/ 250031 h 349151"/>
                <a:gd name="connsiteX39" fmla="*/ 241102 w 270151"/>
                <a:gd name="connsiteY39" fmla="*/ 250031 h 349151"/>
                <a:gd name="connsiteX40" fmla="*/ 226814 w 270151"/>
                <a:gd name="connsiteY40" fmla="*/ 264319 h 349151"/>
                <a:gd name="connsiteX41" fmla="*/ 199132 w 270151"/>
                <a:gd name="connsiteY41" fmla="*/ 292001 h 349151"/>
                <a:gd name="connsiteX42" fmla="*/ 199132 w 270151"/>
                <a:gd name="connsiteY42" fmla="*/ 16967 h 34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0151" h="349151">
                  <a:moveTo>
                    <a:pt x="200918" y="16967"/>
                  </a:moveTo>
                  <a:cubicBezTo>
                    <a:pt x="200918" y="13395"/>
                    <a:pt x="199132" y="9823"/>
                    <a:pt x="197346" y="7144"/>
                  </a:cubicBezTo>
                  <a:cubicBezTo>
                    <a:pt x="193774" y="2679"/>
                    <a:pt x="189309" y="0"/>
                    <a:pt x="183059" y="0"/>
                  </a:cubicBezTo>
                  <a:cubicBezTo>
                    <a:pt x="173236" y="0"/>
                    <a:pt x="166092" y="8037"/>
                    <a:pt x="166092" y="16967"/>
                  </a:cubicBezTo>
                  <a:lnTo>
                    <a:pt x="166092" y="19645"/>
                  </a:lnTo>
                  <a:lnTo>
                    <a:pt x="97334" y="19645"/>
                  </a:lnTo>
                  <a:lnTo>
                    <a:pt x="96441" y="19645"/>
                  </a:lnTo>
                  <a:cubicBezTo>
                    <a:pt x="91976" y="19645"/>
                    <a:pt x="89297" y="20538"/>
                    <a:pt x="87511" y="20538"/>
                  </a:cubicBezTo>
                  <a:cubicBezTo>
                    <a:pt x="85725" y="20538"/>
                    <a:pt x="83046" y="20538"/>
                    <a:pt x="78581" y="19645"/>
                  </a:cubicBezTo>
                  <a:lnTo>
                    <a:pt x="77688" y="19645"/>
                  </a:lnTo>
                  <a:lnTo>
                    <a:pt x="0" y="19645"/>
                  </a:lnTo>
                  <a:lnTo>
                    <a:pt x="0" y="54471"/>
                  </a:lnTo>
                  <a:lnTo>
                    <a:pt x="76795" y="54471"/>
                  </a:lnTo>
                  <a:cubicBezTo>
                    <a:pt x="79474" y="54471"/>
                    <a:pt x="82153" y="55364"/>
                    <a:pt x="86618" y="55364"/>
                  </a:cubicBezTo>
                  <a:cubicBezTo>
                    <a:pt x="91083" y="55364"/>
                    <a:pt x="94655" y="55364"/>
                    <a:pt x="96441" y="54471"/>
                  </a:cubicBezTo>
                  <a:lnTo>
                    <a:pt x="164306" y="54471"/>
                  </a:lnTo>
                  <a:lnTo>
                    <a:pt x="164306" y="291108"/>
                  </a:lnTo>
                  <a:lnTo>
                    <a:pt x="122337" y="249139"/>
                  </a:lnTo>
                  <a:cubicBezTo>
                    <a:pt x="115193" y="241995"/>
                    <a:pt x="104477" y="241995"/>
                    <a:pt x="98227" y="249139"/>
                  </a:cubicBezTo>
                  <a:cubicBezTo>
                    <a:pt x="91083" y="256282"/>
                    <a:pt x="91083" y="266998"/>
                    <a:pt x="98227" y="273249"/>
                  </a:cubicBezTo>
                  <a:lnTo>
                    <a:pt x="169664" y="344686"/>
                  </a:lnTo>
                  <a:cubicBezTo>
                    <a:pt x="169664" y="344686"/>
                    <a:pt x="169664" y="344686"/>
                    <a:pt x="170557" y="345579"/>
                  </a:cubicBezTo>
                  <a:cubicBezTo>
                    <a:pt x="171450" y="346472"/>
                    <a:pt x="172343" y="346472"/>
                    <a:pt x="172343" y="347365"/>
                  </a:cubicBezTo>
                  <a:cubicBezTo>
                    <a:pt x="173236" y="348258"/>
                    <a:pt x="174129" y="348258"/>
                    <a:pt x="174129" y="348258"/>
                  </a:cubicBezTo>
                  <a:cubicBezTo>
                    <a:pt x="174129" y="348258"/>
                    <a:pt x="174129" y="348258"/>
                    <a:pt x="175022" y="348258"/>
                  </a:cubicBezTo>
                  <a:cubicBezTo>
                    <a:pt x="175915" y="348258"/>
                    <a:pt x="175915" y="348258"/>
                    <a:pt x="176808" y="348258"/>
                  </a:cubicBezTo>
                  <a:cubicBezTo>
                    <a:pt x="177701" y="348258"/>
                    <a:pt x="178594" y="349151"/>
                    <a:pt x="179487" y="349151"/>
                  </a:cubicBezTo>
                  <a:cubicBezTo>
                    <a:pt x="180380" y="349151"/>
                    <a:pt x="181273" y="349151"/>
                    <a:pt x="182166" y="349151"/>
                  </a:cubicBezTo>
                  <a:cubicBezTo>
                    <a:pt x="183059" y="349151"/>
                    <a:pt x="183952" y="349151"/>
                    <a:pt x="184845" y="349151"/>
                  </a:cubicBezTo>
                  <a:cubicBezTo>
                    <a:pt x="185738" y="349151"/>
                    <a:pt x="186631" y="349151"/>
                    <a:pt x="187523" y="348258"/>
                  </a:cubicBezTo>
                  <a:cubicBezTo>
                    <a:pt x="188416" y="348258"/>
                    <a:pt x="188416" y="348258"/>
                    <a:pt x="189309" y="348258"/>
                  </a:cubicBezTo>
                  <a:cubicBezTo>
                    <a:pt x="189309" y="348258"/>
                    <a:pt x="189309" y="348258"/>
                    <a:pt x="190203" y="348258"/>
                  </a:cubicBezTo>
                  <a:cubicBezTo>
                    <a:pt x="191096" y="348258"/>
                    <a:pt x="191988" y="347365"/>
                    <a:pt x="191988" y="347365"/>
                  </a:cubicBezTo>
                  <a:cubicBezTo>
                    <a:pt x="192881" y="346472"/>
                    <a:pt x="193774" y="346472"/>
                    <a:pt x="193774" y="345579"/>
                  </a:cubicBezTo>
                  <a:cubicBezTo>
                    <a:pt x="193774" y="345579"/>
                    <a:pt x="193774" y="345579"/>
                    <a:pt x="194667" y="344686"/>
                  </a:cubicBezTo>
                  <a:lnTo>
                    <a:pt x="196453" y="342900"/>
                  </a:lnTo>
                  <a:lnTo>
                    <a:pt x="265212" y="274142"/>
                  </a:lnTo>
                  <a:cubicBezTo>
                    <a:pt x="271463" y="267891"/>
                    <a:pt x="271463" y="258961"/>
                    <a:pt x="266998" y="251817"/>
                  </a:cubicBezTo>
                  <a:cubicBezTo>
                    <a:pt x="266105" y="250925"/>
                    <a:pt x="266105" y="250031"/>
                    <a:pt x="265212" y="250031"/>
                  </a:cubicBezTo>
                  <a:cubicBezTo>
                    <a:pt x="258068" y="242888"/>
                    <a:pt x="247352" y="242888"/>
                    <a:pt x="241102" y="250031"/>
                  </a:cubicBezTo>
                  <a:lnTo>
                    <a:pt x="226814" y="264319"/>
                  </a:lnTo>
                  <a:lnTo>
                    <a:pt x="199132" y="292001"/>
                  </a:lnTo>
                  <a:lnTo>
                    <a:pt x="199132" y="16967"/>
                  </a:lnTo>
                  <a:close/>
                </a:path>
              </a:pathLst>
            </a:custGeom>
            <a:grpFill/>
            <a:ln w="8930" cap="flat">
              <a:noFill/>
              <a:prstDash val="solid"/>
              <a:miter/>
            </a:ln>
          </p:spPr>
          <p:txBody>
            <a:bodyPr rtlCol="0" anchor="ctr"/>
            <a:lstStyle/>
            <a:p>
              <a:pPr defTabSz="457189"/>
              <a:endParaRPr lang="fr-FR" sz="1350">
                <a:solidFill>
                  <a:prstClr val="black"/>
                </a:solidFill>
                <a:latin typeface="Arial"/>
              </a:endParaRPr>
            </a:p>
          </p:txBody>
        </p:sp>
      </p:grpSp>
      <p:cxnSp>
        <p:nvCxnSpPr>
          <p:cNvPr id="5" name="Connecteur droit 4">
            <a:extLst>
              <a:ext uri="{FF2B5EF4-FFF2-40B4-BE49-F238E27FC236}">
                <a16:creationId xmlns:a16="http://schemas.microsoft.com/office/drawing/2014/main" id="{40010286-B4AD-57D9-3DF0-B0DE5863B0A3}"/>
              </a:ext>
            </a:extLst>
          </p:cNvPr>
          <p:cNvCxnSpPr/>
          <p:nvPr/>
        </p:nvCxnSpPr>
        <p:spPr>
          <a:xfrm>
            <a:off x="4745736" y="1263651"/>
            <a:ext cx="0" cy="3236026"/>
          </a:xfrm>
          <a:prstGeom prst="line">
            <a:avLst/>
          </a:prstGeom>
          <a:ln w="22225"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cxnSp>
        <p:nvCxnSpPr>
          <p:cNvPr id="6" name="Connecteur droit 5">
            <a:extLst>
              <a:ext uri="{FF2B5EF4-FFF2-40B4-BE49-F238E27FC236}">
                <a16:creationId xmlns:a16="http://schemas.microsoft.com/office/drawing/2014/main" id="{75D1C4EA-2195-EEB9-05C6-BDCFD0B48E88}"/>
              </a:ext>
            </a:extLst>
          </p:cNvPr>
          <p:cNvCxnSpPr>
            <a:cxnSpLocks/>
          </p:cNvCxnSpPr>
          <p:nvPr/>
        </p:nvCxnSpPr>
        <p:spPr>
          <a:xfrm flipV="1">
            <a:off x="702995" y="286499"/>
            <a:ext cx="0" cy="531113"/>
          </a:xfrm>
          <a:prstGeom prst="line">
            <a:avLst/>
          </a:prstGeom>
          <a:ln w="25400" cap="rnd">
            <a:solidFill>
              <a:srgbClr val="002060"/>
            </a:solidFill>
            <a:prstDash val="solid"/>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18D29C5-5B82-A429-4A03-38921FAC3E5D}"/>
              </a:ext>
            </a:extLst>
          </p:cNvPr>
          <p:cNvSpPr/>
          <p:nvPr/>
        </p:nvSpPr>
        <p:spPr>
          <a:xfrm>
            <a:off x="5794696" y="4406178"/>
            <a:ext cx="2181299" cy="230832"/>
          </a:xfrm>
          <a:prstGeom prst="rect">
            <a:avLst/>
          </a:prstGeom>
        </p:spPr>
        <p:txBody>
          <a:bodyPr wrap="square">
            <a:spAutoFit/>
          </a:bodyPr>
          <a:lstStyle/>
          <a:p>
            <a:pPr algn="ctr" defTabSz="457189">
              <a:spcAft>
                <a:spcPts val="300"/>
              </a:spcAft>
              <a:defRPr/>
            </a:pPr>
            <a:r>
              <a:rPr lang="fr-FR" sz="900" b="1" kern="0" dirty="0">
                <a:solidFill>
                  <a:srgbClr val="0070C0"/>
                </a:solidFill>
                <a:latin typeface="Arial"/>
              </a:rPr>
              <a:t>+ CARBON COMPENSATION</a:t>
            </a:r>
          </a:p>
        </p:txBody>
      </p:sp>
      <p:sp>
        <p:nvSpPr>
          <p:cNvPr id="7" name="ZoneTexte 6">
            <a:extLst>
              <a:ext uri="{FF2B5EF4-FFF2-40B4-BE49-F238E27FC236}">
                <a16:creationId xmlns:a16="http://schemas.microsoft.com/office/drawing/2014/main" id="{6FC7903C-1DBF-B521-A00A-A9FACAB11C72}"/>
              </a:ext>
            </a:extLst>
          </p:cNvPr>
          <p:cNvSpPr txBox="1"/>
          <p:nvPr/>
        </p:nvSpPr>
        <p:spPr>
          <a:xfrm>
            <a:off x="6099464" y="450965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457189"/>
            <a:endParaRPr lang="fr-FR" sz="2400" b="1" dirty="0">
              <a:solidFill>
                <a:srgbClr val="0070C0"/>
              </a:solidFill>
              <a:latin typeface="Arial"/>
              <a:cs typeface="Arial"/>
            </a:endParaRPr>
          </a:p>
        </p:txBody>
      </p:sp>
      <p:sp>
        <p:nvSpPr>
          <p:cNvPr id="45" name="Rectangle 44"/>
          <p:cNvSpPr/>
          <p:nvPr/>
        </p:nvSpPr>
        <p:spPr>
          <a:xfrm>
            <a:off x="8738991" y="4830596"/>
            <a:ext cx="312906" cy="230832"/>
          </a:xfrm>
          <a:prstGeom prst="rect">
            <a:avLst/>
          </a:prstGeom>
        </p:spPr>
        <p:txBody>
          <a:bodyPr wrap="none">
            <a:spAutoFit/>
          </a:bodyPr>
          <a:lstStyle/>
          <a:p>
            <a:pPr defTabSz="457189"/>
            <a:r>
              <a:rPr lang="fr-FR" sz="900" b="1" dirty="0">
                <a:solidFill>
                  <a:prstClr val="white"/>
                </a:solidFill>
                <a:latin typeface="Arial"/>
              </a:rPr>
              <a:t>65</a:t>
            </a:r>
          </a:p>
        </p:txBody>
      </p:sp>
    </p:spTree>
    <p:extLst>
      <p:ext uri="{BB962C8B-B14F-4D97-AF65-F5344CB8AC3E}">
        <p14:creationId xmlns:p14="http://schemas.microsoft.com/office/powerpoint/2010/main" val="144983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à coins arrondis 7"/>
          <p:cNvSpPr/>
          <p:nvPr/>
        </p:nvSpPr>
        <p:spPr>
          <a:xfrm>
            <a:off x="3687264" y="126985"/>
            <a:ext cx="1621954" cy="378704"/>
          </a:xfrm>
          <a:prstGeom prst="roundRect">
            <a:avLst/>
          </a:prstGeom>
          <a:solidFill>
            <a:schemeClr val="bg1">
              <a:lumMod val="85000"/>
              <a:alpha val="2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WORKING EVERY DAY IN THE INTEREST OF USTOMERS AND SOCIETY</a:t>
            </a:r>
          </a:p>
        </p:txBody>
      </p:sp>
      <p:sp>
        <p:nvSpPr>
          <p:cNvPr id="9" name="Rectangle à coins arrondis 8"/>
          <p:cNvSpPr/>
          <p:nvPr/>
        </p:nvSpPr>
        <p:spPr>
          <a:xfrm>
            <a:off x="3915949" y="569035"/>
            <a:ext cx="1163642" cy="193074"/>
          </a:xfrm>
          <a:prstGeom prst="roundRect">
            <a:avLst/>
          </a:prstGeom>
          <a:solidFill>
            <a:schemeClr val="bg1">
              <a:lumMod val="85000"/>
              <a:alpha val="2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err="1">
                <a:solidFill>
                  <a:prstClr val="black"/>
                </a:solidFill>
                <a:latin typeface="Calibri" panose="020F0502020204030204"/>
              </a:rPr>
              <a:t>Commitments</a:t>
            </a:r>
            <a:r>
              <a:rPr lang="fr-FR" sz="600" b="1" dirty="0">
                <a:solidFill>
                  <a:prstClr val="black"/>
                </a:solidFill>
                <a:latin typeface="Calibri" panose="020F0502020204030204"/>
              </a:rPr>
              <a:t> </a:t>
            </a:r>
            <a:r>
              <a:rPr lang="fr-FR" sz="600" b="1" dirty="0" err="1">
                <a:solidFill>
                  <a:prstClr val="black"/>
                </a:solidFill>
                <a:latin typeface="Calibri" panose="020F0502020204030204"/>
              </a:rPr>
              <a:t>company</a:t>
            </a:r>
            <a:endParaRPr lang="fr-FR" sz="600" b="1" dirty="0">
              <a:solidFill>
                <a:prstClr val="black"/>
              </a:solidFill>
              <a:latin typeface="Calibri" panose="020F0502020204030204"/>
            </a:endParaRPr>
          </a:p>
        </p:txBody>
      </p:sp>
      <p:sp>
        <p:nvSpPr>
          <p:cNvPr id="10" name="Rectangle à coins arrondis 9"/>
          <p:cNvSpPr/>
          <p:nvPr/>
        </p:nvSpPr>
        <p:spPr>
          <a:xfrm>
            <a:off x="4123175" y="852031"/>
            <a:ext cx="749193" cy="158827"/>
          </a:xfrm>
          <a:prstGeom prst="roundRect">
            <a:avLst/>
          </a:prstGeom>
          <a:solidFill>
            <a:schemeClr val="bg1">
              <a:lumMod val="85000"/>
              <a:alpha val="2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Societal Project</a:t>
            </a:r>
          </a:p>
        </p:txBody>
      </p:sp>
      <p:sp>
        <p:nvSpPr>
          <p:cNvPr id="13" name="Rectangle à coins arrondis 12"/>
          <p:cNvSpPr/>
          <p:nvPr/>
        </p:nvSpPr>
        <p:spPr>
          <a:xfrm>
            <a:off x="3780464" y="1084246"/>
            <a:ext cx="1434615" cy="444323"/>
          </a:xfrm>
          <a:prstGeom prst="roundRect">
            <a:avLst/>
          </a:prstGeom>
          <a:solidFill>
            <a:schemeClr val="bg1">
              <a:lumMod val="85000"/>
              <a:alpha val="2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CSR </a:t>
            </a:r>
            <a:r>
              <a:rPr lang="fr-FR" sz="600" b="1" dirty="0" err="1">
                <a:solidFill>
                  <a:prstClr val="black"/>
                </a:solidFill>
                <a:latin typeface="Calibri" panose="020F0502020204030204"/>
              </a:rPr>
              <a:t>Stratgey</a:t>
            </a:r>
            <a:endParaRPr lang="fr-FR" sz="600" b="1" dirty="0">
              <a:solidFill>
                <a:prstClr val="black"/>
              </a:solidFill>
              <a:latin typeface="Calibri" panose="020F0502020204030204"/>
            </a:endParaRPr>
          </a:p>
          <a:p>
            <a:pPr algn="ctr" defTabSz="342884"/>
            <a:r>
              <a:rPr lang="fr-FR" sz="600" dirty="0">
                <a:solidFill>
                  <a:prstClr val="black"/>
                </a:solidFill>
                <a:latin typeface="Calibri" panose="020F0502020204030204"/>
              </a:rPr>
              <a:t>CSR </a:t>
            </a:r>
            <a:r>
              <a:rPr lang="fr-FR" sz="600" dirty="0" err="1">
                <a:solidFill>
                  <a:prstClr val="black"/>
                </a:solidFill>
                <a:latin typeface="Calibri" panose="020F0502020204030204"/>
              </a:rPr>
              <a:t>Make</a:t>
            </a:r>
            <a:r>
              <a:rPr lang="fr-FR" sz="600" dirty="0">
                <a:solidFill>
                  <a:prstClr val="black"/>
                </a:solidFill>
                <a:latin typeface="Calibri" panose="020F0502020204030204"/>
              </a:rPr>
              <a:t> a source of business</a:t>
            </a:r>
          </a:p>
        </p:txBody>
      </p:sp>
      <p:sp>
        <p:nvSpPr>
          <p:cNvPr id="15" name="Rectangle à coins arrondis 14"/>
          <p:cNvSpPr/>
          <p:nvPr/>
        </p:nvSpPr>
        <p:spPr>
          <a:xfrm>
            <a:off x="1660505" y="1578093"/>
            <a:ext cx="1299087" cy="323212"/>
          </a:xfrm>
          <a:prstGeom prst="roundRect">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Action on climate and the transition to a low-carbon economy</a:t>
            </a:r>
          </a:p>
        </p:txBody>
      </p:sp>
      <p:sp>
        <p:nvSpPr>
          <p:cNvPr id="16" name="Rectangle à coins arrondis 15"/>
          <p:cNvSpPr/>
          <p:nvPr/>
        </p:nvSpPr>
        <p:spPr>
          <a:xfrm>
            <a:off x="5890781" y="1576334"/>
            <a:ext cx="957630" cy="341141"/>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err="1">
                <a:solidFill>
                  <a:prstClr val="black"/>
                </a:solidFill>
                <a:latin typeface="Calibri" panose="020F0502020204030204"/>
              </a:rPr>
              <a:t>Reinforcing</a:t>
            </a:r>
            <a:r>
              <a:rPr lang="fr-FR" sz="600" b="1" dirty="0">
                <a:solidFill>
                  <a:prstClr val="black"/>
                </a:solidFill>
                <a:latin typeface="Calibri" panose="020F0502020204030204"/>
              </a:rPr>
              <a:t> cohesion and social inclusion</a:t>
            </a:r>
          </a:p>
        </p:txBody>
      </p:sp>
      <p:sp>
        <p:nvSpPr>
          <p:cNvPr id="17" name="Rectangle à coins arrondis 16"/>
          <p:cNvSpPr/>
          <p:nvPr/>
        </p:nvSpPr>
        <p:spPr>
          <a:xfrm>
            <a:off x="1119410" y="2727583"/>
            <a:ext cx="865752" cy="222236"/>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Offers and new services</a:t>
            </a:r>
          </a:p>
        </p:txBody>
      </p:sp>
      <p:sp>
        <p:nvSpPr>
          <p:cNvPr id="18" name="Rectangle à coins arrondis 17"/>
          <p:cNvSpPr/>
          <p:nvPr/>
        </p:nvSpPr>
        <p:spPr>
          <a:xfrm>
            <a:off x="72581" y="1995341"/>
            <a:ext cx="1804107" cy="615999"/>
          </a:xfrm>
          <a:prstGeom prst="roundRect">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 Support the evolution of low-carbon mobility by offering green and inclusive offers</a:t>
            </a:r>
          </a:p>
          <a:p>
            <a:pPr algn="ctr" defTabSz="342884"/>
            <a:r>
              <a:rPr lang="fr-FR" sz="600" b="1" i="1" dirty="0">
                <a:solidFill>
                  <a:prstClr val="black">
                    <a:lumMod val="65000"/>
                    <a:lumOff val="35000"/>
                  </a:prstClr>
                </a:solidFill>
                <a:latin typeface="Calibri" panose="020F0502020204030204"/>
              </a:rPr>
              <a:t>Objective 1 of 2 new vehicles, electric or </a:t>
            </a:r>
            <a:r>
              <a:rPr lang="fr-FR" sz="600" b="1" i="1" dirty="0" err="1">
                <a:solidFill>
                  <a:prstClr val="black">
                    <a:lumMod val="65000"/>
                    <a:lumOff val="35000"/>
                  </a:prstClr>
                </a:solidFill>
                <a:latin typeface="Calibri" panose="020F0502020204030204"/>
              </a:rPr>
              <a:t>hybrid</a:t>
            </a:r>
            <a:r>
              <a:rPr lang="fr-FR" sz="600" b="1" i="1" dirty="0">
                <a:solidFill>
                  <a:prstClr val="black">
                    <a:lumMod val="65000"/>
                    <a:lumOff val="35000"/>
                  </a:prstClr>
                </a:solidFill>
                <a:latin typeface="Calibri" panose="020F0502020204030204"/>
              </a:rPr>
              <a:t> </a:t>
            </a:r>
          </a:p>
          <a:p>
            <a:pPr algn="ctr" defTabSz="342884"/>
            <a:r>
              <a:rPr lang="fr-FR" sz="600" b="1" i="1" dirty="0">
                <a:solidFill>
                  <a:prstClr val="black">
                    <a:lumMod val="65000"/>
                    <a:lumOff val="35000"/>
                  </a:prstClr>
                </a:solidFill>
                <a:latin typeface="Calibri" panose="020F0502020204030204"/>
              </a:rPr>
              <a:t>(8 </a:t>
            </a:r>
            <a:r>
              <a:rPr lang="fr-FR" sz="600" b="1" i="1" dirty="0" err="1">
                <a:solidFill>
                  <a:prstClr val="black">
                    <a:lumMod val="65000"/>
                    <a:lumOff val="35000"/>
                  </a:prstClr>
                </a:solidFill>
                <a:latin typeface="Calibri" panose="020F0502020204030204"/>
              </a:rPr>
              <a:t>bn</a:t>
            </a:r>
            <a:r>
              <a:rPr lang="fr-FR" sz="600" b="1" i="1" dirty="0">
                <a:solidFill>
                  <a:prstClr val="black">
                    <a:lumMod val="65000"/>
                    <a:lumOff val="35000"/>
                  </a:prstClr>
                </a:solidFill>
                <a:latin typeface="Calibri" panose="020F0502020204030204"/>
              </a:rPr>
              <a:t> euros)</a:t>
            </a:r>
          </a:p>
          <a:p>
            <a:pPr algn="ctr" defTabSz="342884"/>
            <a:r>
              <a:rPr lang="fr-FR" sz="600" b="1" i="1" dirty="0">
                <a:solidFill>
                  <a:prstClr val="black">
                    <a:lumMod val="65000"/>
                    <a:lumOff val="35000"/>
                  </a:prstClr>
                </a:solidFill>
                <a:latin typeface="Calibri" panose="020F0502020204030204"/>
              </a:rPr>
              <a:t>Auto carbon emission reduction -50% 2030 </a:t>
            </a:r>
          </a:p>
        </p:txBody>
      </p:sp>
      <p:sp>
        <p:nvSpPr>
          <p:cNvPr id="21" name="Rectangle à coins arrondis 20"/>
          <p:cNvSpPr/>
          <p:nvPr/>
        </p:nvSpPr>
        <p:spPr>
          <a:xfrm>
            <a:off x="2705689" y="3123452"/>
            <a:ext cx="1141428" cy="433175"/>
          </a:xfrm>
          <a:prstGeom prst="roundRect">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Promote access to sustainable and second-hand products</a:t>
            </a:r>
          </a:p>
          <a:p>
            <a:pPr algn="ctr" defTabSz="342884"/>
            <a:r>
              <a:rPr lang="fr-FR" sz="600" b="1" dirty="0">
                <a:solidFill>
                  <a:prstClr val="black">
                    <a:lumMod val="65000"/>
                    <a:lumOff val="35000"/>
                  </a:prstClr>
                </a:solidFill>
                <a:latin typeface="Calibri" panose="020F0502020204030204"/>
              </a:rPr>
              <a:t>Objective to be set  </a:t>
            </a:r>
          </a:p>
        </p:txBody>
      </p:sp>
      <p:sp>
        <p:nvSpPr>
          <p:cNvPr id="22" name="Rectangle à coins arrondis 21"/>
          <p:cNvSpPr/>
          <p:nvPr/>
        </p:nvSpPr>
        <p:spPr>
          <a:xfrm>
            <a:off x="44529" y="2727939"/>
            <a:ext cx="839135" cy="208108"/>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electric partners </a:t>
            </a:r>
          </a:p>
        </p:txBody>
      </p:sp>
      <p:sp>
        <p:nvSpPr>
          <p:cNvPr id="23" name="Rectangle à coins arrondis 22"/>
          <p:cNvSpPr/>
          <p:nvPr/>
        </p:nvSpPr>
        <p:spPr>
          <a:xfrm>
            <a:off x="503363" y="3033807"/>
            <a:ext cx="969709" cy="161434"/>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Soft mobility</a:t>
            </a:r>
          </a:p>
        </p:txBody>
      </p:sp>
      <p:cxnSp>
        <p:nvCxnSpPr>
          <p:cNvPr id="31" name="Connecteur en arc 30"/>
          <p:cNvCxnSpPr>
            <a:stCxn id="18" idx="2"/>
            <a:endCxn id="22" idx="3"/>
          </p:cNvCxnSpPr>
          <p:nvPr/>
        </p:nvCxnSpPr>
        <p:spPr>
          <a:xfrm rot="5400000">
            <a:off x="818822" y="2676179"/>
            <a:ext cx="220653" cy="90972"/>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6" name="Connecteur en arc 35"/>
          <p:cNvCxnSpPr>
            <a:stCxn id="18" idx="2"/>
            <a:endCxn id="17" idx="1"/>
          </p:cNvCxnSpPr>
          <p:nvPr/>
        </p:nvCxnSpPr>
        <p:spPr>
          <a:xfrm rot="16200000" flipH="1">
            <a:off x="933342" y="2652634"/>
            <a:ext cx="227362" cy="144776"/>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8" name="Connecteur droit 37"/>
          <p:cNvCxnSpPr>
            <a:stCxn id="18" idx="2"/>
            <a:endCxn id="23" idx="0"/>
          </p:cNvCxnSpPr>
          <p:nvPr/>
        </p:nvCxnSpPr>
        <p:spPr>
          <a:xfrm>
            <a:off x="974634" y="2611339"/>
            <a:ext cx="13582" cy="422468"/>
          </a:xfrm>
          <a:prstGeom prst="line">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44" name="Rectangle à coins arrondis 43"/>
          <p:cNvSpPr/>
          <p:nvPr/>
        </p:nvSpPr>
        <p:spPr>
          <a:xfrm>
            <a:off x="520219" y="4387169"/>
            <a:ext cx="796424" cy="240771"/>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Offers and new services</a:t>
            </a:r>
          </a:p>
        </p:txBody>
      </p:sp>
      <p:sp>
        <p:nvSpPr>
          <p:cNvPr id="45" name="Rectangle à coins arrondis 44"/>
          <p:cNvSpPr/>
          <p:nvPr/>
        </p:nvSpPr>
        <p:spPr>
          <a:xfrm>
            <a:off x="114004" y="4119658"/>
            <a:ext cx="693865" cy="236888"/>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Conquest partners </a:t>
            </a:r>
          </a:p>
        </p:txBody>
      </p:sp>
      <p:cxnSp>
        <p:nvCxnSpPr>
          <p:cNvPr id="47" name="Connecteur en arc 46"/>
          <p:cNvCxnSpPr>
            <a:stCxn id="19" idx="2"/>
            <a:endCxn id="288" idx="1"/>
          </p:cNvCxnSpPr>
          <p:nvPr/>
        </p:nvCxnSpPr>
        <p:spPr>
          <a:xfrm rot="16200000" flipH="1">
            <a:off x="880551" y="4088905"/>
            <a:ext cx="173069" cy="107243"/>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9" name="Connecteur en arc 48"/>
          <p:cNvCxnSpPr>
            <a:stCxn id="44" idx="0"/>
            <a:endCxn id="19" idx="2"/>
          </p:cNvCxnSpPr>
          <p:nvPr/>
        </p:nvCxnSpPr>
        <p:spPr>
          <a:xfrm rot="16200000" flipV="1">
            <a:off x="750359" y="4219096"/>
            <a:ext cx="331176" cy="4969"/>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50" name="Rectangle à coins arrondis 49"/>
          <p:cNvSpPr/>
          <p:nvPr/>
        </p:nvSpPr>
        <p:spPr>
          <a:xfrm>
            <a:off x="2913113" y="3919892"/>
            <a:ext cx="728169" cy="256129"/>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Payment methods </a:t>
            </a:r>
          </a:p>
        </p:txBody>
      </p:sp>
      <p:sp>
        <p:nvSpPr>
          <p:cNvPr id="52" name="Rectangle à coins arrondis 51"/>
          <p:cNvSpPr/>
          <p:nvPr/>
        </p:nvSpPr>
        <p:spPr>
          <a:xfrm>
            <a:off x="2410666" y="3617891"/>
            <a:ext cx="751136" cy="213369"/>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Sustainable products </a:t>
            </a:r>
          </a:p>
        </p:txBody>
      </p:sp>
      <p:sp>
        <p:nvSpPr>
          <p:cNvPr id="53" name="Rectangle à coins arrondis 52"/>
          <p:cNvSpPr/>
          <p:nvPr/>
        </p:nvSpPr>
        <p:spPr>
          <a:xfrm>
            <a:off x="3379961" y="3618658"/>
            <a:ext cx="915429" cy="199412"/>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Circular economy and used vehicle </a:t>
            </a:r>
          </a:p>
        </p:txBody>
      </p:sp>
      <p:sp>
        <p:nvSpPr>
          <p:cNvPr id="54" name="Rectangle à coins arrondis 53"/>
          <p:cNvSpPr/>
          <p:nvPr/>
        </p:nvSpPr>
        <p:spPr>
          <a:xfrm>
            <a:off x="2780129" y="1964344"/>
            <a:ext cx="1162941" cy="474528"/>
          </a:xfrm>
          <a:prstGeom prst="roundRect">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Reduce the direct carbon footprint of our operations</a:t>
            </a:r>
          </a:p>
          <a:p>
            <a:pPr algn="ctr" defTabSz="342884"/>
            <a:r>
              <a:rPr lang="fr-FR" sz="600" b="1" i="1" dirty="0">
                <a:solidFill>
                  <a:prstClr val="black">
                    <a:lumMod val="65000"/>
                    <a:lumOff val="35000"/>
                  </a:prstClr>
                </a:solidFill>
                <a:latin typeface="Calibri" panose="020F0502020204030204"/>
              </a:rPr>
              <a:t>Targets -25% in 2025</a:t>
            </a:r>
          </a:p>
          <a:p>
            <a:pPr algn="ctr" defTabSz="342884"/>
            <a:r>
              <a:rPr lang="fr-FR" sz="600" b="1" i="1" dirty="0">
                <a:solidFill>
                  <a:prstClr val="black">
                    <a:lumMod val="65000"/>
                    <a:lumOff val="35000"/>
                  </a:prstClr>
                </a:solidFill>
                <a:latin typeface="Calibri" panose="020F0502020204030204"/>
              </a:rPr>
              <a:t> -50% in 2030</a:t>
            </a:r>
          </a:p>
        </p:txBody>
      </p:sp>
      <p:sp>
        <p:nvSpPr>
          <p:cNvPr id="56" name="Rectangle à coins arrondis 55"/>
          <p:cNvSpPr/>
          <p:nvPr/>
        </p:nvSpPr>
        <p:spPr>
          <a:xfrm>
            <a:off x="2918407" y="2835007"/>
            <a:ext cx="891552" cy="194444"/>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Employees Mobility </a:t>
            </a:r>
          </a:p>
        </p:txBody>
      </p:sp>
      <p:sp>
        <p:nvSpPr>
          <p:cNvPr id="57" name="Rectangle à coins arrondis 56"/>
          <p:cNvSpPr/>
          <p:nvPr/>
        </p:nvSpPr>
        <p:spPr>
          <a:xfrm>
            <a:off x="2809328" y="2563286"/>
            <a:ext cx="460179" cy="211866"/>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Purchases </a:t>
            </a:r>
          </a:p>
        </p:txBody>
      </p:sp>
      <p:sp>
        <p:nvSpPr>
          <p:cNvPr id="59" name="Rectangle à coins arrondis 58"/>
          <p:cNvSpPr/>
          <p:nvPr/>
        </p:nvSpPr>
        <p:spPr>
          <a:xfrm>
            <a:off x="3458184" y="2553980"/>
            <a:ext cx="618664" cy="211866"/>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Facilities</a:t>
            </a:r>
          </a:p>
        </p:txBody>
      </p:sp>
      <p:cxnSp>
        <p:nvCxnSpPr>
          <p:cNvPr id="67" name="Connecteur en arc 66"/>
          <p:cNvCxnSpPr>
            <a:stCxn id="54" idx="2"/>
            <a:endCxn id="57" idx="3"/>
          </p:cNvCxnSpPr>
          <p:nvPr/>
        </p:nvCxnSpPr>
        <p:spPr>
          <a:xfrm rot="5400000">
            <a:off x="3200382" y="2508000"/>
            <a:ext cx="230347" cy="92095"/>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69" name="Connecteur en arc 68"/>
          <p:cNvCxnSpPr>
            <a:stCxn id="54" idx="2"/>
            <a:endCxn id="59" idx="1"/>
          </p:cNvCxnSpPr>
          <p:nvPr/>
        </p:nvCxnSpPr>
        <p:spPr>
          <a:xfrm rot="16200000" flipH="1">
            <a:off x="3299373" y="2501101"/>
            <a:ext cx="221041" cy="96582"/>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75" name="Connecteur en arc 74"/>
          <p:cNvCxnSpPr>
            <a:stCxn id="54" idx="2"/>
            <a:endCxn id="56" idx="0"/>
          </p:cNvCxnSpPr>
          <p:nvPr/>
        </p:nvCxnSpPr>
        <p:spPr>
          <a:xfrm rot="16200000" flipH="1">
            <a:off x="3164825" y="2635649"/>
            <a:ext cx="396135" cy="2583"/>
          </a:xfrm>
          <a:prstGeom prst="curvedConnector3">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77" name="Connecteur en arc 76"/>
          <p:cNvCxnSpPr>
            <a:stCxn id="21" idx="2"/>
            <a:endCxn id="52" idx="3"/>
          </p:cNvCxnSpPr>
          <p:nvPr/>
        </p:nvCxnSpPr>
        <p:spPr>
          <a:xfrm rot="5400000">
            <a:off x="3135128" y="3583300"/>
            <a:ext cx="167949" cy="114602"/>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79" name="Connecteur en arc 78"/>
          <p:cNvCxnSpPr>
            <a:stCxn id="21" idx="2"/>
            <a:endCxn id="53" idx="1"/>
          </p:cNvCxnSpPr>
          <p:nvPr/>
        </p:nvCxnSpPr>
        <p:spPr>
          <a:xfrm rot="16200000" flipH="1">
            <a:off x="3247312" y="3585716"/>
            <a:ext cx="161738" cy="103557"/>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81" name="Connecteur en arc 80"/>
          <p:cNvCxnSpPr>
            <a:stCxn id="21" idx="2"/>
            <a:endCxn id="50" idx="0"/>
          </p:cNvCxnSpPr>
          <p:nvPr/>
        </p:nvCxnSpPr>
        <p:spPr>
          <a:xfrm rot="16200000" flipH="1">
            <a:off x="3095169" y="3737862"/>
            <a:ext cx="363265" cy="793"/>
          </a:xfrm>
          <a:prstGeom prst="curvedConnector3">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86" name="Connecteur en arc 85"/>
          <p:cNvCxnSpPr>
            <a:stCxn id="15" idx="2"/>
            <a:endCxn id="21" idx="1"/>
          </p:cNvCxnSpPr>
          <p:nvPr/>
        </p:nvCxnSpPr>
        <p:spPr>
          <a:xfrm rot="16200000" flipH="1">
            <a:off x="1788504" y="2422852"/>
            <a:ext cx="1438733" cy="395642"/>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116" name="Rectangle à coins arrondis 115"/>
          <p:cNvSpPr/>
          <p:nvPr/>
        </p:nvSpPr>
        <p:spPr>
          <a:xfrm>
            <a:off x="5818980" y="3549019"/>
            <a:ext cx="1126926" cy="409218"/>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Prevent and support our most fragile customers and raise awareness of budget education</a:t>
            </a:r>
          </a:p>
        </p:txBody>
      </p:sp>
      <p:sp>
        <p:nvSpPr>
          <p:cNvPr id="117" name="Rectangle à coins arrondis 116"/>
          <p:cNvSpPr/>
          <p:nvPr/>
        </p:nvSpPr>
        <p:spPr>
          <a:xfrm>
            <a:off x="5099643" y="2157044"/>
            <a:ext cx="1072570" cy="427521"/>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Make the credit accessible to as many people as possible and offer solutions to all our customers</a:t>
            </a:r>
          </a:p>
        </p:txBody>
      </p:sp>
      <p:sp>
        <p:nvSpPr>
          <p:cNvPr id="118" name="Rectangle à coins arrondis 117"/>
          <p:cNvSpPr/>
          <p:nvPr/>
        </p:nvSpPr>
        <p:spPr>
          <a:xfrm>
            <a:off x="7194269" y="2093171"/>
            <a:ext cx="1312242" cy="517539"/>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Acting for equal opportunities: fostering youth inclusion and increasing diversity and diversity in collaboration with HR</a:t>
            </a:r>
          </a:p>
        </p:txBody>
      </p:sp>
      <p:sp>
        <p:nvSpPr>
          <p:cNvPr id="119" name="Rectangle à coins arrondis 118"/>
          <p:cNvSpPr/>
          <p:nvPr/>
        </p:nvSpPr>
        <p:spPr>
          <a:xfrm>
            <a:off x="7484344" y="3267778"/>
            <a:ext cx="965000" cy="387961"/>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To be a reference actor of solidarity in our territories</a:t>
            </a:r>
          </a:p>
        </p:txBody>
      </p:sp>
      <p:sp>
        <p:nvSpPr>
          <p:cNvPr id="120" name="Rectangle à coins arrondis 119"/>
          <p:cNvSpPr/>
          <p:nvPr/>
        </p:nvSpPr>
        <p:spPr>
          <a:xfrm>
            <a:off x="4939269" y="2658588"/>
            <a:ext cx="617650" cy="237640"/>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Inclusive security </a:t>
            </a:r>
          </a:p>
        </p:txBody>
      </p:sp>
      <p:sp>
        <p:nvSpPr>
          <p:cNvPr id="121" name="Rectangle à coins arrondis 120"/>
          <p:cNvSpPr/>
          <p:nvPr/>
        </p:nvSpPr>
        <p:spPr>
          <a:xfrm>
            <a:off x="5205879" y="2962164"/>
            <a:ext cx="875435" cy="239345"/>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Our Youth </a:t>
            </a:r>
          </a:p>
        </p:txBody>
      </p:sp>
      <p:sp>
        <p:nvSpPr>
          <p:cNvPr id="122" name="Rectangle à coins arrondis 121"/>
          <p:cNvSpPr/>
          <p:nvPr/>
        </p:nvSpPr>
        <p:spPr>
          <a:xfrm>
            <a:off x="5711717" y="2657390"/>
            <a:ext cx="578388" cy="253523"/>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Our seniors</a:t>
            </a:r>
          </a:p>
        </p:txBody>
      </p:sp>
      <p:sp>
        <p:nvSpPr>
          <p:cNvPr id="124" name="Rectangle à coins arrondis 123"/>
          <p:cNvSpPr/>
          <p:nvPr/>
        </p:nvSpPr>
        <p:spPr>
          <a:xfrm>
            <a:off x="5579686" y="4011954"/>
            <a:ext cx="610559" cy="214627"/>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Ethics </a:t>
            </a:r>
          </a:p>
        </p:txBody>
      </p:sp>
      <p:sp>
        <p:nvSpPr>
          <p:cNvPr id="125" name="Rectangle à coins arrondis 124"/>
          <p:cNvSpPr/>
          <p:nvPr/>
        </p:nvSpPr>
        <p:spPr>
          <a:xfrm>
            <a:off x="6581079" y="4029677"/>
            <a:ext cx="639271" cy="240867"/>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Societal interest</a:t>
            </a:r>
          </a:p>
        </p:txBody>
      </p:sp>
      <p:sp>
        <p:nvSpPr>
          <p:cNvPr id="126" name="Rectangle à coins arrondis 125"/>
          <p:cNvSpPr/>
          <p:nvPr/>
        </p:nvSpPr>
        <p:spPr>
          <a:xfrm>
            <a:off x="5932388" y="4296238"/>
            <a:ext cx="916025" cy="183302"/>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Overindebtedness </a:t>
            </a:r>
          </a:p>
        </p:txBody>
      </p:sp>
      <p:cxnSp>
        <p:nvCxnSpPr>
          <p:cNvPr id="169" name="Connecteur en arc 168"/>
          <p:cNvCxnSpPr>
            <a:stCxn id="116" idx="2"/>
            <a:endCxn id="124" idx="3"/>
          </p:cNvCxnSpPr>
          <p:nvPr/>
        </p:nvCxnSpPr>
        <p:spPr>
          <a:xfrm rot="5400000">
            <a:off x="6205831" y="3942652"/>
            <a:ext cx="161029" cy="192200"/>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71" name="Connecteur en arc 170"/>
          <p:cNvCxnSpPr>
            <a:stCxn id="116" idx="2"/>
            <a:endCxn id="125" idx="1"/>
          </p:cNvCxnSpPr>
          <p:nvPr/>
        </p:nvCxnSpPr>
        <p:spPr>
          <a:xfrm rot="16200000" flipH="1">
            <a:off x="6385826" y="3954858"/>
            <a:ext cx="191873" cy="198634"/>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73" name="Connecteur en arc 172"/>
          <p:cNvCxnSpPr>
            <a:stCxn id="116" idx="2"/>
            <a:endCxn id="126" idx="0"/>
          </p:cNvCxnSpPr>
          <p:nvPr/>
        </p:nvCxnSpPr>
        <p:spPr>
          <a:xfrm rot="16200000" flipH="1">
            <a:off x="6217423" y="4123259"/>
            <a:ext cx="338000" cy="7956"/>
          </a:xfrm>
          <a:prstGeom prst="curvedConnector3">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75" name="Connecteur en arc 174"/>
          <p:cNvCxnSpPr>
            <a:stCxn id="117" idx="2"/>
            <a:endCxn id="120" idx="3"/>
          </p:cNvCxnSpPr>
          <p:nvPr/>
        </p:nvCxnSpPr>
        <p:spPr>
          <a:xfrm rot="5400000">
            <a:off x="5500004" y="2641481"/>
            <a:ext cx="192843" cy="79011"/>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77" name="Connecteur en arc 176"/>
          <p:cNvCxnSpPr>
            <a:stCxn id="117" idx="2"/>
            <a:endCxn id="122" idx="1"/>
          </p:cNvCxnSpPr>
          <p:nvPr/>
        </p:nvCxnSpPr>
        <p:spPr>
          <a:xfrm rot="16200000" flipH="1">
            <a:off x="5574031" y="2646464"/>
            <a:ext cx="199586" cy="75789"/>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79" name="Connecteur en arc 178"/>
          <p:cNvCxnSpPr>
            <a:stCxn id="117" idx="2"/>
            <a:endCxn id="121" idx="0"/>
          </p:cNvCxnSpPr>
          <p:nvPr/>
        </p:nvCxnSpPr>
        <p:spPr>
          <a:xfrm rot="16200000" flipH="1">
            <a:off x="5450962" y="2769531"/>
            <a:ext cx="377598" cy="7667"/>
          </a:xfrm>
          <a:prstGeom prst="curvedConnector3">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180" name="Rectangle à coins arrondis 179"/>
          <p:cNvSpPr/>
          <p:nvPr/>
        </p:nvSpPr>
        <p:spPr>
          <a:xfrm>
            <a:off x="7219842" y="3695850"/>
            <a:ext cx="645930" cy="231406"/>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Rounding</a:t>
            </a:r>
          </a:p>
        </p:txBody>
      </p:sp>
      <p:sp>
        <p:nvSpPr>
          <p:cNvPr id="181" name="Rectangle à coins arrondis 180"/>
          <p:cNvSpPr/>
          <p:nvPr/>
        </p:nvSpPr>
        <p:spPr>
          <a:xfrm>
            <a:off x="8059804" y="3692104"/>
            <a:ext cx="677234" cy="239466"/>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CACF Foundation For Good </a:t>
            </a:r>
          </a:p>
        </p:txBody>
      </p:sp>
      <p:sp>
        <p:nvSpPr>
          <p:cNvPr id="182" name="Rectangle à coins arrondis 181"/>
          <p:cNvSpPr/>
          <p:nvPr/>
        </p:nvSpPr>
        <p:spPr>
          <a:xfrm>
            <a:off x="7578010" y="4013817"/>
            <a:ext cx="777673" cy="228412"/>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Solidarity Sponsorship </a:t>
            </a:r>
          </a:p>
        </p:txBody>
      </p:sp>
      <p:sp>
        <p:nvSpPr>
          <p:cNvPr id="184" name="Rectangle à coins arrondis 183"/>
          <p:cNvSpPr/>
          <p:nvPr/>
        </p:nvSpPr>
        <p:spPr>
          <a:xfrm>
            <a:off x="6897276" y="2674560"/>
            <a:ext cx="814210" cy="223956"/>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Enhancing training access </a:t>
            </a:r>
          </a:p>
        </p:txBody>
      </p:sp>
      <p:sp>
        <p:nvSpPr>
          <p:cNvPr id="185" name="Rectangle à coins arrondis 184"/>
          <p:cNvSpPr/>
          <p:nvPr/>
        </p:nvSpPr>
        <p:spPr>
          <a:xfrm>
            <a:off x="7490957" y="2965339"/>
            <a:ext cx="718871" cy="200346"/>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Equal opportunities </a:t>
            </a:r>
          </a:p>
        </p:txBody>
      </p:sp>
      <p:sp>
        <p:nvSpPr>
          <p:cNvPr id="186" name="Rectangle à coins arrondis 185"/>
          <p:cNvSpPr/>
          <p:nvPr/>
        </p:nvSpPr>
        <p:spPr>
          <a:xfrm>
            <a:off x="7982475" y="2669230"/>
            <a:ext cx="586288" cy="206750"/>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Mixity</a:t>
            </a:r>
          </a:p>
        </p:txBody>
      </p:sp>
      <p:cxnSp>
        <p:nvCxnSpPr>
          <p:cNvPr id="188" name="Connecteur en arc 187"/>
          <p:cNvCxnSpPr>
            <a:stCxn id="119" idx="2"/>
            <a:endCxn id="182" idx="0"/>
          </p:cNvCxnSpPr>
          <p:nvPr/>
        </p:nvCxnSpPr>
        <p:spPr>
          <a:xfrm rot="16200000" flipH="1">
            <a:off x="7787805" y="3834777"/>
            <a:ext cx="358078" cy="1"/>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90" name="Connecteur en arc 189"/>
          <p:cNvCxnSpPr>
            <a:stCxn id="119" idx="2"/>
            <a:endCxn id="180" idx="3"/>
          </p:cNvCxnSpPr>
          <p:nvPr/>
        </p:nvCxnSpPr>
        <p:spPr>
          <a:xfrm rot="5400000">
            <a:off x="7838401" y="3683110"/>
            <a:ext cx="155814" cy="101072"/>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93" name="Connecteur en arc 192"/>
          <p:cNvCxnSpPr>
            <a:stCxn id="119" idx="2"/>
            <a:endCxn id="181" idx="1"/>
          </p:cNvCxnSpPr>
          <p:nvPr/>
        </p:nvCxnSpPr>
        <p:spPr>
          <a:xfrm rot="16200000" flipH="1">
            <a:off x="7935273" y="3687309"/>
            <a:ext cx="156100" cy="92959"/>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95" name="Connecteur en arc 194"/>
          <p:cNvCxnSpPr>
            <a:stCxn id="16" idx="2"/>
            <a:endCxn id="117" idx="0"/>
          </p:cNvCxnSpPr>
          <p:nvPr/>
        </p:nvCxnSpPr>
        <p:spPr>
          <a:xfrm rot="5400000">
            <a:off x="5882977" y="1670424"/>
            <a:ext cx="239570" cy="733668"/>
          </a:xfrm>
          <a:prstGeom prst="curvedConnector3">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96" name="Connecteur en arc 195"/>
          <p:cNvCxnSpPr>
            <a:stCxn id="16" idx="2"/>
            <a:endCxn id="119" idx="1"/>
          </p:cNvCxnSpPr>
          <p:nvPr/>
        </p:nvCxnSpPr>
        <p:spPr>
          <a:xfrm rot="16200000" flipH="1">
            <a:off x="6154830" y="2132242"/>
            <a:ext cx="1544284" cy="1114748"/>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199" name="Connecteur en arc 198"/>
          <p:cNvCxnSpPr>
            <a:stCxn id="16" idx="2"/>
            <a:endCxn id="116" idx="0"/>
          </p:cNvCxnSpPr>
          <p:nvPr/>
        </p:nvCxnSpPr>
        <p:spPr>
          <a:xfrm rot="16200000" flipH="1">
            <a:off x="5560246" y="2726824"/>
            <a:ext cx="1631546" cy="12847"/>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211" name="Rectangle à coins arrondis 210"/>
          <p:cNvSpPr/>
          <p:nvPr/>
        </p:nvSpPr>
        <p:spPr>
          <a:xfrm>
            <a:off x="4025071" y="3996594"/>
            <a:ext cx="968390" cy="388435"/>
          </a:xfrm>
          <a:prstGeom prst="roundRect">
            <a:avLst/>
          </a:prstGeom>
          <a:solidFill>
            <a:srgbClr val="FF9999">
              <a:alpha val="35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Governance </a:t>
            </a:r>
          </a:p>
          <a:p>
            <a:pPr algn="ctr" defTabSz="342884"/>
            <a:r>
              <a:rPr lang="fr-FR" sz="500" dirty="0">
                <a:solidFill>
                  <a:prstClr val="black"/>
                </a:solidFill>
                <a:latin typeface="Calibri" panose="020F0502020204030204"/>
              </a:rPr>
              <a:t>‘Division CSR Division funds in use’</a:t>
            </a:r>
          </a:p>
        </p:txBody>
      </p:sp>
      <p:cxnSp>
        <p:nvCxnSpPr>
          <p:cNvPr id="213" name="Connecteur en arc 212"/>
          <p:cNvCxnSpPr>
            <a:stCxn id="13" idx="2"/>
            <a:endCxn id="211" idx="0"/>
          </p:cNvCxnSpPr>
          <p:nvPr/>
        </p:nvCxnSpPr>
        <p:spPr>
          <a:xfrm rot="16200000" flipH="1">
            <a:off x="3269507" y="2756834"/>
            <a:ext cx="2468025" cy="11493"/>
          </a:xfrm>
          <a:prstGeom prst="curvedConnector3">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251" name="Connecteur en arc 250"/>
          <p:cNvCxnSpPr>
            <a:stCxn id="118" idx="2"/>
            <a:endCxn id="184" idx="3"/>
          </p:cNvCxnSpPr>
          <p:nvPr/>
        </p:nvCxnSpPr>
        <p:spPr>
          <a:xfrm rot="5400000">
            <a:off x="7693023" y="2629173"/>
            <a:ext cx="175830" cy="138904"/>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252" name="Connecteur en arc 251"/>
          <p:cNvCxnSpPr>
            <a:stCxn id="118" idx="2"/>
            <a:endCxn id="185" idx="0"/>
          </p:cNvCxnSpPr>
          <p:nvPr/>
        </p:nvCxnSpPr>
        <p:spPr>
          <a:xfrm rot="16200000" flipH="1">
            <a:off x="7673077" y="2788024"/>
            <a:ext cx="354631" cy="1"/>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255" name="Connecteur en arc 254"/>
          <p:cNvCxnSpPr>
            <a:stCxn id="186" idx="1"/>
            <a:endCxn id="118" idx="2"/>
          </p:cNvCxnSpPr>
          <p:nvPr/>
        </p:nvCxnSpPr>
        <p:spPr>
          <a:xfrm rot="10800000">
            <a:off x="7850393" y="2610708"/>
            <a:ext cx="132085" cy="161896"/>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260" name="Rectangle à coins arrondis 259"/>
          <p:cNvSpPr/>
          <p:nvPr/>
        </p:nvSpPr>
        <p:spPr>
          <a:xfrm>
            <a:off x="4518285" y="4509312"/>
            <a:ext cx="1192061" cy="470728"/>
          </a:xfrm>
          <a:prstGeom prst="roundRect">
            <a:avLst/>
          </a:prstGeom>
          <a:solidFill>
            <a:srgbClr val="FF9999">
              <a:alpha val="35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Funds in use Operational Committee</a:t>
            </a:r>
          </a:p>
          <a:p>
            <a:pPr algn="ctr" defTabSz="342884"/>
            <a:r>
              <a:rPr lang="fr-FR" sz="500" dirty="0">
                <a:solidFill>
                  <a:prstClr val="black"/>
                </a:solidFill>
                <a:latin typeface="Calibri" panose="020F0502020204030204"/>
              </a:rPr>
              <a:t>CSR entity Composed of heads</a:t>
            </a:r>
          </a:p>
        </p:txBody>
      </p:sp>
      <p:sp>
        <p:nvSpPr>
          <p:cNvPr id="261" name="Rectangle à coins arrondis 260"/>
          <p:cNvSpPr/>
          <p:nvPr/>
        </p:nvSpPr>
        <p:spPr>
          <a:xfrm>
            <a:off x="3335132" y="4518249"/>
            <a:ext cx="1138181" cy="461790"/>
          </a:xfrm>
          <a:prstGeom prst="roundRect">
            <a:avLst/>
          </a:prstGeom>
          <a:solidFill>
            <a:srgbClr val="FF9999">
              <a:alpha val="35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Funds in use strategic committee</a:t>
            </a:r>
          </a:p>
          <a:p>
            <a:pPr algn="ctr" defTabSz="342884"/>
            <a:r>
              <a:rPr lang="fr-FR" sz="500" dirty="0">
                <a:solidFill>
                  <a:prstClr val="black"/>
                </a:solidFill>
                <a:latin typeface="Calibri" panose="020F0502020204030204"/>
              </a:rPr>
              <a:t>Composed of Directors/Directors of each business line + Strategy</a:t>
            </a:r>
          </a:p>
        </p:txBody>
      </p:sp>
      <p:cxnSp>
        <p:nvCxnSpPr>
          <p:cNvPr id="263" name="Connecteur en arc 262"/>
          <p:cNvCxnSpPr>
            <a:stCxn id="211" idx="2"/>
            <a:endCxn id="261" idx="0"/>
          </p:cNvCxnSpPr>
          <p:nvPr/>
        </p:nvCxnSpPr>
        <p:spPr>
          <a:xfrm rot="5400000">
            <a:off x="4140132" y="4149119"/>
            <a:ext cx="133222" cy="605043"/>
          </a:xfrm>
          <a:prstGeom prst="curvedConnector3">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266" name="Connecteur en arc 265"/>
          <p:cNvCxnSpPr>
            <a:stCxn id="211" idx="2"/>
            <a:endCxn id="260" idx="0"/>
          </p:cNvCxnSpPr>
          <p:nvPr/>
        </p:nvCxnSpPr>
        <p:spPr>
          <a:xfrm rot="16200000" flipH="1">
            <a:off x="4749647" y="4144644"/>
            <a:ext cx="124284" cy="605050"/>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282" name="Connecteur en arc 281"/>
          <p:cNvCxnSpPr>
            <a:stCxn id="18" idx="0"/>
            <a:endCxn id="15" idx="2"/>
          </p:cNvCxnSpPr>
          <p:nvPr/>
        </p:nvCxnSpPr>
        <p:spPr>
          <a:xfrm rot="5400000" flipH="1" flipV="1">
            <a:off x="1595324" y="1280619"/>
            <a:ext cx="94035" cy="1335413"/>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286" name="Connecteur en arc 285"/>
          <p:cNvCxnSpPr>
            <a:stCxn id="15" idx="2"/>
            <a:endCxn id="54" idx="1"/>
          </p:cNvCxnSpPr>
          <p:nvPr/>
        </p:nvCxnSpPr>
        <p:spPr>
          <a:xfrm rot="16200000" flipH="1">
            <a:off x="2394938" y="1816415"/>
            <a:ext cx="300303" cy="470082"/>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289" name="Connecteur en arc 288"/>
          <p:cNvCxnSpPr>
            <a:cxnSpLocks/>
            <a:stCxn id="15" idx="3"/>
            <a:endCxn id="13" idx="2"/>
          </p:cNvCxnSpPr>
          <p:nvPr/>
        </p:nvCxnSpPr>
        <p:spPr>
          <a:xfrm flipV="1">
            <a:off x="2959592" y="1528569"/>
            <a:ext cx="1538181" cy="211132"/>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292" name="Connecteur en arc 291"/>
          <p:cNvCxnSpPr>
            <a:stCxn id="13" idx="2"/>
            <a:endCxn id="16" idx="1"/>
          </p:cNvCxnSpPr>
          <p:nvPr/>
        </p:nvCxnSpPr>
        <p:spPr>
          <a:xfrm rot="16200000" flipH="1">
            <a:off x="5085109" y="941230"/>
            <a:ext cx="218336" cy="1393010"/>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08" name="Connecteur en arc 307"/>
          <p:cNvCxnSpPr>
            <a:stCxn id="13" idx="0"/>
            <a:endCxn id="10" idx="2"/>
          </p:cNvCxnSpPr>
          <p:nvPr/>
        </p:nvCxnSpPr>
        <p:spPr>
          <a:xfrm rot="16200000" flipV="1">
            <a:off x="4461079" y="1047551"/>
            <a:ext cx="73388" cy="1"/>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16" name="Connecteur en arc 315"/>
          <p:cNvCxnSpPr>
            <a:stCxn id="10" idx="0"/>
            <a:endCxn id="9" idx="2"/>
          </p:cNvCxnSpPr>
          <p:nvPr/>
        </p:nvCxnSpPr>
        <p:spPr>
          <a:xfrm rot="16200000" flipV="1">
            <a:off x="4452810" y="807070"/>
            <a:ext cx="89920" cy="1"/>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41" name="Connecteur en arc 340"/>
          <p:cNvCxnSpPr>
            <a:stCxn id="8" idx="2"/>
            <a:endCxn id="9" idx="0"/>
          </p:cNvCxnSpPr>
          <p:nvPr/>
        </p:nvCxnSpPr>
        <p:spPr>
          <a:xfrm rot="5400000">
            <a:off x="4466330" y="537127"/>
            <a:ext cx="63348" cy="470"/>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20" name="Connecteur en arc 319"/>
          <p:cNvCxnSpPr>
            <a:stCxn id="15" idx="2"/>
            <a:endCxn id="19" idx="3"/>
          </p:cNvCxnSpPr>
          <p:nvPr/>
        </p:nvCxnSpPr>
        <p:spPr>
          <a:xfrm rot="5400000">
            <a:off x="997604" y="2409467"/>
            <a:ext cx="1820607" cy="804282"/>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22" name="Connecteur en arc 421"/>
          <p:cNvCxnSpPr>
            <a:stCxn id="16" idx="2"/>
            <a:endCxn id="118" idx="1"/>
          </p:cNvCxnSpPr>
          <p:nvPr/>
        </p:nvCxnSpPr>
        <p:spPr>
          <a:xfrm rot="16200000" flipH="1">
            <a:off x="6564699" y="1722371"/>
            <a:ext cx="434466" cy="824673"/>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19" name="Rectangle à coins arrondis 18"/>
          <p:cNvSpPr/>
          <p:nvPr/>
        </p:nvSpPr>
        <p:spPr>
          <a:xfrm>
            <a:off x="321158" y="3387834"/>
            <a:ext cx="1184607" cy="668159"/>
          </a:xfrm>
          <a:prstGeom prst="roundRect">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panose="020F0502020204030204"/>
              </a:rPr>
              <a:t>Make energy </a:t>
            </a:r>
            <a:r>
              <a:rPr lang="fr-FR" sz="600" b="1" dirty="0" err="1">
                <a:solidFill>
                  <a:prstClr val="black"/>
                </a:solidFill>
                <a:latin typeface="Calibri" panose="020F0502020204030204"/>
              </a:rPr>
              <a:t>renovation</a:t>
            </a:r>
            <a:r>
              <a:rPr lang="fr-FR" sz="600" b="1" dirty="0">
                <a:solidFill>
                  <a:prstClr val="black"/>
                </a:solidFill>
                <a:latin typeface="Calibri" panose="020F0502020204030204"/>
              </a:rPr>
              <a:t> of </a:t>
            </a:r>
            <a:r>
              <a:rPr lang="fr-FR" sz="600" b="1" dirty="0" err="1">
                <a:solidFill>
                  <a:prstClr val="black"/>
                </a:solidFill>
                <a:latin typeface="Calibri" panose="020F0502020204030204"/>
              </a:rPr>
              <a:t>housing</a:t>
            </a:r>
            <a:r>
              <a:rPr lang="fr-FR" sz="600" b="1" dirty="0">
                <a:solidFill>
                  <a:prstClr val="black"/>
                </a:solidFill>
                <a:latin typeface="Calibri" panose="020F0502020204030204"/>
              </a:rPr>
              <a:t> accessible to the greatest number of people</a:t>
            </a:r>
          </a:p>
          <a:p>
            <a:pPr algn="ctr" defTabSz="342884"/>
            <a:r>
              <a:rPr lang="fr-FR" sz="600" b="1" i="1" dirty="0">
                <a:solidFill>
                  <a:prstClr val="black">
                    <a:lumMod val="65000"/>
                    <a:lumOff val="35000"/>
                  </a:prstClr>
                </a:solidFill>
                <a:latin typeface="Calibri" panose="020F0502020204030204"/>
              </a:rPr>
              <a:t>Target 1 billion € of renovation funding by 2025</a:t>
            </a:r>
          </a:p>
        </p:txBody>
      </p:sp>
      <p:sp>
        <p:nvSpPr>
          <p:cNvPr id="123" name="Organigramme : Connecteur 122"/>
          <p:cNvSpPr/>
          <p:nvPr/>
        </p:nvSpPr>
        <p:spPr>
          <a:xfrm>
            <a:off x="1462875" y="3618938"/>
            <a:ext cx="144000" cy="144000"/>
          </a:xfrm>
          <a:prstGeom prst="flowChartConnector">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2</a:t>
            </a:r>
          </a:p>
        </p:txBody>
      </p:sp>
      <p:sp>
        <p:nvSpPr>
          <p:cNvPr id="127" name="Organigramme : Connecteur 126"/>
          <p:cNvSpPr/>
          <p:nvPr/>
        </p:nvSpPr>
        <p:spPr>
          <a:xfrm>
            <a:off x="2622347" y="3253964"/>
            <a:ext cx="144000" cy="144000"/>
          </a:xfrm>
          <a:prstGeom prst="flowChartConnector">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3</a:t>
            </a:r>
          </a:p>
        </p:txBody>
      </p:sp>
      <p:sp>
        <p:nvSpPr>
          <p:cNvPr id="128" name="Organigramme : Connecteur 127"/>
          <p:cNvSpPr/>
          <p:nvPr/>
        </p:nvSpPr>
        <p:spPr>
          <a:xfrm>
            <a:off x="2702306" y="2126242"/>
            <a:ext cx="144000" cy="144000"/>
          </a:xfrm>
          <a:prstGeom prst="flowChartConnector">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4</a:t>
            </a:r>
          </a:p>
        </p:txBody>
      </p:sp>
      <p:sp>
        <p:nvSpPr>
          <p:cNvPr id="129" name="Organigramme : Connecteur 128"/>
          <p:cNvSpPr/>
          <p:nvPr/>
        </p:nvSpPr>
        <p:spPr>
          <a:xfrm>
            <a:off x="5564394" y="2060883"/>
            <a:ext cx="144000" cy="144000"/>
          </a:xfrm>
          <a:prstGeom prst="flowChartConnector">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1</a:t>
            </a:r>
          </a:p>
        </p:txBody>
      </p:sp>
      <p:sp>
        <p:nvSpPr>
          <p:cNvPr id="130" name="Organigramme : Connecteur 129"/>
          <p:cNvSpPr/>
          <p:nvPr/>
        </p:nvSpPr>
        <p:spPr>
          <a:xfrm>
            <a:off x="6306092" y="3434883"/>
            <a:ext cx="144000" cy="144000"/>
          </a:xfrm>
          <a:prstGeom prst="flowChartConnector">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2</a:t>
            </a:r>
          </a:p>
        </p:txBody>
      </p:sp>
      <p:sp>
        <p:nvSpPr>
          <p:cNvPr id="131" name="Organigramme : Connecteur 130"/>
          <p:cNvSpPr/>
          <p:nvPr/>
        </p:nvSpPr>
        <p:spPr>
          <a:xfrm>
            <a:off x="7418955" y="3370257"/>
            <a:ext cx="144000" cy="144000"/>
          </a:xfrm>
          <a:prstGeom prst="flowChartConnector">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3</a:t>
            </a:r>
          </a:p>
        </p:txBody>
      </p:sp>
      <p:sp>
        <p:nvSpPr>
          <p:cNvPr id="132" name="Organigramme : Connecteur 131"/>
          <p:cNvSpPr/>
          <p:nvPr/>
        </p:nvSpPr>
        <p:spPr>
          <a:xfrm>
            <a:off x="7131960" y="2265987"/>
            <a:ext cx="144000" cy="144000"/>
          </a:xfrm>
          <a:prstGeom prst="flowChartConnector">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4</a:t>
            </a:r>
          </a:p>
        </p:txBody>
      </p:sp>
      <p:sp>
        <p:nvSpPr>
          <p:cNvPr id="189" name="Organigramme : Connecteur 188"/>
          <p:cNvSpPr/>
          <p:nvPr/>
        </p:nvSpPr>
        <p:spPr>
          <a:xfrm>
            <a:off x="2254946" y="1478091"/>
            <a:ext cx="144000" cy="144000"/>
          </a:xfrm>
          <a:prstGeom prst="flowChartConnector">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A</a:t>
            </a:r>
          </a:p>
        </p:txBody>
      </p:sp>
      <p:sp>
        <p:nvSpPr>
          <p:cNvPr id="191" name="Organigramme : Connecteur 190"/>
          <p:cNvSpPr/>
          <p:nvPr/>
        </p:nvSpPr>
        <p:spPr>
          <a:xfrm>
            <a:off x="6378045" y="1504971"/>
            <a:ext cx="99514" cy="99514"/>
          </a:xfrm>
          <a:prstGeom prst="flowChartConnector">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B</a:t>
            </a:r>
          </a:p>
        </p:txBody>
      </p:sp>
      <p:sp>
        <p:nvSpPr>
          <p:cNvPr id="91" name="Rectangle 90"/>
          <p:cNvSpPr/>
          <p:nvPr/>
        </p:nvSpPr>
        <p:spPr>
          <a:xfrm>
            <a:off x="589293" y="155211"/>
            <a:ext cx="2582389" cy="667018"/>
          </a:xfrm>
          <a:prstGeom prst="rect">
            <a:avLst/>
          </a:prstGeom>
          <a:solidFill>
            <a:srgbClr val="359378"/>
          </a:solidFill>
          <a:ln>
            <a:solidFill>
              <a:srgbClr val="3593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1072" b="1" dirty="0">
                <a:solidFill>
                  <a:prstClr val="white"/>
                </a:solidFill>
                <a:latin typeface="Calibri" panose="020F0502020204030204"/>
              </a:rPr>
              <a:t>CSR Stereo</a:t>
            </a:r>
          </a:p>
          <a:p>
            <a:pPr algn="ctr" defTabSz="342884"/>
            <a:r>
              <a:rPr lang="fr-FR" sz="1072" b="1" dirty="0">
                <a:solidFill>
                  <a:prstClr val="white"/>
                </a:solidFill>
                <a:latin typeface="Calibri" panose="020F0502020204030204"/>
              </a:rPr>
              <a:t>FUNDS IN USE STRATEGY 2022-2025</a:t>
            </a:r>
          </a:p>
        </p:txBody>
      </p:sp>
      <p:cxnSp>
        <p:nvCxnSpPr>
          <p:cNvPr id="221" name="Connecteur en arc 220"/>
          <p:cNvCxnSpPr>
            <a:stCxn id="19" idx="2"/>
            <a:endCxn id="45" idx="3"/>
          </p:cNvCxnSpPr>
          <p:nvPr/>
        </p:nvCxnSpPr>
        <p:spPr>
          <a:xfrm rot="5400000">
            <a:off x="769612" y="4094251"/>
            <a:ext cx="182111" cy="105595"/>
          </a:xfrm>
          <a:prstGeom prst="curvedConnector2">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288" name="Rectangle à coins arrondis 287"/>
          <p:cNvSpPr/>
          <p:nvPr/>
        </p:nvSpPr>
        <p:spPr>
          <a:xfrm>
            <a:off x="1020707" y="4120325"/>
            <a:ext cx="591877" cy="217470"/>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600" b="1" dirty="0">
                <a:solidFill>
                  <a:prstClr val="black"/>
                </a:solidFill>
                <a:latin typeface="Calibri Light" panose="020F0302020204030204" pitchFamily="34" charset="0"/>
                <a:cs typeface="Calibri Light" panose="020F0302020204030204" pitchFamily="34" charset="0"/>
              </a:rPr>
              <a:t>Condominiums. </a:t>
            </a:r>
          </a:p>
        </p:txBody>
      </p:sp>
      <p:cxnSp>
        <p:nvCxnSpPr>
          <p:cNvPr id="99" name="Connecteur en arc 98"/>
          <p:cNvCxnSpPr>
            <a:stCxn id="9" idx="3"/>
            <a:endCxn id="102" idx="1"/>
          </p:cNvCxnSpPr>
          <p:nvPr/>
        </p:nvCxnSpPr>
        <p:spPr>
          <a:xfrm>
            <a:off x="5079591" y="665574"/>
            <a:ext cx="852796" cy="7271"/>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102" name="Rectangle à coins arrondis 101"/>
          <p:cNvSpPr/>
          <p:nvPr/>
        </p:nvSpPr>
        <p:spPr>
          <a:xfrm>
            <a:off x="5953248" y="145300"/>
            <a:ext cx="2430874" cy="1131259"/>
          </a:xfrm>
          <a:prstGeom prst="roundRect">
            <a:avLst/>
          </a:prstGeom>
          <a:solidFill>
            <a:schemeClr val="bg1">
              <a:lumMod val="85000"/>
              <a:alpha val="2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2884"/>
            <a:r>
              <a:rPr lang="fr-FR" sz="600" b="1" dirty="0">
                <a:solidFill>
                  <a:prstClr val="black"/>
                </a:solidFill>
                <a:latin typeface="Calibri" panose="020F0502020204030204"/>
              </a:rPr>
              <a:t>CACF For GOOD / Four COMMITMENTS</a:t>
            </a:r>
          </a:p>
          <a:p>
            <a:pPr marL="171442" indent="-171442" defTabSz="342884">
              <a:buFont typeface="+mj-lt"/>
              <a:buAutoNum type="arabicPeriod"/>
            </a:pPr>
            <a:r>
              <a:rPr lang="fr-FR" sz="600" dirty="0">
                <a:solidFill>
                  <a:prstClr val="black"/>
                </a:solidFill>
                <a:latin typeface="Calibri" panose="020F0502020204030204"/>
              </a:rPr>
              <a:t>Accompany all our customers in every moment of life in full transparency and ethics by observing their choices</a:t>
            </a:r>
          </a:p>
          <a:p>
            <a:pPr marL="171442" indent="-171442" defTabSz="342884">
              <a:buFont typeface="+mj-lt"/>
              <a:buAutoNum type="arabicPeriod"/>
            </a:pPr>
            <a:r>
              <a:rPr lang="fr-FR" sz="600" dirty="0">
                <a:solidFill>
                  <a:prstClr val="black"/>
                </a:solidFill>
                <a:latin typeface="Calibri" panose="020F0502020204030204"/>
              </a:rPr>
              <a:t>Accelerate social and energy transitions by providing positive impact solutions</a:t>
            </a:r>
          </a:p>
          <a:p>
            <a:pPr marL="171442" indent="-171442" defTabSz="342884">
              <a:buFont typeface="+mj-lt"/>
              <a:buAutoNum type="arabicPeriod"/>
            </a:pPr>
            <a:r>
              <a:rPr lang="fr-FR" sz="600" dirty="0">
                <a:solidFill>
                  <a:prstClr val="black"/>
                </a:solidFill>
                <a:latin typeface="Calibri" panose="020F0502020204030204"/>
              </a:rPr>
              <a:t>Offer each of our customers and partners modern solutions by innovating in our offerings and tools and by remaining attentive to society </a:t>
            </a:r>
          </a:p>
          <a:p>
            <a:pPr marL="171442" indent="-171442" defTabSz="342884">
              <a:buFont typeface="+mj-lt"/>
              <a:buAutoNum type="arabicPeriod"/>
            </a:pPr>
            <a:r>
              <a:rPr lang="fr-FR" sz="600" dirty="0">
                <a:solidFill>
                  <a:prstClr val="black"/>
                </a:solidFill>
                <a:latin typeface="Calibri" panose="020F0502020204030204"/>
              </a:rPr>
              <a:t>Enable each of our </a:t>
            </a:r>
            <a:r>
              <a:rPr lang="fr-FR" sz="600" dirty="0" err="1">
                <a:solidFill>
                  <a:prstClr val="black"/>
                </a:solidFill>
                <a:latin typeface="Calibri" panose="020F0502020204030204"/>
              </a:rPr>
              <a:t>employees</a:t>
            </a:r>
            <a:r>
              <a:rPr lang="fr-FR" sz="600" dirty="0">
                <a:solidFill>
                  <a:prstClr val="black"/>
                </a:solidFill>
                <a:latin typeface="Calibri" panose="020F0502020204030204"/>
              </a:rPr>
              <a:t> to achieve their professional potential in the service of customers and society </a:t>
            </a:r>
          </a:p>
          <a:p>
            <a:pPr marL="171442" indent="-171442" defTabSz="342884">
              <a:buFont typeface="+mj-lt"/>
              <a:buAutoNum type="arabicPeriod"/>
            </a:pPr>
            <a:endParaRPr lang="fr-FR" sz="600" dirty="0">
              <a:solidFill>
                <a:prstClr val="black"/>
              </a:solidFill>
              <a:latin typeface="Calibri" panose="020F0502020204030204"/>
            </a:endParaRPr>
          </a:p>
        </p:txBody>
      </p:sp>
      <p:sp>
        <p:nvSpPr>
          <p:cNvPr id="234" name="Organigramme : Connecteur 233"/>
          <p:cNvSpPr/>
          <p:nvPr/>
        </p:nvSpPr>
        <p:spPr>
          <a:xfrm>
            <a:off x="895797" y="1889079"/>
            <a:ext cx="144000" cy="144000"/>
          </a:xfrm>
          <a:prstGeom prst="flowChartConnector">
            <a:avLst/>
          </a:prstGeom>
          <a:solidFill>
            <a:schemeClr val="accent5">
              <a:lumMod val="20000"/>
              <a:lumOff val="8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r>
              <a:rPr lang="fr-FR" sz="800" b="1" dirty="0">
                <a:solidFill>
                  <a:prstClr val="black"/>
                </a:solidFill>
                <a:latin typeface="Calibri" panose="020F0502020204030204"/>
              </a:rPr>
              <a:t>1</a:t>
            </a:r>
          </a:p>
        </p:txBody>
      </p:sp>
      <p:cxnSp>
        <p:nvCxnSpPr>
          <p:cNvPr id="103" name="Connecteur en arc 102"/>
          <p:cNvCxnSpPr>
            <a:stCxn id="15" idx="2"/>
            <a:endCxn id="106" idx="0"/>
          </p:cNvCxnSpPr>
          <p:nvPr/>
        </p:nvCxnSpPr>
        <p:spPr>
          <a:xfrm rot="16200000" flipH="1">
            <a:off x="1179502" y="3031853"/>
            <a:ext cx="2271020" cy="9927"/>
          </a:xfrm>
          <a:prstGeom prst="curvedConnector3">
            <a:avLst>
              <a:gd name="adj1" fmla="val 50000"/>
            </a:avLst>
          </a:prstGeom>
          <a:ln w="952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106" name="Rectangle à coins arrondis 105"/>
          <p:cNvSpPr/>
          <p:nvPr/>
        </p:nvSpPr>
        <p:spPr>
          <a:xfrm>
            <a:off x="1745528" y="4172325"/>
            <a:ext cx="1148895" cy="468330"/>
          </a:xfrm>
          <a:prstGeom prst="roundRect">
            <a:avLst/>
          </a:prstGeom>
          <a:solidFill>
            <a:srgbClr val="D6E7DE"/>
          </a:solidFill>
          <a:ln w="9525">
            <a:solidFill>
              <a:srgbClr val="5E9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84"/>
            <a:endParaRPr lang="fr-FR" sz="500" b="1" dirty="0">
              <a:solidFill>
                <a:prstClr val="black"/>
              </a:solidFill>
              <a:latin typeface="Calibri" panose="020F0502020204030204"/>
            </a:endParaRPr>
          </a:p>
          <a:p>
            <a:pPr algn="ctr" defTabSz="342884"/>
            <a:r>
              <a:rPr lang="fr-FR" sz="500" b="1" dirty="0">
                <a:solidFill>
                  <a:prstClr val="black"/>
                </a:solidFill>
                <a:latin typeface="Calibri" panose="020F0502020204030204"/>
              </a:rPr>
              <a:t>Reliability of data on green finance </a:t>
            </a:r>
          </a:p>
        </p:txBody>
      </p:sp>
      <p:sp>
        <p:nvSpPr>
          <p:cNvPr id="98" name="Rectangle 97"/>
          <p:cNvSpPr/>
          <p:nvPr/>
        </p:nvSpPr>
        <p:spPr>
          <a:xfrm>
            <a:off x="8738991" y="4830596"/>
            <a:ext cx="312906" cy="230832"/>
          </a:xfrm>
          <a:prstGeom prst="rect">
            <a:avLst/>
          </a:prstGeom>
        </p:spPr>
        <p:txBody>
          <a:bodyPr wrap="none">
            <a:spAutoFit/>
          </a:bodyPr>
          <a:lstStyle/>
          <a:p>
            <a:pPr defTabSz="457189"/>
            <a:r>
              <a:rPr lang="fr-FR" sz="900" b="1" dirty="0">
                <a:solidFill>
                  <a:prstClr val="white"/>
                </a:solidFill>
                <a:latin typeface="Arial"/>
              </a:rPr>
              <a:t>66</a:t>
            </a:r>
          </a:p>
        </p:txBody>
      </p:sp>
    </p:spTree>
    <p:extLst>
      <p:ext uri="{BB962C8B-B14F-4D97-AF65-F5344CB8AC3E}">
        <p14:creationId xmlns:p14="http://schemas.microsoft.com/office/powerpoint/2010/main" val="5686259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p>
            <a:pPr defTabSz="457189"/>
            <a:r>
              <a:rPr lang="fr-FR">
                <a:solidFill>
                  <a:srgbClr val="006448">
                    <a:alpha val="0"/>
                  </a:srgbClr>
                </a:solidFill>
                <a:latin typeface="Arial"/>
              </a:rPr>
              <a:t>26/11/2021</a:t>
            </a:r>
            <a:endParaRPr lang="fr-FR" dirty="0">
              <a:solidFill>
                <a:srgbClr val="006448">
                  <a:alpha val="0"/>
                </a:srgbClr>
              </a:solidFill>
              <a:latin typeface="Arial"/>
            </a:endParaRPr>
          </a:p>
        </p:txBody>
      </p:sp>
      <p:sp>
        <p:nvSpPr>
          <p:cNvPr id="6" name="Espace réservé du numéro de diapositive 5"/>
          <p:cNvSpPr>
            <a:spLocks noGrp="1"/>
          </p:cNvSpPr>
          <p:nvPr>
            <p:ph type="sldNum" sz="quarter" idx="12"/>
          </p:nvPr>
        </p:nvSpPr>
        <p:spPr bwMode="gray"/>
        <p:txBody>
          <a:bodyPr/>
          <a:lstStyle/>
          <a:p>
            <a:pPr defTabSz="457189"/>
            <a:fld id="{65571E2A-2AE4-4AE9-A5FF-468BE27EC277}" type="slidenum">
              <a:rPr lang="fr-FR">
                <a:solidFill>
                  <a:srgbClr val="006448">
                    <a:alpha val="0"/>
                  </a:srgbClr>
                </a:solidFill>
                <a:latin typeface="Avenir Next LT Pro"/>
              </a:rPr>
              <a:pPr defTabSz="457189"/>
              <a:t>76</a:t>
            </a:fld>
            <a:endParaRPr lang="fr-FR">
              <a:solidFill>
                <a:srgbClr val="006448">
                  <a:alpha val="0"/>
                </a:srgbClr>
              </a:solidFill>
              <a:latin typeface="Avenir Next LT Pro"/>
            </a:endParaRPr>
          </a:p>
        </p:txBody>
      </p:sp>
    </p:spTree>
    <p:extLst>
      <p:ext uri="{BB962C8B-B14F-4D97-AF65-F5344CB8AC3E}">
        <p14:creationId xmlns:p14="http://schemas.microsoft.com/office/powerpoint/2010/main" val="35051985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p:cNvSpPr>
            <a:spLocks noGrp="1"/>
          </p:cNvSpPr>
          <p:nvPr>
            <p:ph type="title"/>
          </p:nvPr>
        </p:nvSpPr>
        <p:spPr>
          <a:xfrm>
            <a:off x="517608" y="173626"/>
            <a:ext cx="7997742" cy="824594"/>
          </a:xfrm>
        </p:spPr>
        <p:txBody>
          <a:bodyPr/>
          <a:lstStyle/>
          <a:p>
            <a:r>
              <a:rPr lang="fr-FR" dirty="0">
                <a:solidFill>
                  <a:prstClr val="black"/>
                </a:solidFill>
              </a:rPr>
              <a:t>CACF Group</a:t>
            </a:r>
            <a:br>
              <a:rPr lang="fr-FR" dirty="0">
                <a:solidFill>
                  <a:prstClr val="black"/>
                </a:solidFill>
              </a:rPr>
            </a:br>
            <a:r>
              <a:rPr lang="fr-FR" sz="1400" dirty="0">
                <a:solidFill>
                  <a:prstClr val="white">
                    <a:lumMod val="50000"/>
                  </a:prstClr>
                </a:solidFill>
              </a:rPr>
              <a:t>Key group figures 2019 – 2023 (1/3)</a:t>
            </a:r>
            <a:endParaRPr lang="en-US" sz="1200" dirty="0">
              <a:solidFill>
                <a:srgbClr val="FF0000"/>
              </a:solidFill>
            </a:endParaRPr>
          </a:p>
        </p:txBody>
      </p:sp>
      <p:sp>
        <p:nvSpPr>
          <p:cNvPr id="6" name="Rectangle 5"/>
          <p:cNvSpPr/>
          <p:nvPr/>
        </p:nvSpPr>
        <p:spPr>
          <a:xfrm>
            <a:off x="634911" y="1095756"/>
            <a:ext cx="2504655"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defRPr/>
            </a:pPr>
            <a:r>
              <a:rPr lang="fr-FR" sz="1050" b="1" kern="0" noProof="1">
                <a:solidFill>
                  <a:prstClr val="white"/>
                </a:solidFill>
                <a:latin typeface="Arial" panose="020B0604020202020204" pitchFamily="34" charset="0"/>
                <a:cs typeface="Arial" panose="020B0604020202020204" pitchFamily="34" charset="0"/>
              </a:rPr>
              <a:t>NET BANKING INCOME (€b)</a:t>
            </a:r>
          </a:p>
        </p:txBody>
      </p:sp>
      <p:sp>
        <p:nvSpPr>
          <p:cNvPr id="7" name="Rectangle 6"/>
          <p:cNvSpPr/>
          <p:nvPr/>
        </p:nvSpPr>
        <p:spPr>
          <a:xfrm>
            <a:off x="634909" y="1750236"/>
            <a:ext cx="2504657"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defRPr/>
            </a:pPr>
            <a:r>
              <a:rPr lang="fr-FR" sz="1050" b="1" kern="0" noProof="1">
                <a:solidFill>
                  <a:prstClr val="white"/>
                </a:solidFill>
                <a:latin typeface="Arial"/>
                <a:cs typeface="Arial" panose="020B0604020202020204" pitchFamily="34" charset="0"/>
              </a:rPr>
              <a:t>NET INCOME GROUP SHARE (€m)</a:t>
            </a:r>
          </a:p>
        </p:txBody>
      </p:sp>
      <p:sp>
        <p:nvSpPr>
          <p:cNvPr id="8" name="Rectangle 7"/>
          <p:cNvSpPr/>
          <p:nvPr/>
        </p:nvSpPr>
        <p:spPr>
          <a:xfrm>
            <a:off x="634909" y="2424993"/>
            <a:ext cx="2504657"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defRPr/>
            </a:pPr>
            <a:r>
              <a:rPr lang="fr-FR" sz="1050" b="1" kern="0" noProof="1">
                <a:solidFill>
                  <a:prstClr val="white"/>
                </a:solidFill>
                <a:latin typeface="Arial"/>
                <a:cs typeface="Arial" panose="020B0604020202020204" pitchFamily="34" charset="0"/>
              </a:rPr>
              <a:t>RETURN ON NORMALISED EQUITY</a:t>
            </a:r>
          </a:p>
        </p:txBody>
      </p:sp>
      <p:sp>
        <p:nvSpPr>
          <p:cNvPr id="17" name="Rectangle 16"/>
          <p:cNvSpPr/>
          <p:nvPr/>
        </p:nvSpPr>
        <p:spPr>
          <a:xfrm>
            <a:off x="194678" y="3241676"/>
            <a:ext cx="8320672" cy="1483943"/>
          </a:xfrm>
          <a:prstGeom prst="rect">
            <a:avLst/>
          </a:prstGeom>
          <a:noFill/>
          <a:ln w="19050" cap="flat" cmpd="sng" algn="ctr">
            <a:noFill/>
            <a:prstDash val="solid"/>
          </a:ln>
          <a:effectLst/>
        </p:spPr>
        <p:txBody>
          <a:bodyPr anchor="ctr"/>
          <a:lstStyle/>
          <a:p>
            <a:pPr marL="128588" lvl="2" indent="-128588" defTabSz="457189">
              <a:lnSpc>
                <a:spcPct val="117000"/>
              </a:lnSpc>
              <a:spcBef>
                <a:spcPts val="600"/>
              </a:spcBef>
              <a:spcAft>
                <a:spcPts val="1200"/>
              </a:spcAft>
              <a:buClr>
                <a:srgbClr val="009B5F"/>
              </a:buClr>
              <a:buSzPct val="133000"/>
              <a:buFont typeface="Wingdings" panose="05000000000000000000" pitchFamily="2" charset="2"/>
              <a:buChar char="§"/>
              <a:tabLst>
                <a:tab pos="803255" algn="l"/>
              </a:tabLst>
              <a:defRPr/>
            </a:pPr>
            <a:r>
              <a:rPr lang="en-US" sz="1000" dirty="0">
                <a:solidFill>
                  <a:prstClr val="black"/>
                </a:solidFill>
              </a:rPr>
              <a:t>2020 figures were strongly impacted by the COVID crisis. 2021 and 2022 figures translate a catch-up effect and good dynamic in the consumer market</a:t>
            </a:r>
          </a:p>
          <a:p>
            <a:pPr marL="128588" lvl="2" indent="-128588" defTabSz="457189">
              <a:lnSpc>
                <a:spcPct val="117000"/>
              </a:lnSpc>
              <a:spcBef>
                <a:spcPts val="600"/>
              </a:spcBef>
              <a:spcAft>
                <a:spcPts val="1200"/>
              </a:spcAft>
              <a:buClr>
                <a:srgbClr val="009B5F"/>
              </a:buClr>
              <a:buSzPct val="133000"/>
              <a:buFont typeface="Wingdings" panose="05000000000000000000" pitchFamily="2" charset="2"/>
              <a:buChar char="§"/>
              <a:tabLst>
                <a:tab pos="803255" algn="l"/>
              </a:tabLst>
              <a:defRPr/>
            </a:pPr>
            <a:r>
              <a:rPr lang="en-US" sz="1000" dirty="0">
                <a:solidFill>
                  <a:prstClr val="black"/>
                </a:solidFill>
              </a:rPr>
              <a:t>Net banking income ("NBI") increased by 0,5€b in 2023 in YoY. On the same period the net income (group share of CACF Group) increased by 63€m to reach 675€m</a:t>
            </a:r>
          </a:p>
          <a:p>
            <a:pPr marL="128588" lvl="2" indent="-128588" defTabSz="457189">
              <a:lnSpc>
                <a:spcPct val="117000"/>
              </a:lnSpc>
              <a:spcBef>
                <a:spcPts val="600"/>
              </a:spcBef>
              <a:spcAft>
                <a:spcPts val="1200"/>
              </a:spcAft>
              <a:buClr>
                <a:srgbClr val="009B5F"/>
              </a:buClr>
              <a:buSzPct val="133000"/>
              <a:buFont typeface="Wingdings" panose="05000000000000000000" pitchFamily="2" charset="2"/>
              <a:buChar char="§"/>
              <a:tabLst>
                <a:tab pos="803255" algn="l"/>
              </a:tabLst>
              <a:defRPr/>
            </a:pPr>
            <a:r>
              <a:rPr lang="en-US" sz="1000" dirty="0">
                <a:solidFill>
                  <a:prstClr val="black"/>
                </a:solidFill>
              </a:rPr>
              <a:t>In 2023, the Group profitability decreased with a </a:t>
            </a:r>
            <a:r>
              <a:rPr lang="en-US" sz="1000" dirty="0" err="1">
                <a:solidFill>
                  <a:prstClr val="black"/>
                </a:solidFill>
              </a:rPr>
              <a:t>RoNE</a:t>
            </a:r>
            <a:r>
              <a:rPr lang="en-US" sz="1000" dirty="0">
                <a:solidFill>
                  <a:prstClr val="black"/>
                </a:solidFill>
              </a:rPr>
              <a:t> of 13,9% due to the margin compression (increase of costs production) and increase of customer rate.</a:t>
            </a:r>
          </a:p>
        </p:txBody>
      </p:sp>
      <p:sp>
        <p:nvSpPr>
          <p:cNvPr id="18" name="Rectangle 17"/>
          <p:cNvSpPr/>
          <p:nvPr/>
        </p:nvSpPr>
        <p:spPr>
          <a:xfrm>
            <a:off x="3332326" y="1117811"/>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2.1</a:t>
            </a:r>
          </a:p>
        </p:txBody>
      </p:sp>
      <p:sp>
        <p:nvSpPr>
          <p:cNvPr id="19" name="Rectangle 18"/>
          <p:cNvSpPr/>
          <p:nvPr/>
        </p:nvSpPr>
        <p:spPr>
          <a:xfrm>
            <a:off x="3332326" y="1777307"/>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659</a:t>
            </a:r>
          </a:p>
        </p:txBody>
      </p:sp>
      <p:sp>
        <p:nvSpPr>
          <p:cNvPr id="20" name="Rectangle 19"/>
          <p:cNvSpPr/>
          <p:nvPr/>
        </p:nvSpPr>
        <p:spPr>
          <a:xfrm>
            <a:off x="3344740" y="2432837"/>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17.4%</a:t>
            </a:r>
          </a:p>
        </p:txBody>
      </p:sp>
      <p:sp>
        <p:nvSpPr>
          <p:cNvPr id="21" name="Rectangle 20"/>
          <p:cNvSpPr/>
          <p:nvPr/>
        </p:nvSpPr>
        <p:spPr>
          <a:xfrm>
            <a:off x="3211404" y="698421"/>
            <a:ext cx="1017230" cy="397335"/>
          </a:xfrm>
          <a:prstGeom prst="rect">
            <a:avLst/>
          </a:prstGeom>
          <a:noFill/>
          <a:ln w="9525" cap="flat" cmpd="sng" algn="ctr">
            <a:noFill/>
            <a:prstDash val="solid"/>
          </a:ln>
          <a:effectLst/>
        </p:spPr>
        <p:txBody>
          <a:bodyPr rot="0" spcFirstLastPara="0" vertOverflow="overflow" horzOverflow="overflow" vert="horz" wrap="square" lIns="0" tIns="91439" rIns="0" bIns="91439" numCol="1" spcCol="0" rtlCol="0" fromWordArt="0" anchor="b" anchorCtr="0" forceAA="0" compatLnSpc="1">
            <a:prstTxWarp prst="textNoShape">
              <a:avLst/>
            </a:prstTxWarp>
            <a:noAutofit/>
          </a:bodyPr>
          <a:lstStyle/>
          <a:p>
            <a:pPr algn="ctr" defTabSz="914378" fontAlgn="base">
              <a:spcBef>
                <a:spcPct val="0"/>
              </a:spcBef>
              <a:spcAft>
                <a:spcPct val="0"/>
              </a:spcAft>
              <a:defRPr/>
            </a:pPr>
            <a:r>
              <a:rPr lang="fr-FR" sz="1100" b="1" kern="0" noProof="1">
                <a:solidFill>
                  <a:prstClr val="black"/>
                </a:solidFill>
                <a:latin typeface="Arial"/>
                <a:cs typeface="Arial" panose="020B0604020202020204" pitchFamily="34" charset="0"/>
              </a:rPr>
              <a:t>2019</a:t>
            </a:r>
          </a:p>
        </p:txBody>
      </p:sp>
      <p:sp>
        <p:nvSpPr>
          <p:cNvPr id="22" name="Rectangle 21"/>
          <p:cNvSpPr/>
          <p:nvPr/>
        </p:nvSpPr>
        <p:spPr>
          <a:xfrm>
            <a:off x="4253722" y="1117811"/>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2.0</a:t>
            </a:r>
          </a:p>
        </p:txBody>
      </p:sp>
      <p:sp>
        <p:nvSpPr>
          <p:cNvPr id="23" name="Rectangle 22"/>
          <p:cNvSpPr/>
          <p:nvPr/>
        </p:nvSpPr>
        <p:spPr>
          <a:xfrm>
            <a:off x="4253722" y="1781801"/>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517</a:t>
            </a:r>
          </a:p>
        </p:txBody>
      </p:sp>
      <p:sp>
        <p:nvSpPr>
          <p:cNvPr id="24" name="Rectangle 23"/>
          <p:cNvSpPr/>
          <p:nvPr/>
        </p:nvSpPr>
        <p:spPr>
          <a:xfrm>
            <a:off x="4267852" y="2430695"/>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13.5%</a:t>
            </a:r>
          </a:p>
        </p:txBody>
      </p:sp>
      <p:sp>
        <p:nvSpPr>
          <p:cNvPr id="25" name="Rectangle 24"/>
          <p:cNvSpPr/>
          <p:nvPr/>
        </p:nvSpPr>
        <p:spPr>
          <a:xfrm>
            <a:off x="4075815" y="698421"/>
            <a:ext cx="1017230" cy="397335"/>
          </a:xfrm>
          <a:prstGeom prst="rect">
            <a:avLst/>
          </a:prstGeom>
          <a:noFill/>
          <a:ln w="9525" cap="flat" cmpd="sng" algn="ctr">
            <a:noFill/>
            <a:prstDash val="solid"/>
          </a:ln>
          <a:effectLst/>
        </p:spPr>
        <p:txBody>
          <a:bodyPr rot="0" spcFirstLastPara="0" vertOverflow="overflow" horzOverflow="overflow" vert="horz" wrap="square" lIns="0" tIns="91439" rIns="0" bIns="91439" numCol="1" spcCol="0" rtlCol="0" fromWordArt="0" anchor="b" anchorCtr="0" forceAA="0" compatLnSpc="1">
            <a:prstTxWarp prst="textNoShape">
              <a:avLst/>
            </a:prstTxWarp>
            <a:noAutofit/>
          </a:bodyPr>
          <a:lstStyle/>
          <a:p>
            <a:pPr algn="ctr" defTabSz="914378" fontAlgn="base">
              <a:spcBef>
                <a:spcPct val="0"/>
              </a:spcBef>
              <a:spcAft>
                <a:spcPct val="0"/>
              </a:spcAft>
              <a:defRPr/>
            </a:pPr>
            <a:r>
              <a:rPr lang="fr-FR" sz="1100" b="1" kern="0" noProof="1">
                <a:solidFill>
                  <a:prstClr val="black"/>
                </a:solidFill>
                <a:latin typeface="Arial"/>
                <a:cs typeface="Arial" panose="020B0604020202020204" pitchFamily="34" charset="0"/>
              </a:rPr>
              <a:t>2020</a:t>
            </a:r>
          </a:p>
        </p:txBody>
      </p:sp>
      <p:sp>
        <p:nvSpPr>
          <p:cNvPr id="26" name="Rectangle 25"/>
          <p:cNvSpPr/>
          <p:nvPr/>
        </p:nvSpPr>
        <p:spPr>
          <a:xfrm>
            <a:off x="5175118" y="1101008"/>
            <a:ext cx="706468" cy="530002"/>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2.1</a:t>
            </a:r>
          </a:p>
        </p:txBody>
      </p:sp>
      <p:sp>
        <p:nvSpPr>
          <p:cNvPr id="27" name="Rectangle 26"/>
          <p:cNvSpPr/>
          <p:nvPr/>
        </p:nvSpPr>
        <p:spPr>
          <a:xfrm>
            <a:off x="5175118" y="1785305"/>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608</a:t>
            </a:r>
          </a:p>
        </p:txBody>
      </p:sp>
      <p:sp>
        <p:nvSpPr>
          <p:cNvPr id="28" name="Rectangle 27"/>
          <p:cNvSpPr/>
          <p:nvPr/>
        </p:nvSpPr>
        <p:spPr>
          <a:xfrm>
            <a:off x="5190964" y="2430203"/>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16.8%</a:t>
            </a:r>
          </a:p>
        </p:txBody>
      </p:sp>
      <p:sp>
        <p:nvSpPr>
          <p:cNvPr id="29" name="Rectangle 28"/>
          <p:cNvSpPr/>
          <p:nvPr/>
        </p:nvSpPr>
        <p:spPr>
          <a:xfrm>
            <a:off x="4961951" y="698421"/>
            <a:ext cx="1092856" cy="397335"/>
          </a:xfrm>
          <a:prstGeom prst="rect">
            <a:avLst/>
          </a:prstGeom>
          <a:noFill/>
          <a:ln w="9525" cap="flat" cmpd="sng" algn="ctr">
            <a:noFill/>
            <a:prstDash val="solid"/>
          </a:ln>
          <a:effectLst/>
        </p:spPr>
        <p:txBody>
          <a:bodyPr rot="0" spcFirstLastPara="0" vertOverflow="overflow" horzOverflow="overflow" vert="horz" wrap="square" lIns="0" tIns="91439" rIns="0" bIns="91439" numCol="1" spcCol="0" rtlCol="0" fromWordArt="0" anchor="b" anchorCtr="0" forceAA="0" compatLnSpc="1">
            <a:prstTxWarp prst="textNoShape">
              <a:avLst/>
            </a:prstTxWarp>
            <a:noAutofit/>
          </a:bodyPr>
          <a:lstStyle/>
          <a:p>
            <a:pPr algn="ctr" defTabSz="914378" fontAlgn="base">
              <a:spcBef>
                <a:spcPct val="0"/>
              </a:spcBef>
              <a:spcAft>
                <a:spcPct val="0"/>
              </a:spcAft>
              <a:defRPr/>
            </a:pPr>
            <a:r>
              <a:rPr lang="fr-FR" sz="1100" b="1" kern="0" noProof="1">
                <a:solidFill>
                  <a:prstClr val="black"/>
                </a:solidFill>
                <a:latin typeface="Arial"/>
                <a:cs typeface="Arial" panose="020B0604020202020204" pitchFamily="34" charset="0"/>
              </a:rPr>
              <a:t>2021</a:t>
            </a:r>
          </a:p>
        </p:txBody>
      </p:sp>
      <p:sp>
        <p:nvSpPr>
          <p:cNvPr id="39" name="Slide Number Placeholder 3"/>
          <p:cNvSpPr>
            <a:spLocks noGrp="1"/>
          </p:cNvSpPr>
          <p:nvPr>
            <p:ph type="sldNum" sz="quarter" idx="4294967295"/>
          </p:nvPr>
        </p:nvSpPr>
        <p:spPr>
          <a:xfrm>
            <a:off x="8607600" y="4846822"/>
            <a:ext cx="525046" cy="296679"/>
          </a:xfrm>
        </p:spPr>
        <p:txBody>
          <a:bodyPr/>
          <a:lstStyle/>
          <a:p>
            <a:pPr defTabSz="457189"/>
            <a:fld id="{98BD2159-827C-4021-9B0E-DCD852BEB59E}" type="slidenum">
              <a:rPr lang="en-GB">
                <a:solidFill>
                  <a:prstClr val="white"/>
                </a:solidFill>
                <a:latin typeface="Avenir Next LT Pro"/>
              </a:rPr>
              <a:pPr defTabSz="457189"/>
              <a:t>8</a:t>
            </a:fld>
            <a:endParaRPr lang="en-GB" dirty="0">
              <a:solidFill>
                <a:prstClr val="white"/>
              </a:solidFill>
              <a:latin typeface="Avenir Next LT Pro"/>
            </a:endParaRPr>
          </a:p>
        </p:txBody>
      </p:sp>
      <p:sp>
        <p:nvSpPr>
          <p:cNvPr id="34" name="Rectangle 33"/>
          <p:cNvSpPr/>
          <p:nvPr/>
        </p:nvSpPr>
        <p:spPr>
          <a:xfrm>
            <a:off x="6086110" y="1117770"/>
            <a:ext cx="706468" cy="506158"/>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2.1</a:t>
            </a:r>
          </a:p>
        </p:txBody>
      </p:sp>
      <p:sp>
        <p:nvSpPr>
          <p:cNvPr id="36" name="Rectangle 35"/>
          <p:cNvSpPr/>
          <p:nvPr/>
        </p:nvSpPr>
        <p:spPr>
          <a:xfrm>
            <a:off x="6086110" y="1785375"/>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612</a:t>
            </a:r>
          </a:p>
        </p:txBody>
      </p:sp>
      <p:sp>
        <p:nvSpPr>
          <p:cNvPr id="37" name="Rectangle 36"/>
          <p:cNvSpPr/>
          <p:nvPr/>
        </p:nvSpPr>
        <p:spPr>
          <a:xfrm>
            <a:off x="6103673" y="2430273"/>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16.0%</a:t>
            </a:r>
          </a:p>
        </p:txBody>
      </p:sp>
      <p:sp>
        <p:nvSpPr>
          <p:cNvPr id="38" name="Rectangle 37"/>
          <p:cNvSpPr/>
          <p:nvPr/>
        </p:nvSpPr>
        <p:spPr>
          <a:xfrm>
            <a:off x="5855002" y="703663"/>
            <a:ext cx="1092856" cy="397335"/>
          </a:xfrm>
          <a:prstGeom prst="rect">
            <a:avLst/>
          </a:prstGeom>
          <a:noFill/>
          <a:ln w="9525" cap="flat" cmpd="sng" algn="ctr">
            <a:noFill/>
            <a:prstDash val="solid"/>
          </a:ln>
          <a:effectLst/>
        </p:spPr>
        <p:txBody>
          <a:bodyPr rot="0" spcFirstLastPara="0" vertOverflow="overflow" horzOverflow="overflow" vert="horz" wrap="square" lIns="0" tIns="91439" rIns="0" bIns="91439" numCol="1" spcCol="0" rtlCol="0" fromWordArt="0" anchor="b" anchorCtr="0" forceAA="0" compatLnSpc="1">
            <a:prstTxWarp prst="textNoShape">
              <a:avLst/>
            </a:prstTxWarp>
            <a:noAutofit/>
          </a:bodyPr>
          <a:lstStyle/>
          <a:p>
            <a:pPr algn="ctr" defTabSz="914378" fontAlgn="base">
              <a:spcBef>
                <a:spcPct val="0"/>
              </a:spcBef>
              <a:spcAft>
                <a:spcPct val="0"/>
              </a:spcAft>
              <a:defRPr/>
            </a:pPr>
            <a:r>
              <a:rPr lang="fr-FR" sz="1100" b="1" kern="0" noProof="1">
                <a:solidFill>
                  <a:prstClr val="black"/>
                </a:solidFill>
                <a:latin typeface="Arial"/>
                <a:cs typeface="Arial" panose="020B0604020202020204" pitchFamily="34" charset="0"/>
              </a:rPr>
              <a:t>2022</a:t>
            </a:r>
          </a:p>
        </p:txBody>
      </p:sp>
      <p:sp>
        <p:nvSpPr>
          <p:cNvPr id="31" name="Rectangle 30">
            <a:extLst>
              <a:ext uri="{FF2B5EF4-FFF2-40B4-BE49-F238E27FC236}">
                <a16:creationId xmlns:a16="http://schemas.microsoft.com/office/drawing/2014/main" id="{03C1CA96-9A8D-4416-BB23-A52ACABAFB23}"/>
              </a:ext>
            </a:extLst>
          </p:cNvPr>
          <p:cNvSpPr/>
          <p:nvPr/>
        </p:nvSpPr>
        <p:spPr>
          <a:xfrm>
            <a:off x="6947858" y="1124852"/>
            <a:ext cx="706468" cy="506158"/>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2,6</a:t>
            </a:r>
          </a:p>
        </p:txBody>
      </p:sp>
      <p:sp>
        <p:nvSpPr>
          <p:cNvPr id="32" name="Rectangle 31">
            <a:extLst>
              <a:ext uri="{FF2B5EF4-FFF2-40B4-BE49-F238E27FC236}">
                <a16:creationId xmlns:a16="http://schemas.microsoft.com/office/drawing/2014/main" id="{2E5045BA-622F-498B-90AF-B8A5403B8E6C}"/>
              </a:ext>
            </a:extLst>
          </p:cNvPr>
          <p:cNvSpPr/>
          <p:nvPr/>
        </p:nvSpPr>
        <p:spPr>
          <a:xfrm>
            <a:off x="6955173" y="1792457"/>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675</a:t>
            </a:r>
          </a:p>
        </p:txBody>
      </p:sp>
      <p:sp>
        <p:nvSpPr>
          <p:cNvPr id="33" name="Rectangle 32">
            <a:extLst>
              <a:ext uri="{FF2B5EF4-FFF2-40B4-BE49-F238E27FC236}">
                <a16:creationId xmlns:a16="http://schemas.microsoft.com/office/drawing/2014/main" id="{94BBE669-B534-4A89-AB45-02C7780822AB}"/>
              </a:ext>
            </a:extLst>
          </p:cNvPr>
          <p:cNvSpPr/>
          <p:nvPr/>
        </p:nvSpPr>
        <p:spPr>
          <a:xfrm>
            <a:off x="6965421" y="2437355"/>
            <a:ext cx="706468" cy="496396"/>
          </a:xfrm>
          <a:prstGeom prst="rect">
            <a:avLst/>
          </a:prstGeom>
          <a:solidFill>
            <a:srgbClr val="006A4E"/>
          </a:solidFill>
          <a:ln w="9525" cap="flat" cmpd="sng" algn="ctr">
            <a:noFill/>
            <a:prstDash val="solid"/>
          </a:ln>
          <a:effectLst/>
        </p:spPr>
        <p:txBody>
          <a:bodyPr rot="0" spcFirstLastPara="0" vertOverflow="overflow" horzOverflow="overflow" vert="horz" wrap="square" lIns="0" tIns="91439" rIns="0" bIns="91439" numCol="1" spcCol="0" rtlCol="0" fromWordArt="0" anchor="ctr" anchorCtr="0" forceAA="0" compatLnSpc="1">
            <a:prstTxWarp prst="textNoShape">
              <a:avLst/>
            </a:prstTxWarp>
            <a:noAutofit/>
          </a:bodyPr>
          <a:lstStyle/>
          <a:p>
            <a:pPr algn="ctr" defTabSz="457189" fontAlgn="base">
              <a:spcBef>
                <a:spcPct val="0"/>
              </a:spcBef>
              <a:spcAft>
                <a:spcPct val="0"/>
              </a:spcAft>
            </a:pPr>
            <a:r>
              <a:rPr lang="fr-FR" sz="1050" b="1" kern="0" noProof="1">
                <a:solidFill>
                  <a:prstClr val="white"/>
                </a:solidFill>
                <a:latin typeface="Arial"/>
                <a:cs typeface="Arial" panose="020B0604020202020204" pitchFamily="34" charset="0"/>
              </a:rPr>
              <a:t>13,9%</a:t>
            </a:r>
          </a:p>
        </p:txBody>
      </p:sp>
      <p:sp>
        <p:nvSpPr>
          <p:cNvPr id="40" name="Rectangle 39">
            <a:extLst>
              <a:ext uri="{FF2B5EF4-FFF2-40B4-BE49-F238E27FC236}">
                <a16:creationId xmlns:a16="http://schemas.microsoft.com/office/drawing/2014/main" id="{2E9E4970-2E51-4F07-B759-333A5D35C6AC}"/>
              </a:ext>
            </a:extLst>
          </p:cNvPr>
          <p:cNvSpPr/>
          <p:nvPr/>
        </p:nvSpPr>
        <p:spPr>
          <a:xfrm>
            <a:off x="6748053" y="698421"/>
            <a:ext cx="1092856" cy="397335"/>
          </a:xfrm>
          <a:prstGeom prst="rect">
            <a:avLst/>
          </a:prstGeom>
          <a:noFill/>
          <a:ln w="9525" cap="flat" cmpd="sng" algn="ctr">
            <a:noFill/>
            <a:prstDash val="solid"/>
          </a:ln>
          <a:effectLst/>
        </p:spPr>
        <p:txBody>
          <a:bodyPr rot="0" spcFirstLastPara="0" vertOverflow="overflow" horzOverflow="overflow" vert="horz" wrap="square" lIns="0" tIns="91439" rIns="0" bIns="91439" numCol="1" spcCol="0" rtlCol="0" fromWordArt="0" anchor="b" anchorCtr="0" forceAA="0" compatLnSpc="1">
            <a:prstTxWarp prst="textNoShape">
              <a:avLst/>
            </a:prstTxWarp>
            <a:noAutofit/>
          </a:bodyPr>
          <a:lstStyle/>
          <a:p>
            <a:pPr algn="ctr" defTabSz="914378" fontAlgn="base">
              <a:spcBef>
                <a:spcPct val="0"/>
              </a:spcBef>
              <a:spcAft>
                <a:spcPct val="0"/>
              </a:spcAft>
              <a:defRPr/>
            </a:pPr>
            <a:r>
              <a:rPr lang="fr-FR" sz="1100" b="1" kern="0" noProof="1">
                <a:solidFill>
                  <a:prstClr val="black"/>
                </a:solidFill>
                <a:latin typeface="Arial"/>
                <a:cs typeface="Arial" panose="020B0604020202020204" pitchFamily="34" charset="0"/>
              </a:rPr>
              <a:t>2023</a:t>
            </a:r>
          </a:p>
        </p:txBody>
      </p:sp>
    </p:spTree>
    <p:extLst>
      <p:ext uri="{BB962C8B-B14F-4D97-AF65-F5344CB8AC3E}">
        <p14:creationId xmlns:p14="http://schemas.microsoft.com/office/powerpoint/2010/main" val="25847038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69757" y="1403758"/>
            <a:ext cx="1221678" cy="2341677"/>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sz="1350">
              <a:solidFill>
                <a:prstClr val="white"/>
              </a:solidFill>
              <a:latin typeface="Arial"/>
            </a:endParaRPr>
          </a:p>
        </p:txBody>
      </p:sp>
      <p:sp>
        <p:nvSpPr>
          <p:cNvPr id="38" name="Rectangle 10"/>
          <p:cNvSpPr>
            <a:spLocks noChangeArrowheads="1"/>
          </p:cNvSpPr>
          <p:nvPr/>
        </p:nvSpPr>
        <p:spPr bwMode="gray">
          <a:xfrm>
            <a:off x="669016" y="685260"/>
            <a:ext cx="3986159" cy="253372"/>
          </a:xfrm>
          <a:prstGeom prst="rect">
            <a:avLst/>
          </a:prstGeom>
          <a:noFill/>
          <a:ln>
            <a:noFill/>
          </a:ln>
        </p:spPr>
        <p:txBody>
          <a:bodyPr anchor="ctr"/>
          <a:lstStyle/>
          <a:p>
            <a:pPr algn="ctr" defTabSz="457189" eaLnBrk="0" hangingPunct="0"/>
            <a:r>
              <a:rPr lang="fr-FR" altLang="fr-FR" sz="1000" b="1" dirty="0" err="1">
                <a:solidFill>
                  <a:prstClr val="black"/>
                </a:solidFill>
                <a:latin typeface="Arial" pitchFamily="34" charset="0"/>
                <a:ea typeface="MS PGothic" pitchFamily="34" charset="-128"/>
                <a:cs typeface="Arial" pitchFamily="34" charset="0"/>
              </a:rPr>
              <a:t>Managed</a:t>
            </a:r>
            <a:r>
              <a:rPr lang="fr-FR" altLang="fr-FR" sz="1000" b="1" dirty="0">
                <a:solidFill>
                  <a:prstClr val="black"/>
                </a:solidFill>
                <a:latin typeface="Arial" pitchFamily="34" charset="0"/>
                <a:ea typeface="MS PGothic" pitchFamily="34" charset="-128"/>
                <a:cs typeface="Arial" pitchFamily="34" charset="0"/>
              </a:rPr>
              <a:t> </a:t>
            </a:r>
            <a:r>
              <a:rPr lang="fr-FR" altLang="fr-FR" sz="1000" b="1" dirty="0" err="1">
                <a:solidFill>
                  <a:prstClr val="black"/>
                </a:solidFill>
                <a:latin typeface="Arial" pitchFamily="34" charset="0"/>
                <a:ea typeface="MS PGothic" pitchFamily="34" charset="-128"/>
                <a:cs typeface="Arial" pitchFamily="34" charset="0"/>
              </a:rPr>
              <a:t>Outstandings</a:t>
            </a:r>
            <a:r>
              <a:rPr lang="fr-FR" altLang="fr-FR" sz="1000" b="1" dirty="0">
                <a:solidFill>
                  <a:prstClr val="black"/>
                </a:solidFill>
                <a:latin typeface="Arial" pitchFamily="34" charset="0"/>
                <a:ea typeface="MS PGothic" pitchFamily="34" charset="-128"/>
                <a:cs typeface="Arial" pitchFamily="34" charset="0"/>
              </a:rPr>
              <a:t> (in €m) </a:t>
            </a:r>
          </a:p>
        </p:txBody>
      </p:sp>
      <p:sp>
        <p:nvSpPr>
          <p:cNvPr id="39" name="Rectangle 10"/>
          <p:cNvSpPr>
            <a:spLocks noChangeArrowheads="1"/>
          </p:cNvSpPr>
          <p:nvPr/>
        </p:nvSpPr>
        <p:spPr bwMode="gray">
          <a:xfrm>
            <a:off x="5225797" y="700044"/>
            <a:ext cx="2928371" cy="248777"/>
          </a:xfrm>
          <a:prstGeom prst="rect">
            <a:avLst/>
          </a:prstGeom>
          <a:noFill/>
          <a:ln>
            <a:noFill/>
          </a:ln>
        </p:spPr>
        <p:txBody>
          <a:bodyPr anchor="ctr"/>
          <a:lstStyle/>
          <a:p>
            <a:pPr algn="ctr" defTabSz="457189" eaLnBrk="0" hangingPunct="0"/>
            <a:r>
              <a:rPr lang="fr-FR" altLang="fr-FR" sz="1000" b="1" dirty="0" err="1">
                <a:solidFill>
                  <a:prstClr val="black"/>
                </a:solidFill>
                <a:latin typeface="Arial" pitchFamily="34" charset="0"/>
                <a:ea typeface="MS PGothic" pitchFamily="34" charset="-128"/>
                <a:cs typeface="Arial" pitchFamily="34" charset="0"/>
              </a:rPr>
              <a:t>Consolidated</a:t>
            </a:r>
            <a:r>
              <a:rPr lang="fr-FR" altLang="fr-FR" sz="1000" b="1" dirty="0">
                <a:solidFill>
                  <a:prstClr val="black"/>
                </a:solidFill>
                <a:latin typeface="Arial" pitchFamily="34" charset="0"/>
                <a:ea typeface="MS PGothic" pitchFamily="34" charset="-128"/>
                <a:cs typeface="Arial" pitchFamily="34" charset="0"/>
              </a:rPr>
              <a:t> </a:t>
            </a:r>
            <a:r>
              <a:rPr lang="fr-FR" altLang="fr-FR" sz="1000" b="1" dirty="0" err="1">
                <a:solidFill>
                  <a:prstClr val="black"/>
                </a:solidFill>
                <a:latin typeface="Arial" pitchFamily="34" charset="0"/>
                <a:ea typeface="MS PGothic" pitchFamily="34" charset="-128"/>
                <a:cs typeface="Arial" pitchFamily="34" charset="0"/>
              </a:rPr>
              <a:t>Outstandings</a:t>
            </a:r>
            <a:r>
              <a:rPr lang="fr-FR" altLang="fr-FR" sz="1000" b="1" dirty="0">
                <a:solidFill>
                  <a:prstClr val="black"/>
                </a:solidFill>
                <a:latin typeface="Arial" pitchFamily="34" charset="0"/>
                <a:ea typeface="MS PGothic" pitchFamily="34" charset="-128"/>
                <a:cs typeface="Arial" pitchFamily="34" charset="0"/>
              </a:rPr>
              <a:t> (in €m)</a:t>
            </a:r>
          </a:p>
        </p:txBody>
      </p:sp>
      <p:sp>
        <p:nvSpPr>
          <p:cNvPr id="40" name="Rectangle 39"/>
          <p:cNvSpPr/>
          <p:nvPr/>
        </p:nvSpPr>
        <p:spPr>
          <a:xfrm>
            <a:off x="514429" y="3859456"/>
            <a:ext cx="4032730" cy="880265"/>
          </a:xfrm>
          <a:prstGeom prst="rect">
            <a:avLst/>
          </a:prstGeom>
          <a:noFill/>
          <a:ln w="19050" cap="flat" cmpd="sng" algn="ctr">
            <a:noFill/>
            <a:prstDash val="solid"/>
          </a:ln>
          <a:effectLst/>
        </p:spPr>
        <p:txBody>
          <a:bodyPr anchor="t"/>
          <a:lstStyle/>
          <a:p>
            <a:pPr marL="180000" lvl="3" indent="-171446" algn="just" defTabSz="457189" eaLnBrk="0" hangingPunct="0">
              <a:spcAft>
                <a:spcPts val="1200"/>
              </a:spcAft>
              <a:buClr>
                <a:srgbClr val="009B5F"/>
              </a:buClr>
              <a:buSzPct val="133000"/>
              <a:buFont typeface="Wingdings" panose="05000000000000000000" pitchFamily="2" charset="2"/>
              <a:buChar char="§"/>
              <a:defRPr/>
            </a:pPr>
            <a:r>
              <a:rPr lang="en-US" sz="900" kern="0" dirty="0">
                <a:solidFill>
                  <a:prstClr val="black"/>
                </a:solidFill>
                <a:latin typeface="Arial"/>
              </a:rPr>
              <a:t>CACF Group managed </a:t>
            </a:r>
            <a:r>
              <a:rPr lang="en-US" sz="900" kern="0" dirty="0" err="1">
                <a:solidFill>
                  <a:prstClr val="black"/>
                </a:solidFill>
                <a:latin typeface="Arial"/>
              </a:rPr>
              <a:t>outstandings</a:t>
            </a:r>
            <a:r>
              <a:rPr lang="en-US" sz="900" kern="0" dirty="0">
                <a:solidFill>
                  <a:prstClr val="black"/>
                </a:solidFill>
                <a:latin typeface="Arial"/>
              </a:rPr>
              <a:t> reached 113€b in 2023, increasing of 9.7% in comparison to 2022.</a:t>
            </a:r>
          </a:p>
          <a:p>
            <a:pPr marL="180000" lvl="3" indent="-171446" algn="just" defTabSz="457189" eaLnBrk="0" hangingPunct="0">
              <a:spcAft>
                <a:spcPts val="1200"/>
              </a:spcAft>
              <a:buClr>
                <a:srgbClr val="009B5F"/>
              </a:buClr>
              <a:buSzPct val="133000"/>
              <a:buFont typeface="Wingdings" panose="05000000000000000000" pitchFamily="2" charset="2"/>
              <a:buChar char="§"/>
              <a:defRPr/>
            </a:pPr>
            <a:r>
              <a:rPr lang="en-GB" sz="900" dirty="0">
                <a:solidFill>
                  <a:prstClr val="black"/>
                </a:solidFill>
                <a:latin typeface="Arial" panose="020B0604020202020204" pitchFamily="34" charset="0"/>
                <a:ea typeface="MS PGothic" pitchFamily="34" charset="-128"/>
                <a:cs typeface="Arial" panose="020B0604020202020204" pitchFamily="34" charset="0"/>
              </a:rPr>
              <a:t>6.2€b increase for International Auto partners up to 44.7€b in 2023 compared to 38.5€b in 2022.</a:t>
            </a:r>
          </a:p>
        </p:txBody>
      </p:sp>
      <p:sp>
        <p:nvSpPr>
          <p:cNvPr id="41" name="Rectangle 40"/>
          <p:cNvSpPr/>
          <p:nvPr/>
        </p:nvSpPr>
        <p:spPr>
          <a:xfrm>
            <a:off x="4688459" y="3763888"/>
            <a:ext cx="3983277" cy="1149357"/>
          </a:xfrm>
          <a:prstGeom prst="rect">
            <a:avLst/>
          </a:prstGeom>
          <a:noFill/>
          <a:ln w="19050" cap="flat" cmpd="sng" algn="ctr">
            <a:noFill/>
            <a:prstDash val="solid"/>
          </a:ln>
          <a:effectLst/>
        </p:spPr>
        <p:txBody>
          <a:bodyPr anchor="t"/>
          <a:lstStyle/>
          <a:p>
            <a:pPr marL="180000" lvl="3" indent="-171446" algn="just" defTabSz="457189" eaLnBrk="0" hangingPunct="0">
              <a:buClr>
                <a:srgbClr val="009B5F"/>
              </a:buClr>
              <a:buSzPct val="133000"/>
              <a:buFont typeface="Wingdings" panose="05000000000000000000" pitchFamily="2" charset="2"/>
              <a:buChar char="§"/>
              <a:defRPr/>
            </a:pPr>
            <a:r>
              <a:rPr lang="en-US" sz="900" kern="0" dirty="0">
                <a:solidFill>
                  <a:prstClr val="black"/>
                </a:solidFill>
                <a:latin typeface="Arial"/>
              </a:rPr>
              <a:t>CACF Group consolidated outstanding decreased in 2020 to 33.2€b in comparison to 2019 due to the COVID crisis</a:t>
            </a:r>
          </a:p>
          <a:p>
            <a:pPr marL="8554" lvl="3" algn="just" defTabSz="457189" eaLnBrk="0" hangingPunct="0">
              <a:buClr>
                <a:srgbClr val="009B5F"/>
              </a:buClr>
              <a:buSzPct val="133000"/>
              <a:defRPr/>
            </a:pPr>
            <a:endParaRPr lang="en-US" sz="900" kern="0" dirty="0">
              <a:solidFill>
                <a:prstClr val="black"/>
              </a:solidFill>
              <a:latin typeface="Arial"/>
            </a:endParaRPr>
          </a:p>
          <a:p>
            <a:pPr marL="180000" lvl="3" indent="-171446" algn="just" defTabSz="457189" eaLnBrk="0" hangingPunct="0">
              <a:buClr>
                <a:srgbClr val="009B5F"/>
              </a:buClr>
              <a:buSzPct val="133000"/>
              <a:buFont typeface="Wingdings" panose="05000000000000000000" pitchFamily="2" charset="2"/>
              <a:buChar char="§"/>
              <a:defRPr/>
            </a:pPr>
            <a:r>
              <a:rPr lang="en-US" sz="900" kern="0" dirty="0">
                <a:solidFill>
                  <a:prstClr val="black"/>
                </a:solidFill>
                <a:latin typeface="Arial"/>
              </a:rPr>
              <a:t>Catch-up effect seen in 2021 and 2022 with strong activity mainly thanks to the performance of international business units</a:t>
            </a:r>
          </a:p>
          <a:p>
            <a:pPr marL="8554" lvl="3" algn="just" defTabSz="457189" eaLnBrk="0" hangingPunct="0">
              <a:buClr>
                <a:srgbClr val="009B5F"/>
              </a:buClr>
              <a:buSzPct val="133000"/>
              <a:defRPr/>
            </a:pPr>
            <a:endParaRPr lang="en-US" sz="900" kern="0" dirty="0">
              <a:solidFill>
                <a:prstClr val="black"/>
              </a:solidFill>
              <a:highlight>
                <a:srgbClr val="FFFF00"/>
              </a:highlight>
              <a:latin typeface="Arial"/>
            </a:endParaRPr>
          </a:p>
          <a:p>
            <a:pPr marL="180000" lvl="3" indent="-171446" algn="just" defTabSz="457189" eaLnBrk="0" hangingPunct="0">
              <a:buClr>
                <a:srgbClr val="009B5F"/>
              </a:buClr>
              <a:buSzPct val="133000"/>
              <a:buFont typeface="Wingdings" panose="05000000000000000000" pitchFamily="2" charset="2"/>
              <a:buChar char="§"/>
              <a:defRPr/>
            </a:pPr>
            <a:r>
              <a:rPr lang="en-US" sz="900" kern="0" dirty="0">
                <a:solidFill>
                  <a:prstClr val="black"/>
                </a:solidFill>
                <a:latin typeface="Arial"/>
              </a:rPr>
              <a:t>In 2023, a drastic increase of 27,8€b thanks mainly to consolidation by full integration of CA Auto Bank (25,2€b)</a:t>
            </a:r>
            <a:endParaRPr lang="en-US" sz="900" kern="0" dirty="0">
              <a:solidFill>
                <a:prstClr val="black"/>
              </a:solidFill>
              <a:highlight>
                <a:srgbClr val="FFFF00"/>
              </a:highlight>
              <a:latin typeface="Arial"/>
            </a:endParaRPr>
          </a:p>
          <a:p>
            <a:pPr marL="8554" lvl="3" algn="just" defTabSz="457189" eaLnBrk="0" hangingPunct="0">
              <a:buClr>
                <a:srgbClr val="009B5F"/>
              </a:buClr>
              <a:buSzPct val="133000"/>
              <a:defRPr/>
            </a:pPr>
            <a:endParaRPr lang="en-US" sz="800" kern="0" dirty="0">
              <a:solidFill>
                <a:prstClr val="black"/>
              </a:solidFill>
              <a:latin typeface="Arial"/>
            </a:endParaRPr>
          </a:p>
        </p:txBody>
      </p:sp>
      <p:sp>
        <p:nvSpPr>
          <p:cNvPr id="49" name="Text Box 12"/>
          <p:cNvSpPr txBox="1">
            <a:spLocks noChangeArrowheads="1"/>
          </p:cNvSpPr>
          <p:nvPr/>
        </p:nvSpPr>
        <p:spPr bwMode="gray">
          <a:xfrm>
            <a:off x="5308274" y="2332371"/>
            <a:ext cx="828969"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800" b="1" dirty="0">
                <a:solidFill>
                  <a:prstClr val="white">
                    <a:lumMod val="50000"/>
                  </a:prstClr>
                </a:solidFill>
              </a:rPr>
              <a:t>34,815</a:t>
            </a:r>
          </a:p>
        </p:txBody>
      </p:sp>
      <p:sp>
        <p:nvSpPr>
          <p:cNvPr id="50" name="Text Box 12"/>
          <p:cNvSpPr txBox="1">
            <a:spLocks noChangeArrowheads="1"/>
          </p:cNvSpPr>
          <p:nvPr/>
        </p:nvSpPr>
        <p:spPr bwMode="gray">
          <a:xfrm>
            <a:off x="5832594" y="2347563"/>
            <a:ext cx="828969"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800" b="1" dirty="0">
                <a:solidFill>
                  <a:prstClr val="white">
                    <a:lumMod val="50000"/>
                  </a:prstClr>
                </a:solidFill>
              </a:rPr>
              <a:t>33,164</a:t>
            </a:r>
          </a:p>
        </p:txBody>
      </p:sp>
      <p:sp>
        <p:nvSpPr>
          <p:cNvPr id="51" name="Text Box 12"/>
          <p:cNvSpPr txBox="1">
            <a:spLocks noChangeArrowheads="1"/>
          </p:cNvSpPr>
          <p:nvPr/>
        </p:nvSpPr>
        <p:spPr bwMode="gray">
          <a:xfrm>
            <a:off x="6370185" y="2271201"/>
            <a:ext cx="828969"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800" b="1" dirty="0">
                <a:solidFill>
                  <a:prstClr val="white">
                    <a:lumMod val="50000"/>
                  </a:prstClr>
                </a:solidFill>
              </a:rPr>
              <a:t>35,877</a:t>
            </a:r>
          </a:p>
        </p:txBody>
      </p:sp>
      <p:sp>
        <p:nvSpPr>
          <p:cNvPr id="53" name="Text Box 12"/>
          <p:cNvSpPr txBox="1">
            <a:spLocks noChangeArrowheads="1"/>
          </p:cNvSpPr>
          <p:nvPr/>
        </p:nvSpPr>
        <p:spPr bwMode="gray">
          <a:xfrm>
            <a:off x="7441105" y="1391383"/>
            <a:ext cx="828969"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800" b="1" dirty="0">
                <a:solidFill>
                  <a:prstClr val="white">
                    <a:lumMod val="50000"/>
                  </a:prstClr>
                </a:solidFill>
              </a:rPr>
              <a:t>66,842</a:t>
            </a:r>
          </a:p>
        </p:txBody>
      </p:sp>
      <p:sp>
        <p:nvSpPr>
          <p:cNvPr id="24" name="Text Box 12"/>
          <p:cNvSpPr txBox="1">
            <a:spLocks noChangeArrowheads="1"/>
          </p:cNvSpPr>
          <p:nvPr/>
        </p:nvSpPr>
        <p:spPr bwMode="gray">
          <a:xfrm>
            <a:off x="6920101" y="2173294"/>
            <a:ext cx="828969"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800" b="1" dirty="0">
                <a:solidFill>
                  <a:prstClr val="white">
                    <a:lumMod val="50000"/>
                  </a:prstClr>
                </a:solidFill>
              </a:rPr>
              <a:t>39,070</a:t>
            </a:r>
          </a:p>
        </p:txBody>
      </p:sp>
      <p:sp>
        <p:nvSpPr>
          <p:cNvPr id="26" name="Rectangle 25"/>
          <p:cNvSpPr/>
          <p:nvPr/>
        </p:nvSpPr>
        <p:spPr>
          <a:xfrm>
            <a:off x="7110191" y="1372232"/>
            <a:ext cx="1043599" cy="2407779"/>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sz="1350">
              <a:solidFill>
                <a:prstClr val="white"/>
              </a:solidFill>
              <a:latin typeface="Arial"/>
            </a:endParaRPr>
          </a:p>
        </p:txBody>
      </p:sp>
      <p:sp>
        <p:nvSpPr>
          <p:cNvPr id="28" name="Title 2"/>
          <p:cNvSpPr>
            <a:spLocks noGrp="1"/>
          </p:cNvSpPr>
          <p:nvPr>
            <p:ph type="title"/>
          </p:nvPr>
        </p:nvSpPr>
        <p:spPr>
          <a:xfrm>
            <a:off x="454351" y="176506"/>
            <a:ext cx="7997742" cy="824594"/>
          </a:xfrm>
        </p:spPr>
        <p:txBody>
          <a:bodyPr/>
          <a:lstStyle/>
          <a:p>
            <a:r>
              <a:rPr lang="fr-FR" dirty="0">
                <a:solidFill>
                  <a:prstClr val="black"/>
                </a:solidFill>
              </a:rPr>
              <a:t>CACF Group</a:t>
            </a:r>
            <a:br>
              <a:rPr lang="fr-FR" dirty="0">
                <a:solidFill>
                  <a:prstClr val="black"/>
                </a:solidFill>
              </a:rPr>
            </a:br>
            <a:r>
              <a:rPr lang="fr-FR" sz="1400" dirty="0">
                <a:solidFill>
                  <a:prstClr val="white">
                    <a:lumMod val="50000"/>
                  </a:prstClr>
                </a:solidFill>
              </a:rPr>
              <a:t>Key group figures 2019 – 2023 (2/3)</a:t>
            </a:r>
            <a:endParaRPr lang="en-US" sz="1200" dirty="0">
              <a:solidFill>
                <a:srgbClr val="FF0000"/>
              </a:solidFill>
            </a:endParaRPr>
          </a:p>
        </p:txBody>
      </p:sp>
      <p:sp>
        <p:nvSpPr>
          <p:cNvPr id="31" name="Slide Number Placeholder 3"/>
          <p:cNvSpPr>
            <a:spLocks noGrp="1"/>
          </p:cNvSpPr>
          <p:nvPr>
            <p:ph type="sldNum" sz="quarter" idx="19"/>
          </p:nvPr>
        </p:nvSpPr>
        <p:spPr>
          <a:xfrm>
            <a:off x="8618954" y="4839127"/>
            <a:ext cx="525046" cy="304373"/>
          </a:xfrm>
        </p:spPr>
        <p:txBody>
          <a:bodyPr>
            <a:normAutofit/>
          </a:bodyPr>
          <a:lstStyle/>
          <a:p>
            <a:pPr algn="ctr" defTabSz="457189"/>
            <a:fld id="{98BD2159-827C-4021-9B0E-DCD852BEB59E}" type="slidenum">
              <a:rPr lang="en-GB" sz="900">
                <a:solidFill>
                  <a:prstClr val="white"/>
                </a:solidFill>
                <a:latin typeface="Avenir Next LT Pro"/>
              </a:rPr>
              <a:pPr algn="ctr" defTabSz="457189"/>
              <a:t>9</a:t>
            </a:fld>
            <a:endParaRPr lang="en-GB" sz="900" dirty="0">
              <a:solidFill>
                <a:prstClr val="white"/>
              </a:solidFill>
              <a:latin typeface="Avenir Next LT Pro"/>
            </a:endParaRPr>
          </a:p>
        </p:txBody>
      </p:sp>
      <p:graphicFrame>
        <p:nvGraphicFramePr>
          <p:cNvPr id="23" name="Graphique 22">
            <a:extLst>
              <a:ext uri="{FF2B5EF4-FFF2-40B4-BE49-F238E27FC236}">
                <a16:creationId xmlns:a16="http://schemas.microsoft.com/office/drawing/2014/main" id="{247D4610-1E1D-4D92-B7A8-E4021F5A8421}"/>
              </a:ext>
            </a:extLst>
          </p:cNvPr>
          <p:cNvGraphicFramePr>
            <a:graphicFrameLocks/>
          </p:cNvGraphicFramePr>
          <p:nvPr>
            <p:extLst>
              <p:ext uri="{D42A27DB-BD31-4B8C-83A1-F6EECF244321}">
                <p14:modId xmlns:p14="http://schemas.microsoft.com/office/powerpoint/2010/main" val="98923492"/>
              </p:ext>
            </p:extLst>
          </p:nvPr>
        </p:nvGraphicFramePr>
        <p:xfrm>
          <a:off x="936085" y="890570"/>
          <a:ext cx="3439428" cy="2883601"/>
        </p:xfrm>
        <a:graphic>
          <a:graphicData uri="http://schemas.openxmlformats.org/drawingml/2006/chart">
            <c:chart xmlns:c="http://schemas.openxmlformats.org/drawingml/2006/chart" xmlns:r="http://schemas.openxmlformats.org/officeDocument/2006/relationships" r:id="rId2"/>
          </a:graphicData>
        </a:graphic>
      </p:graphicFrame>
      <p:sp>
        <p:nvSpPr>
          <p:cNvPr id="27" name="Text Box 12">
            <a:extLst>
              <a:ext uri="{FF2B5EF4-FFF2-40B4-BE49-F238E27FC236}">
                <a16:creationId xmlns:a16="http://schemas.microsoft.com/office/drawing/2014/main" id="{E92C3096-2355-449D-BE66-B3DCB1034751}"/>
              </a:ext>
            </a:extLst>
          </p:cNvPr>
          <p:cNvSpPr txBox="1">
            <a:spLocks noChangeArrowheads="1"/>
          </p:cNvSpPr>
          <p:nvPr/>
        </p:nvSpPr>
        <p:spPr bwMode="gray">
          <a:xfrm>
            <a:off x="1675506" y="1802186"/>
            <a:ext cx="740338"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36000" rIns="0" bIns="36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eaLnBrk="0" hangingPunct="0">
              <a:spcBef>
                <a:spcPct val="50000"/>
              </a:spcBef>
            </a:pPr>
            <a:r>
              <a:rPr lang="fr-FR" altLang="fr-FR" sz="800" b="1" dirty="0">
                <a:solidFill>
                  <a:prstClr val="white">
                    <a:lumMod val="50000"/>
                  </a:prstClr>
                </a:solidFill>
              </a:rPr>
              <a:t>90,857</a:t>
            </a:r>
          </a:p>
        </p:txBody>
      </p:sp>
      <p:sp>
        <p:nvSpPr>
          <p:cNvPr id="29" name="Text Box 12">
            <a:extLst>
              <a:ext uri="{FF2B5EF4-FFF2-40B4-BE49-F238E27FC236}">
                <a16:creationId xmlns:a16="http://schemas.microsoft.com/office/drawing/2014/main" id="{7A191339-E076-4AB0-BFB8-B51050655301}"/>
              </a:ext>
            </a:extLst>
          </p:cNvPr>
          <p:cNvSpPr txBox="1">
            <a:spLocks noChangeArrowheads="1"/>
          </p:cNvSpPr>
          <p:nvPr/>
        </p:nvSpPr>
        <p:spPr bwMode="gray">
          <a:xfrm>
            <a:off x="2291927" y="1796614"/>
            <a:ext cx="740338"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36000" rIns="0" bIns="36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eaLnBrk="0" hangingPunct="0">
              <a:spcBef>
                <a:spcPct val="50000"/>
              </a:spcBef>
            </a:pPr>
            <a:r>
              <a:rPr lang="fr-FR" altLang="fr-FR" sz="800" b="1" dirty="0">
                <a:solidFill>
                  <a:prstClr val="white">
                    <a:lumMod val="50000"/>
                  </a:prstClr>
                </a:solidFill>
              </a:rPr>
              <a:t>92,515</a:t>
            </a:r>
          </a:p>
        </p:txBody>
      </p:sp>
      <p:sp>
        <p:nvSpPr>
          <p:cNvPr id="30" name="Text Box 12">
            <a:extLst>
              <a:ext uri="{FF2B5EF4-FFF2-40B4-BE49-F238E27FC236}">
                <a16:creationId xmlns:a16="http://schemas.microsoft.com/office/drawing/2014/main" id="{47DBF1AC-B6FC-4E29-A813-E34872E449BD}"/>
              </a:ext>
            </a:extLst>
          </p:cNvPr>
          <p:cNvSpPr txBox="1">
            <a:spLocks noChangeArrowheads="1"/>
          </p:cNvSpPr>
          <p:nvPr/>
        </p:nvSpPr>
        <p:spPr bwMode="gray">
          <a:xfrm>
            <a:off x="2737681" y="1618869"/>
            <a:ext cx="953017"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800" b="1" dirty="0">
                <a:solidFill>
                  <a:prstClr val="white">
                    <a:lumMod val="50000"/>
                  </a:prstClr>
                </a:solidFill>
              </a:rPr>
              <a:t>103,023</a:t>
            </a:r>
          </a:p>
        </p:txBody>
      </p:sp>
      <p:sp>
        <p:nvSpPr>
          <p:cNvPr id="32" name="Text Box 12">
            <a:extLst>
              <a:ext uri="{FF2B5EF4-FFF2-40B4-BE49-F238E27FC236}">
                <a16:creationId xmlns:a16="http://schemas.microsoft.com/office/drawing/2014/main" id="{62B3B430-EF28-47C5-B037-0079DCD8E0E0}"/>
              </a:ext>
            </a:extLst>
          </p:cNvPr>
          <p:cNvSpPr txBox="1">
            <a:spLocks noChangeArrowheads="1"/>
          </p:cNvSpPr>
          <p:nvPr/>
        </p:nvSpPr>
        <p:spPr bwMode="gray">
          <a:xfrm>
            <a:off x="3284948" y="1463952"/>
            <a:ext cx="953017"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36000" rIns="0" bIns="36000">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89" eaLnBrk="0" hangingPunct="0">
              <a:spcBef>
                <a:spcPct val="50000"/>
              </a:spcBef>
            </a:pPr>
            <a:r>
              <a:rPr lang="fr-FR" altLang="fr-FR" sz="800" b="1" dirty="0">
                <a:solidFill>
                  <a:prstClr val="white">
                    <a:lumMod val="50000"/>
                  </a:prstClr>
                </a:solidFill>
              </a:rPr>
              <a:t>113,032</a:t>
            </a:r>
          </a:p>
        </p:txBody>
      </p:sp>
      <p:graphicFrame>
        <p:nvGraphicFramePr>
          <p:cNvPr id="33" name="Graphique 32">
            <a:extLst>
              <a:ext uri="{FF2B5EF4-FFF2-40B4-BE49-F238E27FC236}">
                <a16:creationId xmlns:a16="http://schemas.microsoft.com/office/drawing/2014/main" id="{00000000-0008-0000-0100-000007000000}"/>
              </a:ext>
            </a:extLst>
          </p:cNvPr>
          <p:cNvGraphicFramePr>
            <a:graphicFrameLocks/>
          </p:cNvGraphicFramePr>
          <p:nvPr>
            <p:extLst>
              <p:ext uri="{D42A27DB-BD31-4B8C-83A1-F6EECF244321}">
                <p14:modId xmlns:p14="http://schemas.microsoft.com/office/powerpoint/2010/main" val="2136541429"/>
              </p:ext>
            </p:extLst>
          </p:nvPr>
        </p:nvGraphicFramePr>
        <p:xfrm>
          <a:off x="4688459" y="980053"/>
          <a:ext cx="3542854" cy="33272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741395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iICjHvM_ebShBIfQjhhhw"/>
</p:tagLst>
</file>

<file path=ppt/tags/tag3.xml><?xml version="1.0" encoding="utf-8"?>
<p:tagLst xmlns:a="http://schemas.openxmlformats.org/drawingml/2006/main" xmlns:r="http://schemas.openxmlformats.org/officeDocument/2006/relationships" xmlns:p="http://schemas.openxmlformats.org/presentationml/2006/main">
  <p:tag name="UPSLIDESHAPELIBITEMEDITIONDATE" val="635479441369800487"/>
  <p:tag name="UPSLIDESHAPELIBITEMLASTCREATOR" val="Elsa Martinez"/>
  <p:tag name="UPSLIDESHAPELIBITEMNAME" val="_North Africa (Saharan Africa)"/>
  <p:tag name="UPSLIDESHAPELIBITEMID" val="_North Africa (Saharan Africa)_635479477369800487_258979626"/>
</p:tagLst>
</file>

<file path=ppt/tags/tag4.xml><?xml version="1.0" encoding="utf-8"?>
<p:tagLst xmlns:a="http://schemas.openxmlformats.org/drawingml/2006/main" xmlns:r="http://schemas.openxmlformats.org/officeDocument/2006/relationships" xmlns:p="http://schemas.openxmlformats.org/presentationml/2006/main">
  <p:tag name="UPSLIDESHAPELIBITEMID" val="Europe_635072570797717718_1114480042"/>
  <p:tag name="UPSLIDESHAPELIBITEMEDITIONDATE" val="635072570797717718"/>
  <p:tag name="UPSLIDESHAPELIBITEMLASTCREATOR" val="Elsa Martinez"/>
  <p:tag name="UPSLIDESHAPELIBITEMNAME" val="_Euro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CF">
  <a:themeElements>
    <a:clrScheme name="CACF">
      <a:dk1>
        <a:sysClr val="windowText" lastClr="000000"/>
      </a:dk1>
      <a:lt1>
        <a:sysClr val="window" lastClr="FFFFFF"/>
      </a:lt1>
      <a:dk2>
        <a:srgbClr val="191919"/>
      </a:dk2>
      <a:lt2>
        <a:srgbClr val="7E93A7"/>
      </a:lt2>
      <a:accent1>
        <a:srgbClr val="1AAEB7"/>
      </a:accent1>
      <a:accent2>
        <a:srgbClr val="EB3738"/>
      </a:accent2>
      <a:accent3>
        <a:srgbClr val="006448"/>
      </a:accent3>
      <a:accent4>
        <a:srgbClr val="D33B30"/>
      </a:accent4>
      <a:accent5>
        <a:srgbClr val="45735A"/>
      </a:accent5>
      <a:accent6>
        <a:srgbClr val="569195"/>
      </a:accent6>
      <a:hlink>
        <a:srgbClr val="0563C1"/>
      </a:hlink>
      <a:folHlink>
        <a:srgbClr val="954F72"/>
      </a:folHlink>
    </a:clrScheme>
    <a:fontScheme name="Personnalisé 25">
      <a:majorFont>
        <a:latin typeface="Avenir Next LT Pro"/>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ACF">
  <a:themeElements>
    <a:clrScheme name="CACF">
      <a:dk1>
        <a:sysClr val="windowText" lastClr="000000"/>
      </a:dk1>
      <a:lt1>
        <a:sysClr val="window" lastClr="FFFFFF"/>
      </a:lt1>
      <a:dk2>
        <a:srgbClr val="191919"/>
      </a:dk2>
      <a:lt2>
        <a:srgbClr val="7E93A7"/>
      </a:lt2>
      <a:accent1>
        <a:srgbClr val="1AAEB7"/>
      </a:accent1>
      <a:accent2>
        <a:srgbClr val="EB3738"/>
      </a:accent2>
      <a:accent3>
        <a:srgbClr val="006448"/>
      </a:accent3>
      <a:accent4>
        <a:srgbClr val="D33B30"/>
      </a:accent4>
      <a:accent5>
        <a:srgbClr val="45735A"/>
      </a:accent5>
      <a:accent6>
        <a:srgbClr val="569195"/>
      </a:accent6>
      <a:hlink>
        <a:srgbClr val="0563C1"/>
      </a:hlink>
      <a:folHlink>
        <a:srgbClr val="954F72"/>
      </a:folHlink>
    </a:clrScheme>
    <a:fontScheme name="Personnalisé 25">
      <a:majorFont>
        <a:latin typeface="Avenir Next LT Pro"/>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ACF">
  <a:themeElements>
    <a:clrScheme name="CACF">
      <a:dk1>
        <a:sysClr val="windowText" lastClr="000000"/>
      </a:dk1>
      <a:lt1>
        <a:sysClr val="window" lastClr="FFFFFF"/>
      </a:lt1>
      <a:dk2>
        <a:srgbClr val="191919"/>
      </a:dk2>
      <a:lt2>
        <a:srgbClr val="7E93A7"/>
      </a:lt2>
      <a:accent1>
        <a:srgbClr val="1AAEB7"/>
      </a:accent1>
      <a:accent2>
        <a:srgbClr val="EB3738"/>
      </a:accent2>
      <a:accent3>
        <a:srgbClr val="006448"/>
      </a:accent3>
      <a:accent4>
        <a:srgbClr val="D33B30"/>
      </a:accent4>
      <a:accent5>
        <a:srgbClr val="45735A"/>
      </a:accent5>
      <a:accent6>
        <a:srgbClr val="569195"/>
      </a:accent6>
      <a:hlink>
        <a:srgbClr val="0563C1"/>
      </a:hlink>
      <a:folHlink>
        <a:srgbClr val="954F72"/>
      </a:folHlink>
    </a:clrScheme>
    <a:fontScheme name="Personnalisé 25">
      <a:majorFont>
        <a:latin typeface="Avenir Next LT Pro"/>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ACF">
  <a:themeElements>
    <a:clrScheme name="CACF">
      <a:dk1>
        <a:sysClr val="windowText" lastClr="000000"/>
      </a:dk1>
      <a:lt1>
        <a:sysClr val="window" lastClr="FFFFFF"/>
      </a:lt1>
      <a:dk2>
        <a:srgbClr val="191919"/>
      </a:dk2>
      <a:lt2>
        <a:srgbClr val="7E93A7"/>
      </a:lt2>
      <a:accent1>
        <a:srgbClr val="1AAEB7"/>
      </a:accent1>
      <a:accent2>
        <a:srgbClr val="EB3738"/>
      </a:accent2>
      <a:accent3>
        <a:srgbClr val="006448"/>
      </a:accent3>
      <a:accent4>
        <a:srgbClr val="D33B30"/>
      </a:accent4>
      <a:accent5>
        <a:srgbClr val="45735A"/>
      </a:accent5>
      <a:accent6>
        <a:srgbClr val="569195"/>
      </a:accent6>
      <a:hlink>
        <a:srgbClr val="0563C1"/>
      </a:hlink>
      <a:folHlink>
        <a:srgbClr val="954F72"/>
      </a:folHlink>
    </a:clrScheme>
    <a:fontScheme name="Personnalisé 25">
      <a:majorFont>
        <a:latin typeface="Avenir Next LT Pro"/>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41</TotalTime>
  <Words>10775</Words>
  <Application>Microsoft Office PowerPoint</Application>
  <PresentationFormat>Affichage à l'écran (16:9)</PresentationFormat>
  <Paragraphs>1634</Paragraphs>
  <Slides>76</Slides>
  <Notes>2</Notes>
  <HiddenSlides>0</HiddenSlides>
  <MMClips>0</MMClips>
  <ScaleCrop>false</ScaleCrop>
  <HeadingPairs>
    <vt:vector size="8" baseType="variant">
      <vt:variant>
        <vt:lpstr>Polices utilisées</vt:lpstr>
      </vt:variant>
      <vt:variant>
        <vt:i4>8</vt:i4>
      </vt:variant>
      <vt:variant>
        <vt:lpstr>Thème</vt:lpstr>
      </vt:variant>
      <vt:variant>
        <vt:i4>4</vt:i4>
      </vt:variant>
      <vt:variant>
        <vt:lpstr>Serveurs OLE incorporés</vt:lpstr>
      </vt:variant>
      <vt:variant>
        <vt:i4>1</vt:i4>
      </vt:variant>
      <vt:variant>
        <vt:lpstr>Titres des diapositives</vt:lpstr>
      </vt:variant>
      <vt:variant>
        <vt:i4>76</vt:i4>
      </vt:variant>
    </vt:vector>
  </HeadingPairs>
  <TitlesOfParts>
    <vt:vector size="89" baseType="lpstr">
      <vt:lpstr>SimSun</vt:lpstr>
      <vt:lpstr>Arial</vt:lpstr>
      <vt:lpstr>Avenir Next LT Pro</vt:lpstr>
      <vt:lpstr>Calibri</vt:lpstr>
      <vt:lpstr>Calibri Light</vt:lpstr>
      <vt:lpstr>Poppins Light</vt:lpstr>
      <vt:lpstr>Roboto</vt:lpstr>
      <vt:lpstr>Wingdings</vt:lpstr>
      <vt:lpstr>CACF</vt:lpstr>
      <vt:lpstr>1_CACF</vt:lpstr>
      <vt:lpstr>2_CACF</vt:lpstr>
      <vt:lpstr>3_CACF</vt:lpstr>
      <vt:lpstr>Diapositive think-cell</vt:lpstr>
      <vt:lpstr>GINKGO Debt Conso 2024   Due Diligence –March 2024 </vt:lpstr>
      <vt:lpstr>Summary</vt:lpstr>
      <vt:lpstr>1. Overview of CA Consumer Finance</vt:lpstr>
      <vt:lpstr>CACF Group Highlights</vt:lpstr>
      <vt:lpstr>CACF Group History</vt:lpstr>
      <vt:lpstr>CACF Group – recent evolution in auto finance sector Accelerating in mobility with two companies: Leasys and CA Auto Bank</vt:lpstr>
      <vt:lpstr>CACF Group International Presence</vt:lpstr>
      <vt:lpstr>CACF Group Key group figures 2019 – 2023 (1/3)</vt:lpstr>
      <vt:lpstr>CACF Group Key group figures 2019 – 2023 (2/3)</vt:lpstr>
      <vt:lpstr>CACF Group Key group figures 2019 – 2023 (3/3)</vt:lpstr>
      <vt:lpstr>CACF Group Funding structure 2020- 2023</vt:lpstr>
      <vt:lpstr>CACF France Overview</vt:lpstr>
      <vt:lpstr>2. Distribution channels and products</vt:lpstr>
      <vt:lpstr>Product Terms General</vt:lpstr>
      <vt:lpstr>Product Terms « unsecured » Characteristics</vt:lpstr>
      <vt:lpstr>Product Terms « secured » Characteristics</vt:lpstr>
      <vt:lpstr>Debt consolidation Key figures 2021 - 2023</vt:lpstr>
      <vt:lpstr>Distribution Channels Overview CACF France Focus on credit intermediaries</vt:lpstr>
      <vt:lpstr>Credit intermediaries : Distribution Channels Overview</vt:lpstr>
      <vt:lpstr>Présentation PowerPoint</vt:lpstr>
      <vt:lpstr>Credit intermediaries : Distribution Channels Overview</vt:lpstr>
      <vt:lpstr>Présentation PowerPoint</vt:lpstr>
      <vt:lpstr>Creditlift Market share in 2023</vt:lpstr>
      <vt:lpstr>Control process of credit intermediaries</vt:lpstr>
      <vt:lpstr>Distribution Channels Overview CACF France Focus on Sofinco Brand</vt:lpstr>
      <vt:lpstr>Direct Channels – Direct to Consumer  Focus on Sofinco Brand</vt:lpstr>
      <vt:lpstr>CA CF Debt Conso – focus on optional insurances</vt:lpstr>
      <vt:lpstr>3. Underwriting process</vt:lpstr>
      <vt:lpstr>Credit application Focus on credit intermediary</vt:lpstr>
      <vt:lpstr>Credit application Focus on secured products</vt:lpstr>
      <vt:lpstr>Checks &amp; Credit Decision (creditlift and Sofinco)</vt:lpstr>
      <vt:lpstr>Information checks</vt:lpstr>
      <vt:lpstr>Required documentation &amp; Controls</vt:lpstr>
      <vt:lpstr>Controls of the information</vt:lpstr>
      <vt:lpstr>Scoring and rules (1/2)</vt:lpstr>
      <vt:lpstr>Scoring and rules (2/2)</vt:lpstr>
      <vt:lpstr>Specific rules – Human controls </vt:lpstr>
      <vt:lpstr>Specific rules for debt consolidation</vt:lpstr>
      <vt:lpstr>Acceptance rate on  Debt Consolidation Loan    </vt:lpstr>
      <vt:lpstr>4. Collection and overindebtedness process / litigation process</vt:lpstr>
      <vt:lpstr>Customer Service (1/2)</vt:lpstr>
      <vt:lpstr>Customer Service (2/2)</vt:lpstr>
      <vt:lpstr>From customer service to legal proceedings</vt:lpstr>
      <vt:lpstr>Collections – amicable recovery</vt:lpstr>
      <vt:lpstr>Collections – Pre-litigation</vt:lpstr>
      <vt:lpstr>Collections – overindebtedness</vt:lpstr>
      <vt:lpstr>Support Customer Agency</vt:lpstr>
      <vt:lpstr>Duties of the litigation teams</vt:lpstr>
      <vt:lpstr>Litigation process</vt:lpstr>
      <vt:lpstr>Judicial division</vt:lpstr>
      <vt:lpstr>Bailiffs division</vt:lpstr>
      <vt:lpstr>Teams location </vt:lpstr>
      <vt:lpstr>5. Risk and Permanent Control</vt:lpstr>
      <vt:lpstr>Présentation PowerPoint</vt:lpstr>
      <vt:lpstr>Présentation PowerPoint</vt:lpstr>
      <vt:lpstr>Présentation PowerPoint</vt:lpstr>
      <vt:lpstr>Présentation PowerPoint</vt:lpstr>
      <vt:lpstr>Présentation PowerPoint</vt:lpstr>
      <vt:lpstr>6. Internal Audit</vt:lpstr>
      <vt:lpstr>Présentation PowerPoint</vt:lpstr>
      <vt:lpstr>Présentation PowerPoint</vt:lpstr>
      <vt:lpstr>Présentation PowerPoint</vt:lpstr>
      <vt:lpstr>Présentation PowerPoint</vt:lpstr>
      <vt:lpstr>7. CACF IT System</vt:lpstr>
      <vt:lpstr>Présentation PowerPoint</vt:lpstr>
      <vt:lpstr>Présentation PowerPoint</vt:lpstr>
      <vt:lpstr>Présentation PowerPoint</vt:lpstr>
      <vt:lpstr>8. Environmental, Social, And Governance</vt:lpstr>
      <vt:lpstr>Présentation PowerPoint</vt:lpstr>
      <vt:lpstr>We want a just, positive and non-guilt energy and social transition</vt:lpstr>
      <vt:lpstr>We want to be the reference of societal commitments</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urélie LEPOAN</dc:creator>
  <cp:lastModifiedBy>LAL Sameet (CA-CF)</cp:lastModifiedBy>
  <cp:revision>1292</cp:revision>
  <dcterms:created xsi:type="dcterms:W3CDTF">2021-02-11T04:12:07Z</dcterms:created>
  <dcterms:modified xsi:type="dcterms:W3CDTF">2024-04-04T15:1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cad6431-53ea-4466-8111-3fefa470bcb9_Enabled">
    <vt:lpwstr>true</vt:lpwstr>
  </property>
  <property fmtid="{D5CDD505-2E9C-101B-9397-08002B2CF9AE}" pid="3" name="MSIP_Label_4cad6431-53ea-4466-8111-3fefa470bcb9_SetDate">
    <vt:lpwstr>2023-02-09T09:02:06Z</vt:lpwstr>
  </property>
  <property fmtid="{D5CDD505-2E9C-101B-9397-08002B2CF9AE}" pid="4" name="MSIP_Label_4cad6431-53ea-4466-8111-3fefa470bcb9_Method">
    <vt:lpwstr>Standard</vt:lpwstr>
  </property>
  <property fmtid="{D5CDD505-2E9C-101B-9397-08002B2CF9AE}" pid="5" name="MSIP_Label_4cad6431-53ea-4466-8111-3fefa470bcb9_Name">
    <vt:lpwstr>Usage Interne</vt:lpwstr>
  </property>
  <property fmtid="{D5CDD505-2E9C-101B-9397-08002B2CF9AE}" pid="6" name="MSIP_Label_4cad6431-53ea-4466-8111-3fefa470bcb9_SiteId">
    <vt:lpwstr>fb3baf17-c313-474c-8d5d-577a3ec97a32</vt:lpwstr>
  </property>
  <property fmtid="{D5CDD505-2E9C-101B-9397-08002B2CF9AE}" pid="7" name="MSIP_Label_4cad6431-53ea-4466-8111-3fefa470bcb9_ActionId">
    <vt:lpwstr>7add5982-fb88-4123-b6e6-96929ab11ba2</vt:lpwstr>
  </property>
  <property fmtid="{D5CDD505-2E9C-101B-9397-08002B2CF9AE}" pid="8" name="MSIP_Label_4cad6431-53ea-4466-8111-3fefa470bcb9_ContentBits">
    <vt:lpwstr>0</vt:lpwstr>
  </property>
</Properties>
</file>